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4.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5.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6.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7.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9.xml" ContentType="application/vnd.openxmlformats-officedocument.theme+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10.xml" ContentType="application/vnd.openxmlformats-officedocument.theme+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ags/tag1.xml" ContentType="application/vnd.openxmlformats-officedocument.presentationml.tags+xml"/>
  <Override PartName="/ppt/theme/theme13.xml" ContentType="application/vnd.openxmlformats-officedocument.theme+xml"/>
  <Override PartName="/ppt/tags/tag2.xml" ContentType="application/vnd.openxmlformats-officedocument.presentationml.tags+xml"/>
  <Override PartName="/ppt/slideLayouts/slideLayout198.xml" ContentType="application/vnd.openxmlformats-officedocument.presentationml.slideLayout+xml"/>
  <Override PartName="/ppt/theme/theme14.xml" ContentType="application/vnd.openxmlformats-officedocument.theme+xml"/>
  <Override PartName="/ppt/tags/tag3.xml" ContentType="application/vnd.openxmlformats-officedocument.presentationml.tags+xml"/>
  <Override PartName="/ppt/theme/theme15.xml" ContentType="application/vnd.openxmlformats-officedocument.theme+xml"/>
  <Override PartName="/ppt/theme/theme16.xml" ContentType="application/vnd.openxmlformats-officedocument.theme+xml"/>
  <Override PartName="/ppt/slideLayouts/slideLayout199.xml" ContentType="application/vnd.openxmlformats-officedocument.presentationml.slideLayout+xml"/>
  <Override PartName="/ppt/theme/theme17.xml" ContentType="application/vnd.openxmlformats-officedocument.theme+xml"/>
  <Override PartName="/ppt/tags/tag4.xml" ContentType="application/vnd.openxmlformats-officedocument.presentationml.tags+xml"/>
  <Override PartName="/ppt/theme/theme18.xml" ContentType="application/vnd.openxmlformats-officedocument.theme+xml"/>
  <Override PartName="/ppt/theme/theme19.xml" ContentType="application/vnd.openxmlformats-officedocument.theme+xml"/>
  <Override PartName="/ppt/theme/theme20.xml" ContentType="application/vnd.openxmlformats-officedocument.theme+xml"/>
  <Override PartName="/ppt/theme/theme21.xml" ContentType="application/vnd.openxmlformats-officedocument.theme+xml"/>
  <Override PartName="/ppt/theme/theme22.xml" ContentType="application/vnd.openxmlformats-officedocument.theme+xml"/>
  <Override PartName="/ppt/tags/tag5.xml" ContentType="application/vnd.openxmlformats-officedocument.presentationml.tags+xml"/>
  <Override PartName="/ppt/theme/theme23.xml" ContentType="application/vnd.openxmlformats-officedocument.theme+xml"/>
  <Override PartName="/ppt/theme/theme24.xml" ContentType="application/vnd.openxmlformats-officedocument.theme+xml"/>
  <Override PartName="/ppt/theme/theme25.xml" ContentType="application/vnd.openxmlformats-officedocument.theme+xml"/>
  <Override PartName="/ppt/theme/theme2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5" r:id="rId5"/>
    <p:sldMasterId id="2147483741" r:id="rId6"/>
    <p:sldMasterId id="2147483761" r:id="rId7"/>
    <p:sldMasterId id="2147483787" r:id="rId8"/>
    <p:sldMasterId id="2147483811" r:id="rId9"/>
    <p:sldMasterId id="2147483883" r:id="rId10"/>
    <p:sldMasterId id="2147483913" r:id="rId11"/>
    <p:sldMasterId id="2147483946" r:id="rId12"/>
    <p:sldMasterId id="2147483977" r:id="rId13"/>
    <p:sldMasterId id="2147484009" r:id="rId14"/>
    <p:sldMasterId id="2147484012" r:id="rId15"/>
    <p:sldMasterId id="2147484014" r:id="rId16"/>
    <p:sldMasterId id="2147484015" r:id="rId17"/>
    <p:sldMasterId id="2147484019" r:id="rId18"/>
    <p:sldMasterId id="2147484025" r:id="rId19"/>
    <p:sldMasterId id="2147484027" r:id="rId20"/>
    <p:sldMasterId id="2147484032" r:id="rId21"/>
    <p:sldMasterId id="2147484037" r:id="rId22"/>
    <p:sldMasterId id="2147484039" r:id="rId23"/>
    <p:sldMasterId id="2147484042" r:id="rId24"/>
    <p:sldMasterId id="2147484044" r:id="rId25"/>
    <p:sldMasterId id="2147484046" r:id="rId26"/>
    <p:sldMasterId id="2147484048" r:id="rId27"/>
  </p:sldMasterIdLst>
  <p:notesMasterIdLst>
    <p:notesMasterId r:id="rId44"/>
  </p:notesMasterIdLst>
  <p:handoutMasterIdLst>
    <p:handoutMasterId r:id="rId45"/>
  </p:handoutMasterIdLst>
  <p:sldIdLst>
    <p:sldId id="356" r:id="rId28"/>
    <p:sldId id="360" r:id="rId29"/>
    <p:sldId id="396" r:id="rId30"/>
    <p:sldId id="397" r:id="rId31"/>
    <p:sldId id="398" r:id="rId32"/>
    <p:sldId id="399" r:id="rId33"/>
    <p:sldId id="400" r:id="rId34"/>
    <p:sldId id="401" r:id="rId35"/>
    <p:sldId id="403" r:id="rId36"/>
    <p:sldId id="405" r:id="rId37"/>
    <p:sldId id="406" r:id="rId38"/>
    <p:sldId id="402" r:id="rId39"/>
    <p:sldId id="388" r:id="rId40"/>
    <p:sldId id="389" r:id="rId41"/>
    <p:sldId id="338" r:id="rId42"/>
    <p:sldId id="340"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87ACB3C-68C3-4B22-AEBC-A3F20719F6EB}">
          <p14:sldIdLst>
            <p14:sldId id="356"/>
            <p14:sldId id="360"/>
            <p14:sldId id="396"/>
            <p14:sldId id="397"/>
            <p14:sldId id="398"/>
            <p14:sldId id="399"/>
            <p14:sldId id="400"/>
            <p14:sldId id="401"/>
            <p14:sldId id="403"/>
            <p14:sldId id="405"/>
            <p14:sldId id="406"/>
            <p14:sldId id="402"/>
            <p14:sldId id="388"/>
            <p14:sldId id="389"/>
            <p14:sldId id="338"/>
            <p14:sldId id="340"/>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ric Basha" initials="EB" lastIdx="3" clrIdx="6">
    <p:extLst>
      <p:ext uri="{19B8F6BF-5375-455C-9EA6-DF929625EA0E}">
        <p15:presenceInfo xmlns:p15="http://schemas.microsoft.com/office/powerpoint/2012/main" userId="S-1-5-21-2127521184-1604012920-1887927527-1296725" providerId="AD"/>
      </p:ext>
    </p:extLst>
  </p:cmAuthor>
  <p:cmAuthor id="1" name="Angie Doyle (Simplicity Consulting Inc)" initials="AD(CI" lastIdx="3" clrIdx="0">
    <p:extLst>
      <p:ext uri="{19B8F6BF-5375-455C-9EA6-DF929625EA0E}">
        <p15:presenceInfo xmlns:p15="http://schemas.microsoft.com/office/powerpoint/2012/main" userId="S-1-5-21-2127521184-1604012920-1887927527-11543741" providerId="AD"/>
      </p:ext>
    </p:extLst>
  </p:cmAuthor>
  <p:cmAuthor id="2" name="Cindy Mar" initials="CM" lastIdx="19" clrIdx="1">
    <p:extLst>
      <p:ext uri="{19B8F6BF-5375-455C-9EA6-DF929625EA0E}">
        <p15:presenceInfo xmlns:p15="http://schemas.microsoft.com/office/powerpoint/2012/main" userId="S-1-5-21-124525095-708259637-1543119021-999716" providerId="AD"/>
      </p:ext>
    </p:extLst>
  </p:cmAuthor>
  <p:cmAuthor id="3" name="Paul Hart" initials="PH" lastIdx="13" clrIdx="2">
    <p:extLst>
      <p:ext uri="{19B8F6BF-5375-455C-9EA6-DF929625EA0E}">
        <p15:presenceInfo xmlns:p15="http://schemas.microsoft.com/office/powerpoint/2012/main" userId="S-1-5-21-2127521184-1604012920-1887927527-15093105" providerId="AD"/>
      </p:ext>
    </p:extLst>
  </p:cmAuthor>
  <p:cmAuthor id="4" name="Author" initials="A" lastIdx="1045" clrIdx="3"/>
  <p:cmAuthor id="5" name="Wismar Medina" initials="WM" lastIdx="4" clrIdx="4">
    <p:extLst>
      <p:ext uri="{19B8F6BF-5375-455C-9EA6-DF929625EA0E}">
        <p15:presenceInfo xmlns:p15="http://schemas.microsoft.com/office/powerpoint/2012/main" userId="S003BFFD801BBCAC@LIVE.COM" providerId="AD"/>
      </p:ext>
    </p:extLst>
  </p:cmAuthor>
  <p:cmAuthor id="6" name="Tom Crozier (Prime 8)" initials="TC(8" lastIdx="2" clrIdx="5">
    <p:extLst>
      <p:ext uri="{19B8F6BF-5375-455C-9EA6-DF929625EA0E}">
        <p15:presenceInfo xmlns:p15="http://schemas.microsoft.com/office/powerpoint/2012/main" userId="S-1-5-21-2127521184-1604012920-1887927527-32044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2626"/>
    <a:srgbClr val="22212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70" autoAdjust="0"/>
    <p:restoredTop sz="75209" autoAdjust="0"/>
  </p:normalViewPr>
  <p:slideViewPr>
    <p:cSldViewPr snapToGrid="0">
      <p:cViewPr varScale="1">
        <p:scale>
          <a:sx n="49" d="100"/>
          <a:sy n="49" d="100"/>
        </p:scale>
        <p:origin x="1317" y="24"/>
      </p:cViewPr>
      <p:guideLst/>
    </p:cSldViewPr>
  </p:slideViewPr>
  <p:notesTextViewPr>
    <p:cViewPr>
      <p:scale>
        <a:sx n="1" d="1"/>
        <a:sy n="1" d="1"/>
      </p:scale>
      <p:origin x="0" y="0"/>
    </p:cViewPr>
  </p:notesTextViewPr>
  <p:sorterViewPr>
    <p:cViewPr varScale="1">
      <p:scale>
        <a:sx n="1" d="1"/>
        <a:sy n="1" d="1"/>
      </p:scale>
      <p:origin x="0" y="0"/>
    </p:cViewPr>
  </p:sorterViewPr>
  <p:notesViewPr>
    <p:cSldViewPr snapToGrid="0">
      <p:cViewPr varScale="1">
        <p:scale>
          <a:sx n="70" d="100"/>
          <a:sy n="70" d="100"/>
        </p:scale>
        <p:origin x="2700" y="56"/>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3" Type="http://schemas.openxmlformats.org/officeDocument/2006/relationships/customXml" Target="../customXml/item3.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slide" Target="slides/slide1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2.xml"/><Relationship Id="rId41"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49"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slide" Target="slides/slide16.xml"/><Relationship Id="rId48" Type="http://schemas.openxmlformats.org/officeDocument/2006/relationships/viewProps" Target="viewProps.xml"/><Relationship Id="rId8" Type="http://schemas.openxmlformats.org/officeDocument/2006/relationships/slideMaster" Target="slideMasters/slideMaster5.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44E0271-2351-4D3B-B5D7-D837CC54F205}" type="datetimeFigureOut">
              <a:rPr lang="en-US" smtClean="0"/>
              <a:t>10/13/2016</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98479CB-8DDE-4E56-BC1E-1178C4BE11C7}" type="slidenum">
              <a:rPr lang="en-US" smtClean="0"/>
              <a:t>‹#›</a:t>
            </a:fld>
            <a:endParaRPr lang="en-US"/>
          </a:p>
        </p:txBody>
      </p:sp>
    </p:spTree>
    <p:extLst>
      <p:ext uri="{BB962C8B-B14F-4D97-AF65-F5344CB8AC3E}">
        <p14:creationId xmlns:p14="http://schemas.microsoft.com/office/powerpoint/2010/main" val="28322380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779C7B-253A-4E7F-B7D0-B65BF8DDA554}" type="datetimeFigureOut">
              <a:rPr lang="en-US" smtClean="0"/>
              <a:t>10/13/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44FBF70-DFCE-497A-9E15-457CA18B175F}" type="slidenum">
              <a:rPr lang="en-US" smtClean="0"/>
              <a:t>‹#›</a:t>
            </a:fld>
            <a:endParaRPr lang="en-US"/>
          </a:p>
        </p:txBody>
      </p:sp>
    </p:spTree>
    <p:extLst>
      <p:ext uri="{BB962C8B-B14F-4D97-AF65-F5344CB8AC3E}">
        <p14:creationId xmlns:p14="http://schemas.microsoft.com/office/powerpoint/2010/main" val="2675016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Footer Placeholder 3"/>
          <p:cNvSpPr>
            <a:spLocks noGrp="1"/>
          </p:cNvSpPr>
          <p:nvPr>
            <p:ph type="ftr" sz="quarter" idx="10"/>
          </p:nvPr>
        </p:nvSpPr>
        <p:spPr/>
        <p:txBody>
          <a:bodyPr/>
          <a:lstStyle/>
          <a:p>
            <a:endParaRPr lang="en-US" dirty="0">
              <a:solidFill>
                <a:prstClr val="black"/>
              </a:solidFill>
            </a:endParaRPr>
          </a:p>
        </p:txBody>
      </p:sp>
      <p:sp>
        <p:nvSpPr>
          <p:cNvPr id="5" name="Slide Number Placeholder 4"/>
          <p:cNvSpPr>
            <a:spLocks noGrp="1"/>
          </p:cNvSpPr>
          <p:nvPr>
            <p:ph type="sldNum" sz="quarter" idx="11"/>
          </p:nvPr>
        </p:nvSpPr>
        <p:spPr/>
        <p:txBody>
          <a:bodyPr/>
          <a:lstStyle/>
          <a:p>
            <a:fld id="{2966D6CC-078A-41B3-A2B0-235429D92B11}"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90915926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fld id="{344FBF70-DFCE-497A-9E15-457CA18B175F}" type="slidenum">
              <a:rPr lang="en-US" smtClean="0"/>
              <a:t>15</a:t>
            </a:fld>
            <a:endParaRPr lang="en-US"/>
          </a:p>
        </p:txBody>
      </p:sp>
    </p:spTree>
    <p:extLst>
      <p:ext uri="{BB962C8B-B14F-4D97-AF65-F5344CB8AC3E}">
        <p14:creationId xmlns:p14="http://schemas.microsoft.com/office/powerpoint/2010/main" val="29729341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et’s work together. You can find more information in various places and contact us directly:</a:t>
            </a:r>
          </a:p>
          <a:p>
            <a:endParaRPr lang="en-US" dirty="0"/>
          </a:p>
          <a:p>
            <a:pPr marL="173247" indent="-173247">
              <a:buFont typeface="Arial" panose="020B0604020202020204" pitchFamily="34" charset="0"/>
              <a:buChar char="•"/>
            </a:pPr>
            <a:r>
              <a:rPr lang="en-US" dirty="0"/>
              <a:t>Engage Microsoft and our local partners on your top priorities—and discuss the best combination of programs and technology solutions to meet your local needs. </a:t>
            </a:r>
            <a:br>
              <a:rPr lang="en-US" dirty="0"/>
            </a:br>
            <a:endParaRPr lang="en-US" dirty="0"/>
          </a:p>
          <a:p>
            <a:pPr marL="173247" indent="-173247">
              <a:buFont typeface="Arial" panose="020B0604020202020204" pitchFamily="34" charset="0"/>
              <a:buChar char="•"/>
            </a:pPr>
            <a:r>
              <a:rPr lang="en-US" dirty="0"/>
              <a:t>Keep in mind that you can’t do everything at once, so find a key priority and opportunity to pilot a solution in a department or agency. Then, if successful, scale it in the years ahead across your city.</a:t>
            </a:r>
            <a:br>
              <a:rPr lang="en-US" dirty="0"/>
            </a:br>
            <a:endParaRPr lang="en-US" dirty="0"/>
          </a:p>
          <a:p>
            <a:pPr marL="173247" indent="-173247">
              <a:buFont typeface="Arial" panose="020B0604020202020204" pitchFamily="34" charset="0"/>
              <a:buChar char="•"/>
            </a:pPr>
            <a:r>
              <a:rPr lang="en-US" dirty="0"/>
              <a:t>Understand what’s possible with your existing IT investments: how you can bring that to life, what you’ll need for the future, and how you can save money in the short and long term. </a:t>
            </a:r>
          </a:p>
          <a:p>
            <a:endParaRPr lang="en-US" dirty="0"/>
          </a:p>
        </p:txBody>
      </p:sp>
      <p:sp>
        <p:nvSpPr>
          <p:cNvPr id="4" name="Slide Number Placeholder 3"/>
          <p:cNvSpPr>
            <a:spLocks noGrp="1"/>
          </p:cNvSpPr>
          <p:nvPr>
            <p:ph type="sldNum" sz="quarter" idx="10"/>
          </p:nvPr>
        </p:nvSpPr>
        <p:spPr/>
        <p:txBody>
          <a:bodyPr/>
          <a:lstStyle/>
          <a:p>
            <a:fld id="{2966D6CC-078A-41B3-A2B0-235429D92B11}" type="slidenum">
              <a:rPr lang="en-US" smtClean="0">
                <a:solidFill>
                  <a:prstClr val="black"/>
                </a:solidFill>
              </a:rPr>
              <a:pPr/>
              <a:t>16</a:t>
            </a:fld>
            <a:endParaRPr lang="en-US">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4551119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b="1" kern="1200" dirty="0">
                <a:solidFill>
                  <a:schemeClr val="tx1"/>
                </a:solidFill>
                <a:effectLst/>
                <a:latin typeface="+mn-lt"/>
                <a:ea typeface="+mn-ea"/>
                <a:cs typeface="+mn-cs"/>
              </a:rPr>
              <a:t>Новый этап ИТ в госсекторе: трансформация «электронного правительства» в «цифровое правительство»</a:t>
            </a:r>
          </a:p>
          <a:p>
            <a:r>
              <a:rPr lang="ru-RU" sz="1200" kern="1200" dirty="0">
                <a:solidFill>
                  <a:schemeClr val="tx1"/>
                </a:solidFill>
                <a:effectLst/>
                <a:latin typeface="+mn-lt"/>
                <a:ea typeface="+mn-ea"/>
                <a:cs typeface="+mn-cs"/>
              </a:rPr>
              <a:t>Сегодня большинство стран мира вошло уже в </a:t>
            </a:r>
            <a:r>
              <a:rPr lang="ru-RU" sz="1200" b="1" kern="1200" dirty="0">
                <a:solidFill>
                  <a:schemeClr val="tx1"/>
                </a:solidFill>
                <a:effectLst/>
                <a:latin typeface="+mn-lt"/>
                <a:ea typeface="+mn-ea"/>
                <a:cs typeface="+mn-cs"/>
              </a:rPr>
              <a:t>4-ую по счету фазу</a:t>
            </a:r>
            <a:r>
              <a:rPr lang="ru-RU" sz="1200" kern="1200" dirty="0">
                <a:solidFill>
                  <a:schemeClr val="tx1"/>
                </a:solidFill>
                <a:effectLst/>
                <a:latin typeface="+mn-lt"/>
                <a:ea typeface="+mn-ea"/>
                <a:cs typeface="+mn-cs"/>
              </a:rPr>
              <a:t> использования информационных технологий в деятельности органов государственной власти, которая получила у аналитиков рынка, таких как </a:t>
            </a:r>
            <a:r>
              <a:rPr lang="en-US" sz="1200" kern="1200" dirty="0">
                <a:solidFill>
                  <a:schemeClr val="tx1"/>
                </a:solidFill>
                <a:effectLst/>
                <a:latin typeface="+mn-lt"/>
                <a:ea typeface="+mn-ea"/>
                <a:cs typeface="+mn-cs"/>
              </a:rPr>
              <a:t>Gartner Group</a:t>
            </a:r>
            <a:r>
              <a:rPr lang="ru-RU" sz="1200" kern="1200" dirty="0">
                <a:solidFill>
                  <a:schemeClr val="tx1"/>
                </a:solidFill>
                <a:effectLst/>
                <a:latin typeface="+mn-lt"/>
                <a:ea typeface="+mn-ea"/>
                <a:cs typeface="+mn-cs"/>
              </a:rPr>
              <a:t>, название </a:t>
            </a:r>
            <a:r>
              <a:rPr lang="ru-RU" sz="1200" b="1" kern="1200" dirty="0">
                <a:solidFill>
                  <a:schemeClr val="tx1"/>
                </a:solidFill>
                <a:effectLst/>
                <a:latin typeface="+mn-lt"/>
                <a:ea typeface="+mn-ea"/>
                <a:cs typeface="+mn-cs"/>
              </a:rPr>
              <a:t>«цифрового правительства»</a:t>
            </a:r>
            <a:r>
              <a:rPr lang="ru-RU" sz="1200" kern="1200" dirty="0">
                <a:solidFill>
                  <a:schemeClr val="tx1"/>
                </a:solidFill>
                <a:effectLst/>
                <a:latin typeface="+mn-lt"/>
                <a:ea typeface="+mn-ea"/>
                <a:cs typeface="+mn-cs"/>
              </a:rPr>
              <a:t>.</a:t>
            </a:r>
          </a:p>
          <a:p>
            <a:r>
              <a:rPr lang="ru-RU" sz="1200" b="1" kern="1200" dirty="0">
                <a:solidFill>
                  <a:schemeClr val="tx1"/>
                </a:solidFill>
                <a:effectLst/>
                <a:latin typeface="+mn-lt"/>
                <a:ea typeface="+mn-ea"/>
                <a:cs typeface="+mn-cs"/>
              </a:rPr>
              <a:t>«Цифровое Правительство»</a:t>
            </a:r>
            <a:r>
              <a:rPr lang="ru-RU" sz="1200"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 это следующая фаза после: 1) «Электронного правительства» (2000), 2) «Интегрированного правительства» (2005) и 3) «Открытого Правительства» (2010).</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Соответственно менялся фокус применения ИТ в госсекторе, но каждый новый этап основывался на результатах предыдущих. Сначала это была автоматизация ключевых административных процессов, создание базовых информационных и учетных систем, регистров, реестров и т.д. На следующем этапе – это были </a:t>
            </a:r>
            <a:r>
              <a:rPr lang="ru-RU" sz="1200" kern="1200" dirty="0" err="1">
                <a:solidFill>
                  <a:schemeClr val="tx1"/>
                </a:solidFill>
                <a:effectLst/>
                <a:latin typeface="+mn-lt"/>
                <a:ea typeface="+mn-ea"/>
                <a:cs typeface="+mn-cs"/>
              </a:rPr>
              <a:t>госуслуги</a:t>
            </a:r>
            <a:r>
              <a:rPr lang="ru-RU" sz="1200" kern="1200" dirty="0">
                <a:solidFill>
                  <a:schemeClr val="tx1"/>
                </a:solidFill>
                <a:effectLst/>
                <a:latin typeface="+mn-lt"/>
                <a:ea typeface="+mn-ea"/>
                <a:cs typeface="+mn-cs"/>
              </a:rPr>
              <a:t> и межведомственный информационный обмен в процессе их оказания. Затем «горячей» темой стали «открытые данные» и их возможности для информирования общества о деятельности органов власти и для более эффективного привлечения коммерческого сектора к процессам предоставления различных сервисов населению. </a:t>
            </a:r>
            <a:r>
              <a:rPr lang="ru-RU" sz="1200" b="1" kern="1200" dirty="0">
                <a:solidFill>
                  <a:schemeClr val="tx1"/>
                </a:solidFill>
                <a:effectLst/>
                <a:latin typeface="+mn-lt"/>
                <a:ea typeface="+mn-ea"/>
                <a:cs typeface="+mn-cs"/>
              </a:rPr>
              <a:t>Что дальше на этапе «цифрового правительства»?</a:t>
            </a:r>
            <a:endParaRPr lang="ru-RU" sz="1200" kern="1200" dirty="0">
              <a:solidFill>
                <a:schemeClr val="tx1"/>
              </a:solidFill>
              <a:effectLst/>
              <a:latin typeface="+mn-lt"/>
              <a:ea typeface="+mn-ea"/>
              <a:cs typeface="+mn-cs"/>
            </a:endParaRPr>
          </a:p>
          <a:p>
            <a:r>
              <a:rPr lang="ru-RU" sz="1200" b="1" kern="1200" dirty="0">
                <a:solidFill>
                  <a:schemeClr val="tx1"/>
                </a:solidFill>
                <a:effectLst/>
                <a:latin typeface="+mn-lt"/>
                <a:ea typeface="+mn-ea"/>
                <a:cs typeface="+mn-cs"/>
              </a:rPr>
              <a:t>Цифровое правительство</a:t>
            </a:r>
            <a:r>
              <a:rPr lang="ru-RU" sz="1200" kern="1200" dirty="0">
                <a:solidFill>
                  <a:schemeClr val="tx1"/>
                </a:solidFill>
                <a:effectLst/>
                <a:latin typeface="+mn-lt"/>
                <a:ea typeface="+mn-ea"/>
                <a:cs typeface="+mn-cs"/>
              </a:rPr>
              <a:t> по-прежнему основано на принципах ориентации на гражданах/бизнесе, едином взгляде на них, интегрированных услугах и прикладных системах. Фундаментальное отличие состоит </a:t>
            </a:r>
            <a:r>
              <a:rPr lang="ru-RU" sz="1200" b="1" kern="1200" dirty="0">
                <a:solidFill>
                  <a:schemeClr val="tx1"/>
                </a:solidFill>
                <a:effectLst/>
                <a:latin typeface="+mn-lt"/>
                <a:ea typeface="+mn-ea"/>
                <a:cs typeface="+mn-cs"/>
              </a:rPr>
              <a:t>в фокусе на информации и на данных, а не на процессах и услугах (как это было в начале «волны электронного правительства»)</a:t>
            </a:r>
            <a:r>
              <a:rPr lang="ru-RU" sz="1200" kern="1200" dirty="0">
                <a:solidFill>
                  <a:schemeClr val="tx1"/>
                </a:solidFill>
                <a:effectLst/>
                <a:latin typeface="+mn-lt"/>
                <a:ea typeface="+mn-ea"/>
                <a:cs typeface="+mn-cs"/>
              </a:rPr>
              <a:t>, и в нацеленности на </a:t>
            </a:r>
            <a:r>
              <a:rPr lang="ru-RU" sz="1200" b="1" kern="1200" dirty="0">
                <a:solidFill>
                  <a:schemeClr val="tx1"/>
                </a:solidFill>
                <a:effectLst/>
                <a:latin typeface="+mn-lt"/>
                <a:ea typeface="+mn-ea"/>
                <a:cs typeface="+mn-cs"/>
              </a:rPr>
              <a:t>более прямое и эффективное вовлечение всех сторон</a:t>
            </a:r>
            <a:r>
              <a:rPr lang="ru-RU" sz="1200" kern="1200" dirty="0">
                <a:solidFill>
                  <a:schemeClr val="tx1"/>
                </a:solidFill>
                <a:effectLst/>
                <a:latin typeface="+mn-lt"/>
                <a:ea typeface="+mn-ea"/>
                <a:cs typeface="+mn-cs"/>
              </a:rPr>
              <a:t>, участвующих в предоставлении и потреблении </a:t>
            </a:r>
            <a:r>
              <a:rPr lang="ru-RU" sz="1200" kern="1200" dirty="0" err="1">
                <a:solidFill>
                  <a:schemeClr val="tx1"/>
                </a:solidFill>
                <a:effectLst/>
                <a:latin typeface="+mn-lt"/>
                <a:ea typeface="+mn-ea"/>
                <a:cs typeface="+mn-cs"/>
              </a:rPr>
              <a:t>гос.услуг</a:t>
            </a:r>
            <a:r>
              <a:rPr lang="ru-R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Gartner</a:t>
            </a:r>
            <a:r>
              <a:rPr lang="ru-R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Digital Government is Both Different From E-Government and More of the Same”, 2013).</a:t>
            </a:r>
            <a:endParaRPr lang="ru-RU" sz="1200" kern="1200" dirty="0">
              <a:solidFill>
                <a:schemeClr val="tx1"/>
              </a:solidFill>
              <a:effectLst/>
              <a:latin typeface="+mn-lt"/>
              <a:ea typeface="+mn-ea"/>
              <a:cs typeface="+mn-cs"/>
            </a:endParaRPr>
          </a:p>
          <a:p>
            <a:r>
              <a:rPr lang="ru-RU" sz="1200" b="1" kern="1200" dirty="0">
                <a:solidFill>
                  <a:schemeClr val="tx1"/>
                </a:solidFill>
                <a:effectLst/>
                <a:latin typeface="+mn-lt"/>
                <a:ea typeface="+mn-ea"/>
                <a:cs typeface="+mn-cs"/>
              </a:rPr>
              <a:t>«Ориентация на данные» – это, видимо, ключевое словосочетание, определяющее понятие «цифрового правительства», в отличие от «электронного правительства».</a:t>
            </a:r>
            <a:r>
              <a:rPr lang="ru-RU" sz="1200" kern="1200" dirty="0">
                <a:solidFill>
                  <a:schemeClr val="tx1"/>
                </a:solidFill>
                <a:effectLst/>
                <a:latin typeface="+mn-lt"/>
                <a:ea typeface="+mn-ea"/>
                <a:cs typeface="+mn-cs"/>
              </a:rPr>
              <a:t> Мы чуть позже объясним подробнее, что это означает «ориентация на данные». </a:t>
            </a:r>
          </a:p>
          <a:p>
            <a:r>
              <a:rPr lang="ru-RU" sz="1200" b="1" kern="1200" dirty="0">
                <a:solidFill>
                  <a:schemeClr val="tx1"/>
                </a:solidFill>
                <a:effectLst/>
                <a:latin typeface="+mn-lt"/>
                <a:ea typeface="+mn-ea"/>
                <a:cs typeface="+mn-cs"/>
              </a:rPr>
              <a:t>В контексте городов и регионов аналитики сегодня говорят об «умных городах» и «умных регионах».</a:t>
            </a:r>
            <a:r>
              <a:rPr lang="ru-RU" sz="1200" kern="1200" dirty="0">
                <a:solidFill>
                  <a:schemeClr val="tx1"/>
                </a:solidFill>
                <a:effectLst/>
                <a:latin typeface="+mn-lt"/>
                <a:ea typeface="+mn-ea"/>
                <a:cs typeface="+mn-cs"/>
              </a:rPr>
              <a:t> Когда говорят про </a:t>
            </a:r>
            <a:r>
              <a:rPr lang="ru-RU" sz="1200" b="1" kern="1200" dirty="0">
                <a:solidFill>
                  <a:schemeClr val="tx1"/>
                </a:solidFill>
                <a:effectLst/>
                <a:latin typeface="+mn-lt"/>
                <a:ea typeface="+mn-ea"/>
                <a:cs typeface="+mn-cs"/>
              </a:rPr>
              <a:t>«умные города»,</a:t>
            </a:r>
            <a:r>
              <a:rPr lang="ru-RU" sz="1200" kern="1200" dirty="0">
                <a:solidFill>
                  <a:schemeClr val="tx1"/>
                </a:solidFill>
                <a:effectLst/>
                <a:latin typeface="+mn-lt"/>
                <a:ea typeface="+mn-ea"/>
                <a:cs typeface="+mn-cs"/>
              </a:rPr>
              <a:t> как про тренд в рамках цифрового правительства, то считается что </a:t>
            </a:r>
            <a:r>
              <a:rPr lang="ru-RU" sz="1200" b="1" kern="1200" dirty="0">
                <a:solidFill>
                  <a:schemeClr val="tx1"/>
                </a:solidFill>
                <a:effectLst/>
                <a:latin typeface="+mn-lt"/>
                <a:ea typeface="+mn-ea"/>
                <a:cs typeface="+mn-cs"/>
              </a:rPr>
              <a:t>«данные, в частности большие массивы данных (</a:t>
            </a:r>
            <a:r>
              <a:rPr lang="en-US" sz="1200" b="1" kern="1200" dirty="0">
                <a:solidFill>
                  <a:schemeClr val="tx1"/>
                </a:solidFill>
                <a:effectLst/>
                <a:latin typeface="+mn-lt"/>
                <a:ea typeface="+mn-ea"/>
                <a:cs typeface="+mn-cs"/>
              </a:rPr>
              <a:t>big data</a:t>
            </a:r>
            <a:r>
              <a:rPr lang="ru-RU" sz="1200" b="1" kern="1200" dirty="0">
                <a:solidFill>
                  <a:schemeClr val="tx1"/>
                </a:solidFill>
                <a:effectLst/>
                <a:latin typeface="+mn-lt"/>
                <a:ea typeface="+mn-ea"/>
                <a:cs typeface="+mn-cs"/>
              </a:rPr>
              <a:t>), генерируемые «интернетом вещей» и операционными устройствами – это то, что делает города умными городами»</a:t>
            </a:r>
            <a:r>
              <a:rPr lang="ru-R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Gartner Group</a:t>
            </a:r>
            <a:r>
              <a:rPr lang="ru-RU" sz="1200" kern="1200" dirty="0">
                <a:solidFill>
                  <a:schemeClr val="tx1"/>
                </a:solidFill>
                <a:effectLst/>
                <a:latin typeface="+mn-lt"/>
                <a:ea typeface="+mn-ea"/>
                <a:cs typeface="+mn-cs"/>
              </a:rPr>
              <a:t>).</a:t>
            </a:r>
          </a:p>
          <a:p>
            <a:r>
              <a:rPr lang="ru-RU" sz="1200" b="1" kern="1200" dirty="0">
                <a:solidFill>
                  <a:schemeClr val="tx1"/>
                </a:solidFill>
                <a:effectLst/>
                <a:latin typeface="+mn-lt"/>
                <a:ea typeface="+mn-ea"/>
                <a:cs typeface="+mn-cs"/>
              </a:rPr>
              <a:t>По прогнозу </a:t>
            </a:r>
            <a:r>
              <a:rPr lang="en-US" sz="1200" b="1" kern="1200" dirty="0">
                <a:solidFill>
                  <a:schemeClr val="tx1"/>
                </a:solidFill>
                <a:effectLst/>
                <a:latin typeface="+mn-lt"/>
                <a:ea typeface="+mn-ea"/>
                <a:cs typeface="+mn-cs"/>
              </a:rPr>
              <a:t>IDC</a:t>
            </a:r>
            <a:r>
              <a:rPr lang="ru-RU" sz="1200" b="1"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Predictions from IDC </a:t>
            </a:r>
            <a:r>
              <a:rPr lang="en-US" sz="1200" b="1" kern="1200" dirty="0" err="1">
                <a:solidFill>
                  <a:schemeClr val="tx1"/>
                </a:solidFill>
                <a:effectLst/>
                <a:latin typeface="+mn-lt"/>
                <a:ea typeface="+mn-ea"/>
                <a:cs typeface="+mn-cs"/>
              </a:rPr>
              <a:t>FutureScapefor</a:t>
            </a:r>
            <a:r>
              <a:rPr lang="en-US" sz="1200" b="1" kern="1200" dirty="0">
                <a:solidFill>
                  <a:schemeClr val="tx1"/>
                </a:solidFill>
                <a:effectLst/>
                <a:latin typeface="+mn-lt"/>
                <a:ea typeface="+mn-ea"/>
                <a:cs typeface="+mn-cs"/>
              </a:rPr>
              <a:t> Internet of Things</a:t>
            </a:r>
            <a:r>
              <a:rPr lang="ru-RU" sz="1200" b="1"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Dec</a:t>
            </a:r>
            <a:r>
              <a:rPr lang="ru-RU" sz="1200" b="1" kern="1200" dirty="0">
                <a:solidFill>
                  <a:schemeClr val="tx1"/>
                </a:solidFill>
                <a:effectLst/>
                <a:latin typeface="+mn-lt"/>
                <a:ea typeface="+mn-ea"/>
                <a:cs typeface="+mn-cs"/>
              </a:rPr>
              <a:t> 2015) 25% всех ИТ-расходов органов в госсекторе будут связаны с проектами на уровне местных органов власти в области создания «умных городов/регионов». Неважно, насколько это точная цифра (20% или 30%), но очевидно одно, что это существенная компонента всей концепции цифрового правительства.</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При этом на этапе реализации «цифрового правительства» 4, а точнее 5 технологических трендов играют ключевую роль. В 2012 г. Аналитическая компания IDC сделала заключение, что «в индустрии информационных и коммуникационных технологий наблюдается новая волна изменений и роста, которая связана с такими технологиями, как </a:t>
            </a:r>
            <a:r>
              <a:rPr lang="ru-RU" sz="1200" b="1" kern="1200" dirty="0">
                <a:solidFill>
                  <a:schemeClr val="tx1"/>
                </a:solidFill>
                <a:effectLst/>
                <a:latin typeface="+mn-lt"/>
                <a:ea typeface="+mn-ea"/>
                <a:cs typeface="+mn-cs"/>
              </a:rPr>
              <a:t>Мобильные вычисления</a:t>
            </a:r>
            <a:r>
              <a:rPr lang="ru-RU" sz="1200"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Социальные коммуникации и сети</a:t>
            </a:r>
            <a:r>
              <a:rPr lang="ru-RU" sz="1200"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Облачные вычисления</a:t>
            </a:r>
            <a:r>
              <a:rPr lang="ru-RU" sz="1200" kern="1200" dirty="0">
                <a:solidFill>
                  <a:schemeClr val="tx1"/>
                </a:solidFill>
                <a:effectLst/>
                <a:latin typeface="+mn-lt"/>
                <a:ea typeface="+mn-ea"/>
                <a:cs typeface="+mn-cs"/>
              </a:rPr>
              <a:t> и технологии </a:t>
            </a:r>
            <a:r>
              <a:rPr lang="ru-RU" sz="1200" b="1" kern="1200" dirty="0">
                <a:solidFill>
                  <a:schemeClr val="tx1"/>
                </a:solidFill>
                <a:effectLst/>
                <a:latin typeface="+mn-lt"/>
                <a:ea typeface="+mn-ea"/>
                <a:cs typeface="+mn-cs"/>
              </a:rPr>
              <a:t>Больших данных</a:t>
            </a:r>
            <a:r>
              <a:rPr lang="ru-RU" sz="1200" kern="1200" dirty="0">
                <a:solidFill>
                  <a:schemeClr val="tx1"/>
                </a:solidFill>
                <a:effectLst/>
                <a:latin typeface="+mn-lt"/>
                <a:ea typeface="+mn-ea"/>
                <a:cs typeface="+mn-cs"/>
              </a:rPr>
              <a:t>, и эти изменения будут только ускоряться.” Это так называемые </a:t>
            </a:r>
            <a:r>
              <a:rPr lang="ru-RU" sz="1200" b="1" kern="1200" dirty="0">
                <a:solidFill>
                  <a:schemeClr val="tx1"/>
                </a:solidFill>
                <a:effectLst/>
                <a:latin typeface="+mn-lt"/>
                <a:ea typeface="+mn-ea"/>
                <a:cs typeface="+mn-cs"/>
              </a:rPr>
              <a:t>4 технологических </a:t>
            </a:r>
            <a:r>
              <a:rPr lang="ru-RU" sz="1200" b="1" kern="1200" dirty="0" err="1">
                <a:solidFill>
                  <a:schemeClr val="tx1"/>
                </a:solidFill>
                <a:effectLst/>
                <a:latin typeface="+mn-lt"/>
                <a:ea typeface="+mn-ea"/>
                <a:cs typeface="+mn-cs"/>
              </a:rPr>
              <a:t>мегатренда</a:t>
            </a:r>
            <a:r>
              <a:rPr lang="ru-RU" sz="1200" kern="1200" dirty="0">
                <a:solidFill>
                  <a:schemeClr val="tx1"/>
                </a:solidFill>
                <a:effectLst/>
                <a:latin typeface="+mn-lt"/>
                <a:ea typeface="+mn-ea"/>
                <a:cs typeface="+mn-cs"/>
              </a:rPr>
              <a:t>.</a:t>
            </a:r>
          </a:p>
          <a:p>
            <a:r>
              <a:rPr lang="ru-RU" sz="1200" b="1" kern="1200" dirty="0">
                <a:solidFill>
                  <a:schemeClr val="tx1"/>
                </a:solidFill>
                <a:effectLst/>
                <a:latin typeface="+mn-lt"/>
                <a:ea typeface="+mn-ea"/>
                <a:cs typeface="+mn-cs"/>
              </a:rPr>
              <a:t>Считается, что упомянутые выше 4 технологических тренда 3-й технологической платформы, дополненные (там, где это имеет смысл) активным использованием «интернета-вещей», являются ключевыми для новой, сегодняшней фазы использования ИТ-технологий в государстве, которая определяется как «Цифровое правительство» (</a:t>
            </a:r>
            <a:r>
              <a:rPr lang="ru-RU" sz="1200" b="1" kern="1200" dirty="0" err="1">
                <a:solidFill>
                  <a:schemeClr val="tx1"/>
                </a:solidFill>
                <a:effectLst/>
                <a:latin typeface="+mn-lt"/>
                <a:ea typeface="+mn-ea"/>
                <a:cs typeface="+mn-cs"/>
              </a:rPr>
              <a:t>Gartner</a:t>
            </a:r>
            <a:r>
              <a:rPr lang="ru-RU" sz="1200" b="1" kern="1200" dirty="0">
                <a:solidFill>
                  <a:schemeClr val="tx1"/>
                </a:solidFill>
                <a:effectLst/>
                <a:latin typeface="+mn-lt"/>
                <a:ea typeface="+mn-ea"/>
                <a:cs typeface="+mn-cs"/>
              </a:rPr>
              <a:t> “</a:t>
            </a:r>
            <a:r>
              <a:rPr lang="ru-RU" sz="1200" b="1" kern="1200" dirty="0" err="1">
                <a:solidFill>
                  <a:schemeClr val="tx1"/>
                </a:solidFill>
                <a:effectLst/>
                <a:latin typeface="+mn-lt"/>
                <a:ea typeface="+mn-ea"/>
                <a:cs typeface="+mn-cs"/>
              </a:rPr>
              <a:t>Digital</a:t>
            </a:r>
            <a:r>
              <a:rPr lang="ru-RU" sz="1200" b="1" kern="1200" dirty="0">
                <a:solidFill>
                  <a:schemeClr val="tx1"/>
                </a:solidFill>
                <a:effectLst/>
                <a:latin typeface="+mn-lt"/>
                <a:ea typeface="+mn-ea"/>
                <a:cs typeface="+mn-cs"/>
              </a:rPr>
              <a:t> </a:t>
            </a:r>
            <a:r>
              <a:rPr lang="ru-RU" sz="1200" b="1" kern="1200" dirty="0" err="1">
                <a:solidFill>
                  <a:schemeClr val="tx1"/>
                </a:solidFill>
                <a:effectLst/>
                <a:latin typeface="+mn-lt"/>
                <a:ea typeface="+mn-ea"/>
                <a:cs typeface="+mn-cs"/>
              </a:rPr>
              <a:t>Government</a:t>
            </a:r>
            <a:r>
              <a:rPr lang="ru-RU" sz="1200" b="1" kern="1200" dirty="0">
                <a:solidFill>
                  <a:schemeClr val="tx1"/>
                </a:solidFill>
                <a:effectLst/>
                <a:latin typeface="+mn-lt"/>
                <a:ea typeface="+mn-ea"/>
                <a:cs typeface="+mn-cs"/>
              </a:rPr>
              <a:t> </a:t>
            </a:r>
            <a:r>
              <a:rPr lang="ru-RU" sz="1200" b="1" kern="1200" dirty="0" err="1">
                <a:solidFill>
                  <a:schemeClr val="tx1"/>
                </a:solidFill>
                <a:effectLst/>
                <a:latin typeface="+mn-lt"/>
                <a:ea typeface="+mn-ea"/>
                <a:cs typeface="+mn-cs"/>
              </a:rPr>
              <a:t>Key</a:t>
            </a:r>
            <a:r>
              <a:rPr lang="ru-RU" sz="1200" b="1" kern="1200" dirty="0">
                <a:solidFill>
                  <a:schemeClr val="tx1"/>
                </a:solidFill>
                <a:effectLst/>
                <a:latin typeface="+mn-lt"/>
                <a:ea typeface="+mn-ea"/>
                <a:cs typeface="+mn-cs"/>
              </a:rPr>
              <a:t> Initiative </a:t>
            </a:r>
            <a:r>
              <a:rPr lang="ru-RU" sz="1200" b="1" kern="1200" dirty="0" err="1">
                <a:solidFill>
                  <a:schemeClr val="tx1"/>
                </a:solidFill>
                <a:effectLst/>
                <a:latin typeface="+mn-lt"/>
                <a:ea typeface="+mn-ea"/>
                <a:cs typeface="+mn-cs"/>
              </a:rPr>
              <a:t>Overview</a:t>
            </a:r>
            <a:r>
              <a:rPr lang="ru-RU" sz="1200" b="1" kern="1200" dirty="0">
                <a:solidFill>
                  <a:schemeClr val="tx1"/>
                </a:solidFill>
                <a:effectLst/>
                <a:latin typeface="+mn-lt"/>
                <a:ea typeface="+mn-ea"/>
                <a:cs typeface="+mn-cs"/>
              </a:rPr>
              <a:t>”, 2014).</a:t>
            </a:r>
            <a:endParaRPr lang="ru-RU" sz="1200" kern="1200" dirty="0">
              <a:solidFill>
                <a:schemeClr val="tx1"/>
              </a:solidFill>
              <a:effectLst/>
              <a:latin typeface="+mn-lt"/>
              <a:ea typeface="+mn-ea"/>
              <a:cs typeface="+mn-cs"/>
            </a:endParaRPr>
          </a:p>
          <a:p>
            <a:endParaRPr lang="ru-RU" dirty="0"/>
          </a:p>
        </p:txBody>
      </p:sp>
      <p:sp>
        <p:nvSpPr>
          <p:cNvPr id="4" name="Slide Number Placeholder 3"/>
          <p:cNvSpPr>
            <a:spLocks noGrp="1"/>
          </p:cNvSpPr>
          <p:nvPr>
            <p:ph type="sldNum" sz="quarter" idx="10"/>
          </p:nvPr>
        </p:nvSpPr>
        <p:spPr/>
        <p:txBody>
          <a:bodyPr/>
          <a:lstStyle/>
          <a:p>
            <a:fld id="{344FBF70-DFCE-497A-9E15-457CA18B175F}" type="slidenum">
              <a:rPr lang="en-US" smtClean="0">
                <a:solidFill>
                  <a:prstClr val="black"/>
                </a:solidFill>
              </a:rPr>
              <a:pPr/>
              <a:t>2</a:t>
            </a:fld>
            <a:endParaRPr lang="en-US">
              <a:solidFill>
                <a:prstClr val="black"/>
              </a:solidFill>
            </a:endParaRPr>
          </a:p>
        </p:txBody>
      </p:sp>
    </p:spTree>
    <p:extLst>
      <p:ext uri="{BB962C8B-B14F-4D97-AF65-F5344CB8AC3E}">
        <p14:creationId xmlns:p14="http://schemas.microsoft.com/office/powerpoint/2010/main" val="40622854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b="1" kern="1200" dirty="0">
                <a:solidFill>
                  <a:schemeClr val="tx1"/>
                </a:solidFill>
                <a:effectLst/>
                <a:latin typeface="+mn-lt"/>
                <a:ea typeface="+mn-ea"/>
                <a:cs typeface="+mn-cs"/>
              </a:rPr>
              <a:t>Технологические </a:t>
            </a:r>
            <a:r>
              <a:rPr lang="ru-RU" sz="1200" b="1" kern="1200" dirty="0" err="1">
                <a:solidFill>
                  <a:schemeClr val="tx1"/>
                </a:solidFill>
                <a:effectLst/>
                <a:latin typeface="+mn-lt"/>
                <a:ea typeface="+mn-ea"/>
                <a:cs typeface="+mn-cs"/>
              </a:rPr>
              <a:t>мегатренды</a:t>
            </a:r>
            <a:r>
              <a:rPr lang="ru-RU" sz="1200" b="1" kern="1200" dirty="0">
                <a:solidFill>
                  <a:schemeClr val="tx1"/>
                </a:solidFill>
                <a:effectLst/>
                <a:latin typeface="+mn-lt"/>
                <a:ea typeface="+mn-ea"/>
                <a:cs typeface="+mn-cs"/>
              </a:rPr>
              <a:t> обеспечивают следующий этап инноваций в госсекторе (как это работает)</a:t>
            </a:r>
          </a:p>
          <a:p>
            <a:r>
              <a:rPr lang="ru-RU" sz="1200" kern="1200" dirty="0">
                <a:solidFill>
                  <a:schemeClr val="tx1"/>
                </a:solidFill>
                <a:effectLst/>
                <a:latin typeface="+mn-lt"/>
                <a:ea typeface="+mn-ea"/>
                <a:cs typeface="+mn-cs"/>
              </a:rPr>
              <a:t>Государство – от муниципальных органов власти и до органов власти центрального, федерального правительства – это индустрия, со своими специфическими задачами и приоритетами. Мы считаем, что эффективное решение задач, стоящих перед государством сегодня и в ближайшие годы, невозможно без инноваций и использования технологических трендов, которые меняют индустрию информационных технологий.</a:t>
            </a:r>
          </a:p>
          <a:p>
            <a:r>
              <a:rPr lang="ru-RU" sz="1200" kern="1200" dirty="0">
                <a:solidFill>
                  <a:schemeClr val="tx1"/>
                </a:solidFill>
                <a:effectLst/>
                <a:latin typeface="+mn-lt"/>
                <a:ea typeface="+mn-ea"/>
                <a:cs typeface="+mn-cs"/>
              </a:rPr>
              <a:t>Разнообразие используемых гражданами и госслужащими устройств, мобильный стиль работы, «интернет вещей», социальные сети и коммуникации генерируют такое количество данных, что их </a:t>
            </a:r>
            <a:r>
              <a:rPr lang="ru-RU" sz="1200" b="1" kern="1200" dirty="0">
                <a:solidFill>
                  <a:schemeClr val="tx1"/>
                </a:solidFill>
                <a:effectLst/>
                <a:latin typeface="+mn-lt"/>
                <a:ea typeface="+mn-ea"/>
                <a:cs typeface="+mn-cs"/>
              </a:rPr>
              <a:t>экономически оправданное хранение и обработка возможны только с использованием облачных технологий</a:t>
            </a:r>
            <a:r>
              <a:rPr lang="ru-RU" sz="1200" kern="1200" dirty="0">
                <a:solidFill>
                  <a:schemeClr val="tx1"/>
                </a:solidFill>
                <a:effectLst/>
                <a:latin typeface="+mn-lt"/>
                <a:ea typeface="+mn-ea"/>
                <a:cs typeface="+mn-cs"/>
              </a:rPr>
              <a:t>. Технологии больших данных, аналитика, предсказательная аналитика дают государству новые инструменты поддержки принятия решений, возможность оказывать новые сервисы для граждан и бизнеса, которые, в свою очередь, реализуются и доступны им через облачные технологии.</a:t>
            </a:r>
          </a:p>
          <a:p>
            <a:r>
              <a:rPr lang="ru-RU" sz="1200" kern="1200" dirty="0">
                <a:solidFill>
                  <a:schemeClr val="tx1"/>
                </a:solidFill>
                <a:effectLst/>
                <a:latin typeface="+mn-lt"/>
                <a:ea typeface="+mn-ea"/>
                <a:cs typeface="+mn-cs"/>
              </a:rPr>
              <a:t>Забегая немного вперед, давайте примем для себя некоторое рабочее определение того, что такое «умный город» (или умный регион). Существуют десятки определений, я привел только одно из них, которое, с моей точки зрения содержит характерные элементы большинства общепринятых. Это определение некоммерческой организации «Совет по умным городам» (</a:t>
            </a:r>
            <a:r>
              <a:rPr lang="en-US" sz="1200" kern="1200" dirty="0" err="1">
                <a:solidFill>
                  <a:schemeClr val="tx1"/>
                </a:solidFill>
                <a:effectLst/>
                <a:latin typeface="+mn-lt"/>
                <a:ea typeface="+mn-ea"/>
                <a:cs typeface="+mn-cs"/>
              </a:rPr>
              <a:t>SmartCity</a:t>
            </a:r>
            <a:r>
              <a:rPr lang="en-US" sz="1200" kern="1200" dirty="0">
                <a:solidFill>
                  <a:schemeClr val="tx1"/>
                </a:solidFill>
                <a:effectLst/>
                <a:latin typeface="+mn-lt"/>
                <a:ea typeface="+mn-ea"/>
                <a:cs typeface="+mn-cs"/>
              </a:rPr>
              <a:t> Council</a:t>
            </a:r>
            <a:r>
              <a:rPr lang="ru-RU" sz="1200" kern="1200" dirty="0">
                <a:solidFill>
                  <a:schemeClr val="tx1"/>
                </a:solidFill>
                <a:effectLst/>
                <a:latin typeface="+mn-lt"/>
                <a:ea typeface="+mn-ea"/>
                <a:cs typeface="+mn-cs"/>
              </a:rPr>
              <a:t>):</a:t>
            </a:r>
          </a:p>
          <a:p>
            <a:r>
              <a:rPr lang="ru-RU" sz="1200" kern="1200" dirty="0">
                <a:solidFill>
                  <a:schemeClr val="tx1"/>
                </a:solidFill>
                <a:effectLst/>
                <a:latin typeface="+mn-lt"/>
                <a:ea typeface="+mn-ea"/>
                <a:cs typeface="+mn-cs"/>
              </a:rPr>
              <a:t>«</a:t>
            </a:r>
            <a:r>
              <a:rPr lang="ru-RU" sz="1200" b="1" kern="1200" dirty="0">
                <a:solidFill>
                  <a:schemeClr val="tx1"/>
                </a:solidFill>
                <a:effectLst/>
                <a:latin typeface="+mn-lt"/>
                <a:ea typeface="+mn-ea"/>
                <a:cs typeface="+mn-cs"/>
              </a:rPr>
              <a:t>Умный город (регион)</a:t>
            </a:r>
            <a:r>
              <a:rPr lang="ru-RU" sz="1200" kern="1200" dirty="0">
                <a:solidFill>
                  <a:schemeClr val="tx1"/>
                </a:solidFill>
                <a:effectLst/>
                <a:latin typeface="+mn-lt"/>
                <a:ea typeface="+mn-ea"/>
                <a:cs typeface="+mn-cs"/>
              </a:rPr>
              <a:t> – это город, который использует ИКТ для улучшений в области </a:t>
            </a:r>
            <a:r>
              <a:rPr lang="ru-RU" sz="1200" b="1" kern="1200" dirty="0">
                <a:solidFill>
                  <a:schemeClr val="tx1"/>
                </a:solidFill>
                <a:effectLst/>
                <a:latin typeface="+mn-lt"/>
                <a:ea typeface="+mn-ea"/>
                <a:cs typeface="+mn-cs"/>
              </a:rPr>
              <a:t>качества жизни, условий работы и устойчивого развития</a:t>
            </a:r>
            <a:r>
              <a:rPr lang="ru-RU" sz="1200" kern="1200" dirty="0">
                <a:solidFill>
                  <a:schemeClr val="tx1"/>
                </a:solidFill>
                <a:effectLst/>
                <a:latin typeface="+mn-lt"/>
                <a:ea typeface="+mn-ea"/>
                <a:cs typeface="+mn-cs"/>
              </a:rPr>
              <a:t>. Эта достигается через использование технологий в 3-х областях: 1) Сбор информации; 2) Коммуникации; 3) Обработка информации»  </a:t>
            </a:r>
          </a:p>
          <a:p>
            <a:r>
              <a:rPr lang="ru-RU" sz="1200" kern="1200" dirty="0">
                <a:solidFill>
                  <a:schemeClr val="tx1"/>
                </a:solidFill>
                <a:effectLst/>
                <a:latin typeface="+mn-lt"/>
                <a:ea typeface="+mn-ea"/>
                <a:cs typeface="+mn-cs"/>
              </a:rPr>
              <a:t>Таким образом, </a:t>
            </a:r>
            <a:r>
              <a:rPr lang="ru-RU" sz="1200" b="1" kern="1200" dirty="0">
                <a:solidFill>
                  <a:schemeClr val="tx1"/>
                </a:solidFill>
                <a:effectLst/>
                <a:latin typeface="+mn-lt"/>
                <a:ea typeface="+mn-ea"/>
                <a:cs typeface="+mn-cs"/>
              </a:rPr>
              <a:t>этот слайд условно показывает, как ключевые технологии третьей технологической платформы используются в контексте проектов «умных городов и регионов» и «цифрового правительства» в целом</a:t>
            </a:r>
            <a:r>
              <a:rPr lang="ru-RU" sz="1200" kern="1200" dirty="0">
                <a:solidFill>
                  <a:schemeClr val="tx1"/>
                </a:solidFill>
                <a:effectLst/>
                <a:latin typeface="+mn-lt"/>
                <a:ea typeface="+mn-ea"/>
                <a:cs typeface="+mn-cs"/>
              </a:rPr>
              <a:t>.</a:t>
            </a:r>
          </a:p>
          <a:p>
            <a:r>
              <a:rPr lang="ru-RU" sz="1200" kern="1200" dirty="0">
                <a:solidFill>
                  <a:schemeClr val="tx1"/>
                </a:solidFill>
                <a:effectLst/>
                <a:latin typeface="+mn-lt"/>
                <a:ea typeface="+mn-ea"/>
                <a:cs typeface="+mn-cs"/>
              </a:rPr>
              <a:t>Во-первых, ИТ-системы умных городов </a:t>
            </a:r>
            <a:r>
              <a:rPr lang="ru-RU" sz="1200" b="1" kern="1200" dirty="0">
                <a:solidFill>
                  <a:schemeClr val="tx1"/>
                </a:solidFill>
                <a:effectLst/>
                <a:latin typeface="+mn-lt"/>
                <a:ea typeface="+mn-ea"/>
                <a:cs typeface="+mn-cs"/>
              </a:rPr>
              <a:t>собирают информацию</a:t>
            </a:r>
            <a:r>
              <a:rPr lang="ru-RU" sz="1200" kern="1200" dirty="0">
                <a:solidFill>
                  <a:schemeClr val="tx1"/>
                </a:solidFill>
                <a:effectLst/>
                <a:latin typeface="+mn-lt"/>
                <a:ea typeface="+mn-ea"/>
                <a:cs typeface="+mn-cs"/>
              </a:rPr>
              <a:t> о жизни города и состоянии его инженерных систем с помощью датчиков, иных устройств и уже использующихся в городе систем, в том числе, используя технологии «интернета вещей», мобильных вычислений и социальных сетей. Далее, эта </a:t>
            </a:r>
            <a:r>
              <a:rPr lang="ru-RU" sz="1200" b="1" kern="1200" dirty="0">
                <a:solidFill>
                  <a:schemeClr val="tx1"/>
                </a:solidFill>
                <a:effectLst/>
                <a:latin typeface="+mn-lt"/>
                <a:ea typeface="+mn-ea"/>
                <a:cs typeface="+mn-cs"/>
              </a:rPr>
              <a:t>информация передается через систему коммуникаций</a:t>
            </a:r>
            <a:r>
              <a:rPr lang="ru-RU" sz="1200" kern="1200" dirty="0">
                <a:solidFill>
                  <a:schemeClr val="tx1"/>
                </a:solidFill>
                <a:effectLst/>
                <a:latin typeface="+mn-lt"/>
                <a:ea typeface="+mn-ea"/>
                <a:cs typeface="+mn-cs"/>
              </a:rPr>
              <a:t>, традиционные и беспроводные сети. Центры обработки данных, созданные на принципах облачных технологий, позволяют хранить эти колоссальные по объему массивы информации. Далее наступает </a:t>
            </a:r>
            <a:r>
              <a:rPr lang="ru-RU" sz="1200" b="1" kern="1200" dirty="0">
                <a:solidFill>
                  <a:schemeClr val="tx1"/>
                </a:solidFill>
                <a:effectLst/>
                <a:latin typeface="+mn-lt"/>
                <a:ea typeface="+mn-ea"/>
                <a:cs typeface="+mn-cs"/>
              </a:rPr>
              <a:t>этап обработки и анализа этой информации</a:t>
            </a:r>
            <a:r>
              <a:rPr lang="ru-RU" sz="1200" kern="1200" dirty="0">
                <a:solidFill>
                  <a:schemeClr val="tx1"/>
                </a:solidFill>
                <a:effectLst/>
                <a:latin typeface="+mn-lt"/>
                <a:ea typeface="+mn-ea"/>
                <a:cs typeface="+mn-cs"/>
              </a:rPr>
              <a:t>, чтобы понять: а что в реальности происходит в городе/регионе, а также появляется возможность прогнозирования того, что может произойти в будущем для принятия предупредительных и упреждающих действий.</a:t>
            </a:r>
          </a:p>
          <a:p>
            <a:r>
              <a:rPr lang="ru-RU" sz="1200" b="1" kern="1200" dirty="0">
                <a:solidFill>
                  <a:schemeClr val="tx1"/>
                </a:solidFill>
                <a:effectLst/>
                <a:latin typeface="+mn-lt"/>
                <a:ea typeface="+mn-ea"/>
                <a:cs typeface="+mn-cs"/>
              </a:rPr>
              <a:t>Большие Данные, Аналитика  </a:t>
            </a:r>
          </a:p>
          <a:p>
            <a:r>
              <a:rPr lang="ru-RU" sz="1200" kern="1200" dirty="0">
                <a:solidFill>
                  <a:schemeClr val="tx1"/>
                </a:solidFill>
                <a:effectLst/>
                <a:latin typeface="+mn-lt"/>
                <a:ea typeface="+mn-ea"/>
                <a:cs typeface="+mn-cs"/>
              </a:rPr>
              <a:t>За счет аналитики и анализа массивов данных, собираемых с миллионов устройств, каналов социальных сетей, бизнес-систем, власти городов и регионов могут идентифицировать тренды, принимать обоснованные решения, достигать большей эффективности и быстрее реагировать на чрезвычайные ситуации, решать задачи предсказательного анализа. Технологии «больших данных» сделали возможными на практике удивительные вещи, основанные на их обработке. Важно то, что обработка информации превращает информацию в знания, которые позволяют сотрудникам городских служб, а в некоторых случаях автоматизированным элементам инженерной инфраструктуры, действовать более эффективно.</a:t>
            </a:r>
          </a:p>
          <a:p>
            <a:r>
              <a:rPr lang="ru-RU" sz="1200" b="1" kern="1200" dirty="0">
                <a:solidFill>
                  <a:schemeClr val="tx1"/>
                </a:solidFill>
                <a:effectLst/>
                <a:latin typeface="+mn-lt"/>
                <a:ea typeface="+mn-ea"/>
                <a:cs typeface="+mn-cs"/>
              </a:rPr>
              <a:t>Продуктивность, социальные сети и коммуникации</a:t>
            </a:r>
          </a:p>
          <a:p>
            <a:r>
              <a:rPr lang="ru-RU" sz="1200" kern="1200" dirty="0">
                <a:solidFill>
                  <a:schemeClr val="tx1"/>
                </a:solidFill>
                <a:effectLst/>
                <a:latin typeface="+mn-lt"/>
                <a:ea typeface="+mn-ea"/>
                <a:cs typeface="+mn-cs"/>
              </a:rPr>
              <a:t>Технологии обеспечения продуктивной работы сотрудников и социальных коммуникаций дают измеримый эффект использования в госсекторе, когда необходимо решать все больший объем задач при том же или меньшем количестве сотрудников.</a:t>
            </a:r>
          </a:p>
          <a:p>
            <a:r>
              <a:rPr lang="ru-RU" sz="1200" kern="1200" dirty="0">
                <a:solidFill>
                  <a:schemeClr val="tx1"/>
                </a:solidFill>
                <a:effectLst/>
                <a:latin typeface="+mn-lt"/>
                <a:ea typeface="+mn-ea"/>
                <a:cs typeface="+mn-cs"/>
              </a:rPr>
              <a:t>Средства продуктивной работы, входящие, например, в состав </a:t>
            </a:r>
            <a:r>
              <a:rPr lang="en-US" sz="1200" kern="1200" dirty="0">
                <a:solidFill>
                  <a:schemeClr val="tx1"/>
                </a:solidFill>
                <a:effectLst/>
                <a:latin typeface="+mn-lt"/>
                <a:ea typeface="+mn-ea"/>
                <a:cs typeface="+mn-cs"/>
              </a:rPr>
              <a:t>Office</a:t>
            </a:r>
            <a:r>
              <a:rPr lang="ru-RU" sz="1200" kern="1200" dirty="0">
                <a:solidFill>
                  <a:schemeClr val="tx1"/>
                </a:solidFill>
                <a:effectLst/>
                <a:latin typeface="+mn-lt"/>
                <a:ea typeface="+mn-ea"/>
                <a:cs typeface="+mn-cs"/>
              </a:rPr>
              <a:t>, работают на различных устройствах, в сети и без нее, что соответствует стремлению </a:t>
            </a:r>
            <a:r>
              <a:rPr lang="ru-RU" sz="1200" kern="1200" dirty="0" err="1">
                <a:solidFill>
                  <a:schemeClr val="tx1"/>
                </a:solidFill>
                <a:effectLst/>
                <a:latin typeface="+mn-lt"/>
                <a:ea typeface="+mn-ea"/>
                <a:cs typeface="+mn-cs"/>
              </a:rPr>
              <a:t>госорганизаций</a:t>
            </a:r>
            <a:r>
              <a:rPr lang="ru-RU" sz="1200" kern="1200" dirty="0">
                <a:solidFill>
                  <a:schemeClr val="tx1"/>
                </a:solidFill>
                <a:effectLst/>
                <a:latin typeface="+mn-lt"/>
                <a:ea typeface="+mn-ea"/>
                <a:cs typeface="+mn-cs"/>
              </a:rPr>
              <a:t> увеличивать продуктивность работы, привлекать к работе молодых, талантливых сотрудников, обеспечивать возможность удаленной и мобильной работы.</a:t>
            </a:r>
          </a:p>
          <a:p>
            <a:r>
              <a:rPr lang="ru-RU" sz="1200" kern="1200" dirty="0">
                <a:solidFill>
                  <a:schemeClr val="tx1"/>
                </a:solidFill>
                <a:effectLst/>
                <a:latin typeface="+mn-lt"/>
                <a:ea typeface="+mn-ea"/>
                <a:cs typeface="+mn-cs"/>
              </a:rPr>
              <a:t>Социальные коммуникации становятся очень важны во многих областях взаимодействия с гражданами. Так, например, по данным </a:t>
            </a:r>
            <a:r>
              <a:rPr lang="en-US" sz="1200" kern="1200" dirty="0">
                <a:solidFill>
                  <a:schemeClr val="tx1"/>
                </a:solidFill>
                <a:effectLst/>
                <a:latin typeface="+mn-lt"/>
                <a:ea typeface="+mn-ea"/>
                <a:cs typeface="+mn-cs"/>
              </a:rPr>
              <a:t>PwC</a:t>
            </a:r>
            <a:r>
              <a:rPr lang="ru-RU" sz="1200" kern="1200" dirty="0">
                <a:solidFill>
                  <a:schemeClr val="tx1"/>
                </a:solidFill>
                <a:effectLst/>
                <a:latin typeface="+mn-lt"/>
                <a:ea typeface="+mn-ea"/>
                <a:cs typeface="+mn-cs"/>
              </a:rPr>
              <a:t> (2013) 49% пациентов хотели бы иметь возможность он-</a:t>
            </a:r>
            <a:r>
              <a:rPr lang="ru-RU" sz="1200" kern="1200" dirty="0" err="1">
                <a:solidFill>
                  <a:schemeClr val="tx1"/>
                </a:solidFill>
                <a:effectLst/>
                <a:latin typeface="+mn-lt"/>
                <a:ea typeface="+mn-ea"/>
                <a:cs typeface="+mn-cs"/>
              </a:rPr>
              <a:t>лайн</a:t>
            </a:r>
            <a:r>
              <a:rPr lang="ru-RU" sz="1200" kern="1200" dirty="0">
                <a:solidFill>
                  <a:schemeClr val="tx1"/>
                </a:solidFill>
                <a:effectLst/>
                <a:latin typeface="+mn-lt"/>
                <a:ea typeface="+mn-ea"/>
                <a:cs typeface="+mn-cs"/>
              </a:rPr>
              <a:t> взаимодействия с клиниками и врачами.</a:t>
            </a:r>
          </a:p>
          <a:p>
            <a:r>
              <a:rPr lang="ru-RU" sz="1200" kern="1200" dirty="0">
                <a:solidFill>
                  <a:schemeClr val="tx1"/>
                </a:solidFill>
                <a:effectLst/>
                <a:latin typeface="+mn-lt"/>
                <a:ea typeface="+mn-ea"/>
                <a:cs typeface="+mn-cs"/>
              </a:rPr>
              <a:t>Набирает силу тенденция анализа данных в социальных сетях, что помогает лучше понимать настроение в обществе, идентифицировать проблемы для их решения.</a:t>
            </a:r>
          </a:p>
          <a:p>
            <a:r>
              <a:rPr lang="ru-RU" sz="1200" b="1" kern="1200" dirty="0">
                <a:solidFill>
                  <a:schemeClr val="tx1"/>
                </a:solidFill>
                <a:effectLst/>
                <a:latin typeface="+mn-lt"/>
                <a:ea typeface="+mn-ea"/>
                <a:cs typeface="+mn-cs"/>
              </a:rPr>
              <a:t>Мобильность</a:t>
            </a:r>
          </a:p>
          <a:p>
            <a:r>
              <a:rPr lang="ru-RU" sz="1200" kern="1200" dirty="0">
                <a:solidFill>
                  <a:schemeClr val="tx1"/>
                </a:solidFill>
                <a:effectLst/>
                <a:latin typeface="+mn-lt"/>
                <a:ea typeface="+mn-ea"/>
                <a:cs typeface="+mn-cs"/>
              </a:rPr>
              <a:t>По данным </a:t>
            </a:r>
            <a:r>
              <a:rPr lang="en-US" sz="1200" kern="1200" dirty="0">
                <a:solidFill>
                  <a:schemeClr val="tx1"/>
                </a:solidFill>
                <a:effectLst/>
                <a:latin typeface="+mn-lt"/>
                <a:ea typeface="+mn-ea"/>
                <a:cs typeface="+mn-cs"/>
              </a:rPr>
              <a:t>IDC </a:t>
            </a:r>
            <a:r>
              <a:rPr lang="ru-RU" sz="1200" kern="1200" dirty="0">
                <a:solidFill>
                  <a:schemeClr val="tx1"/>
                </a:solidFill>
                <a:effectLst/>
                <a:latin typeface="+mn-lt"/>
                <a:ea typeface="+mn-ea"/>
                <a:cs typeface="+mn-cs"/>
              </a:rPr>
              <a:t>к 2020 г. 40% государственных служащих будут использовать устройства различных форм-факторов на повседневной основе. Этот список включает, но не ограничен такими устройствами, как смартфоны, планшетные компьютеры, ноутбуки, гибридные и носимые устройства («IDC </a:t>
            </a:r>
            <a:r>
              <a:rPr lang="ru-RU" sz="1200" kern="1200" dirty="0" err="1">
                <a:solidFill>
                  <a:schemeClr val="tx1"/>
                </a:solidFill>
                <a:effectLst/>
                <a:latin typeface="+mn-lt"/>
                <a:ea typeface="+mn-ea"/>
                <a:cs typeface="+mn-cs"/>
              </a:rPr>
              <a:t>FutureScape</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Worldwide</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Government</a:t>
            </a:r>
            <a:r>
              <a:rPr lang="ru-RU" sz="1200" kern="1200" dirty="0">
                <a:solidFill>
                  <a:schemeClr val="tx1"/>
                </a:solidFill>
                <a:effectLst/>
                <a:latin typeface="+mn-lt"/>
                <a:ea typeface="+mn-ea"/>
                <a:cs typeface="+mn-cs"/>
              </a:rPr>
              <a:t> 2015 </a:t>
            </a:r>
            <a:r>
              <a:rPr lang="ru-RU" sz="1200" kern="1200" dirty="0" err="1">
                <a:solidFill>
                  <a:schemeClr val="tx1"/>
                </a:solidFill>
                <a:effectLst/>
                <a:latin typeface="+mn-lt"/>
                <a:ea typeface="+mn-ea"/>
                <a:cs typeface="+mn-cs"/>
              </a:rPr>
              <a:t>Predictions</a:t>
            </a:r>
            <a:r>
              <a:rPr lang="ru-RU" sz="1200" kern="1200" dirty="0">
                <a:solidFill>
                  <a:schemeClr val="tx1"/>
                </a:solidFill>
                <a:effectLst/>
                <a:latin typeface="+mn-lt"/>
                <a:ea typeface="+mn-ea"/>
                <a:cs typeface="+mn-cs"/>
              </a:rPr>
              <a:t>» (2.12.2014.).</a:t>
            </a:r>
          </a:p>
          <a:p>
            <a:r>
              <a:rPr lang="ru-RU" sz="1200" kern="1200" dirty="0">
                <a:solidFill>
                  <a:schemeClr val="tx1"/>
                </a:solidFill>
                <a:effectLst/>
                <a:latin typeface="+mn-lt"/>
                <a:ea typeface="+mn-ea"/>
                <a:cs typeface="+mn-cs"/>
              </a:rPr>
              <a:t>Мобильные вычисления покрывают такие сценарии, как:</a:t>
            </a:r>
          </a:p>
          <a:p>
            <a:pPr lvl="0"/>
            <a:r>
              <a:rPr lang="ru-RU" dirty="0">
                <a:effectLst/>
              </a:rPr>
              <a:t>обеспечение эффективной работы руководителей, экспертов и просто сотрудников с точки зрения информирования и принятия решений в ситуации, когда они находятся вне офиса</a:t>
            </a:r>
          </a:p>
          <a:p>
            <a:pPr lvl="0"/>
            <a:r>
              <a:rPr lang="ru-RU" dirty="0">
                <a:effectLst/>
              </a:rPr>
              <a:t>административные работники, которым нужен удаленный доступ к системам</a:t>
            </a:r>
          </a:p>
          <a:p>
            <a:pPr lvl="0"/>
            <a:r>
              <a:rPr lang="ru-RU" dirty="0">
                <a:effectLst/>
              </a:rPr>
              <a:t>мобильные сотрудники, которым нужен доступ к системам, в основном, для создания контента (например, инспекторам, которые заполняют электронные бланки документов)</a:t>
            </a:r>
          </a:p>
          <a:p>
            <a:pPr lvl="0"/>
            <a:r>
              <a:rPr lang="ru-RU" dirty="0">
                <a:effectLst/>
              </a:rPr>
              <a:t>мобильные сотрудники, которым нужен быстрый доступ к справочной и иной информации вне стен офиса («работники в полях»), такие, например, как персонал, занимающийся обслуживанием или ремонтом оборудования</a:t>
            </a:r>
          </a:p>
          <a:p>
            <a:r>
              <a:rPr lang="ru-RU" sz="1200" kern="1200" dirty="0">
                <a:solidFill>
                  <a:schemeClr val="tx1"/>
                </a:solidFill>
                <a:effectLst/>
                <a:latin typeface="+mn-lt"/>
                <a:ea typeface="+mn-ea"/>
                <a:cs typeface="+mn-cs"/>
              </a:rPr>
              <a:t>В этих сценариях платформа </a:t>
            </a:r>
            <a:r>
              <a:rPr lang="en-US" sz="1200" kern="1200" dirty="0">
                <a:solidFill>
                  <a:schemeClr val="tx1"/>
                </a:solidFill>
                <a:effectLst/>
                <a:latin typeface="+mn-lt"/>
                <a:ea typeface="+mn-ea"/>
                <a:cs typeface="+mn-cs"/>
              </a:rPr>
              <a:t>Windows</a:t>
            </a:r>
            <a:r>
              <a:rPr lang="ru-RU" sz="1200" kern="1200" dirty="0">
                <a:solidFill>
                  <a:schemeClr val="tx1"/>
                </a:solidFill>
                <a:effectLst/>
                <a:latin typeface="+mn-lt"/>
                <a:ea typeface="+mn-ea"/>
                <a:cs typeface="+mn-cs"/>
              </a:rPr>
              <a:t> для мобильных устройств обеспечивает все возможности корпоративного управления устройствами. Прим этом обеспечивается продуктивное использование рабочего времени работы удаленно работающих сотрудников, уменьшается вероятность ошибок.  </a:t>
            </a:r>
          </a:p>
          <a:p>
            <a:r>
              <a:rPr lang="ru-RU" sz="1200" b="1" kern="1200" dirty="0">
                <a:solidFill>
                  <a:schemeClr val="tx1"/>
                </a:solidFill>
                <a:effectLst/>
                <a:latin typeface="+mn-lt"/>
                <a:ea typeface="+mn-ea"/>
                <a:cs typeface="+mn-cs"/>
              </a:rPr>
              <a:t>Интернет вещей</a:t>
            </a:r>
          </a:p>
          <a:p>
            <a:r>
              <a:rPr lang="ru-RU" sz="1200" kern="1200" dirty="0">
                <a:solidFill>
                  <a:schemeClr val="tx1"/>
                </a:solidFill>
                <a:effectLst/>
                <a:latin typeface="+mn-lt"/>
                <a:ea typeface="+mn-ea"/>
                <a:cs typeface="+mn-cs"/>
              </a:rPr>
              <a:t>Умные устройства, датчики, сенсоры могут располагаться, например, по всему городу для контроля параметров городской среды и состояния инфраструктуры. Например, они могут контролировать потребление электричества, газа, воды с большой степенью точности. Датчики могут давать информацию о состоянии дорожного трафика. Умные GPS или ГЛОНАСС-датчики могут предоставлять информацию о местоположении автобусов, троллейбусов, трамваев, бригад скорой помощи, ремонтных бригад и других сил и средств реагирования на чрезвычайные ситуации. Автоматические метеостанции могут передавать информацию о погоде и состоянии окружающей среды. А смартфоны, принадлежащие гражданам, также являются датчиками, которые при соответствующем согласии своих владельцев, могут сообщать информацию о местоположении владельца, скорости перемещения, характерных местах скопления граждан, и даже состоянии окружающей среды.</a:t>
            </a:r>
          </a:p>
          <a:p>
            <a:endParaRPr lang="ru-RU" dirty="0"/>
          </a:p>
        </p:txBody>
      </p:sp>
      <p:sp>
        <p:nvSpPr>
          <p:cNvPr id="4" name="Номер слайда 3"/>
          <p:cNvSpPr>
            <a:spLocks noGrp="1"/>
          </p:cNvSpPr>
          <p:nvPr>
            <p:ph type="sldNum" sz="quarter" idx="10"/>
          </p:nvPr>
        </p:nvSpPr>
        <p:spPr/>
        <p:txBody>
          <a:bodyPr/>
          <a:lstStyle/>
          <a:p>
            <a:fld id="{344FBF70-DFCE-497A-9E15-457CA18B175F}" type="slidenum">
              <a:rPr lang="en-US" smtClean="0"/>
              <a:t>3</a:t>
            </a:fld>
            <a:endParaRPr lang="en-US"/>
          </a:p>
        </p:txBody>
      </p:sp>
    </p:spTree>
    <p:extLst>
      <p:ext uri="{BB962C8B-B14F-4D97-AF65-F5344CB8AC3E}">
        <p14:creationId xmlns:p14="http://schemas.microsoft.com/office/powerpoint/2010/main" val="34958530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Умный город (регион) – это город, который использует ИКТ для улучшений в области качества жизни, условий работы и устойчивого развития. Эта достигается через использование технологий в 3-х областях: 1) Сбор информации; 2) Коммуникации; 3) Обработка информации» (Smart </a:t>
            </a:r>
            <a:r>
              <a:rPr lang="ru-RU" sz="1200" kern="1200" dirty="0" err="1">
                <a:solidFill>
                  <a:schemeClr val="tx1"/>
                </a:solidFill>
                <a:effectLst/>
                <a:latin typeface="+mn-lt"/>
                <a:ea typeface="+mn-ea"/>
                <a:cs typeface="+mn-cs"/>
              </a:rPr>
              <a:t>Cities</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Council</a:t>
            </a:r>
            <a:r>
              <a:rPr lang="ru-RU" sz="1200" kern="1200" dirty="0">
                <a:solidFill>
                  <a:schemeClr val="tx1"/>
                </a:solidFill>
                <a:effectLst/>
                <a:latin typeface="+mn-lt"/>
                <a:ea typeface="+mn-ea"/>
                <a:cs typeface="+mn-cs"/>
              </a:rPr>
              <a:t>)</a:t>
            </a:r>
          </a:p>
          <a:p>
            <a:r>
              <a:rPr lang="ru-RU" sz="1200" kern="1200" dirty="0">
                <a:solidFill>
                  <a:schemeClr val="tx1"/>
                </a:solidFill>
                <a:effectLst/>
                <a:latin typeface="+mn-lt"/>
                <a:ea typeface="+mn-ea"/>
                <a:cs typeface="+mn-cs"/>
              </a:rPr>
              <a:t>«Умные города собирают, анализируют и используют информацию для достижения целей, связанных с улучшением условий жизни граждан, а также устойчивого роста и развития» (“Business </a:t>
            </a:r>
            <a:r>
              <a:rPr lang="ru-RU" sz="1200" kern="1200" dirty="0" err="1">
                <a:solidFill>
                  <a:schemeClr val="tx1"/>
                </a:solidFill>
                <a:effectLst/>
                <a:latin typeface="+mn-lt"/>
                <a:ea typeface="+mn-ea"/>
                <a:cs typeface="+mn-cs"/>
              </a:rPr>
              <a:t>Strategy</a:t>
            </a:r>
            <a:r>
              <a:rPr lang="ru-RU" sz="1200" kern="1200" dirty="0">
                <a:solidFill>
                  <a:schemeClr val="tx1"/>
                </a:solidFill>
                <a:effectLst/>
                <a:latin typeface="+mn-lt"/>
                <a:ea typeface="+mn-ea"/>
                <a:cs typeface="+mn-cs"/>
              </a:rPr>
              <a:t>: Smart City </a:t>
            </a:r>
            <a:r>
              <a:rPr lang="ru-RU" sz="1200" kern="1200" dirty="0" err="1">
                <a:solidFill>
                  <a:schemeClr val="tx1"/>
                </a:solidFill>
                <a:effectLst/>
                <a:latin typeface="+mn-lt"/>
                <a:ea typeface="+mn-ea"/>
                <a:cs typeface="+mn-cs"/>
              </a:rPr>
              <a:t>Strategies</a:t>
            </a:r>
            <a:r>
              <a:rPr lang="ru-RU" sz="1200" kern="1200" dirty="0">
                <a:solidFill>
                  <a:schemeClr val="tx1"/>
                </a:solidFill>
                <a:effectLst/>
                <a:latin typeface="+mn-lt"/>
                <a:ea typeface="+mn-ea"/>
                <a:cs typeface="+mn-cs"/>
              </a:rPr>
              <a:t> – IDC </a:t>
            </a:r>
            <a:r>
              <a:rPr lang="ru-RU" sz="1200" kern="1200" dirty="0" err="1">
                <a:solidFill>
                  <a:schemeClr val="tx1"/>
                </a:solidFill>
                <a:effectLst/>
                <a:latin typeface="+mn-lt"/>
                <a:ea typeface="+mn-ea"/>
                <a:cs typeface="+mn-cs"/>
              </a:rPr>
              <a:t>Government</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Insights</a:t>
            </a:r>
            <a:r>
              <a:rPr lang="ru-RU" sz="1200" kern="1200" dirty="0">
                <a:solidFill>
                  <a:schemeClr val="tx1"/>
                </a:solidFill>
                <a:effectLst/>
                <a:latin typeface="+mn-lt"/>
                <a:ea typeface="+mn-ea"/>
                <a:cs typeface="+mn-cs"/>
              </a:rPr>
              <a:t>’ Smart City </a:t>
            </a:r>
            <a:r>
              <a:rPr lang="ru-RU" sz="1200" kern="1200" dirty="0" err="1">
                <a:solidFill>
                  <a:schemeClr val="tx1"/>
                </a:solidFill>
                <a:effectLst/>
                <a:latin typeface="+mn-lt"/>
                <a:ea typeface="+mn-ea"/>
                <a:cs typeface="+mn-cs"/>
              </a:rPr>
              <a:t>Framework</a:t>
            </a:r>
            <a:r>
              <a:rPr lang="ru-RU" sz="1200" kern="1200" dirty="0">
                <a:solidFill>
                  <a:schemeClr val="tx1"/>
                </a:solidFill>
                <a:effectLst/>
                <a:latin typeface="+mn-lt"/>
                <a:ea typeface="+mn-ea"/>
                <a:cs typeface="+mn-cs"/>
              </a:rPr>
              <a:t>”, 2012)</a:t>
            </a:r>
          </a:p>
          <a:p>
            <a:r>
              <a:rPr lang="ru-RU" sz="1200" kern="1200" dirty="0">
                <a:solidFill>
                  <a:schemeClr val="tx1"/>
                </a:solidFill>
                <a:effectLst/>
                <a:latin typeface="+mn-lt"/>
                <a:ea typeface="+mn-ea"/>
                <a:cs typeface="+mn-cs"/>
              </a:rPr>
              <a:t>«Умные города – это города будущего, которые являются более привлекательными местами для проживания и инвестиций. Умные города более эффективно используют свою инфраструктуру, человеческие ресурсы и огромные массивы данных для улучшения услуг своим гражданам: от уменьшения дорожных пробок до более быстро и эффективно реагирующих на ситуации городских служб и органов охраны правопорядка. Эти города также меняют характер своей работы с целью достижения целей устойчивого экономического развития, развития территории от имени госслужащих, бизнеса и граждан. Эти цели достигаются через модернизацию и использование ИТ-инфраструктуры и </a:t>
            </a:r>
            <a:r>
              <a:rPr lang="ru-RU" sz="1200" kern="1200" dirty="0" err="1">
                <a:solidFill>
                  <a:schemeClr val="tx1"/>
                </a:solidFill>
                <a:effectLst/>
                <a:latin typeface="+mn-lt"/>
                <a:ea typeface="+mn-ea"/>
                <a:cs typeface="+mn-cs"/>
              </a:rPr>
              <a:t>проактивное</a:t>
            </a:r>
            <a:r>
              <a:rPr lang="ru-RU" sz="1200" kern="1200" dirty="0">
                <a:solidFill>
                  <a:schemeClr val="tx1"/>
                </a:solidFill>
                <a:effectLst/>
                <a:latin typeface="+mn-lt"/>
                <a:ea typeface="+mn-ea"/>
                <a:cs typeface="+mn-cs"/>
              </a:rPr>
              <a:t> взаимодействие с гражданами» (“Business </a:t>
            </a:r>
            <a:r>
              <a:rPr lang="ru-RU" sz="1200" kern="1200" dirty="0" err="1">
                <a:solidFill>
                  <a:schemeClr val="tx1"/>
                </a:solidFill>
                <a:effectLst/>
                <a:latin typeface="+mn-lt"/>
                <a:ea typeface="+mn-ea"/>
                <a:cs typeface="+mn-cs"/>
              </a:rPr>
              <a:t>Strategy</a:t>
            </a:r>
            <a:r>
              <a:rPr lang="ru-RU" sz="1200" kern="1200" dirty="0">
                <a:solidFill>
                  <a:schemeClr val="tx1"/>
                </a:solidFill>
                <a:effectLst/>
                <a:latin typeface="+mn-lt"/>
                <a:ea typeface="+mn-ea"/>
                <a:cs typeface="+mn-cs"/>
              </a:rPr>
              <a:t>: Smart City </a:t>
            </a:r>
            <a:r>
              <a:rPr lang="ru-RU" sz="1200" kern="1200" dirty="0" err="1">
                <a:solidFill>
                  <a:schemeClr val="tx1"/>
                </a:solidFill>
                <a:effectLst/>
                <a:latin typeface="+mn-lt"/>
                <a:ea typeface="+mn-ea"/>
                <a:cs typeface="+mn-cs"/>
              </a:rPr>
              <a:t>Strategies</a:t>
            </a:r>
            <a:r>
              <a:rPr lang="ru-RU" sz="1200" kern="1200" dirty="0">
                <a:solidFill>
                  <a:schemeClr val="tx1"/>
                </a:solidFill>
                <a:effectLst/>
                <a:latin typeface="+mn-lt"/>
                <a:ea typeface="+mn-ea"/>
                <a:cs typeface="+mn-cs"/>
              </a:rPr>
              <a:t> – IDC </a:t>
            </a:r>
            <a:r>
              <a:rPr lang="ru-RU" sz="1200" kern="1200" dirty="0" err="1">
                <a:solidFill>
                  <a:schemeClr val="tx1"/>
                </a:solidFill>
                <a:effectLst/>
                <a:latin typeface="+mn-lt"/>
                <a:ea typeface="+mn-ea"/>
                <a:cs typeface="+mn-cs"/>
              </a:rPr>
              <a:t>Government</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Insights</a:t>
            </a:r>
            <a:r>
              <a:rPr lang="ru-RU" sz="1200" kern="1200" dirty="0">
                <a:solidFill>
                  <a:schemeClr val="tx1"/>
                </a:solidFill>
                <a:effectLst/>
                <a:latin typeface="+mn-lt"/>
                <a:ea typeface="+mn-ea"/>
                <a:cs typeface="+mn-cs"/>
              </a:rPr>
              <a:t>’ Smart City </a:t>
            </a:r>
            <a:r>
              <a:rPr lang="ru-RU" sz="1200" kern="1200" dirty="0" err="1">
                <a:solidFill>
                  <a:schemeClr val="tx1"/>
                </a:solidFill>
                <a:effectLst/>
                <a:latin typeface="+mn-lt"/>
                <a:ea typeface="+mn-ea"/>
                <a:cs typeface="+mn-cs"/>
              </a:rPr>
              <a:t>Framework</a:t>
            </a:r>
            <a:r>
              <a:rPr lang="ru-RU" sz="1200" kern="1200" dirty="0">
                <a:solidFill>
                  <a:schemeClr val="tx1"/>
                </a:solidFill>
                <a:effectLst/>
                <a:latin typeface="+mn-lt"/>
                <a:ea typeface="+mn-ea"/>
                <a:cs typeface="+mn-cs"/>
              </a:rPr>
              <a:t>”, 2012)</a:t>
            </a:r>
          </a:p>
          <a:p>
            <a:r>
              <a:rPr lang="ru-RU" sz="1200" kern="1200" dirty="0">
                <a:solidFill>
                  <a:schemeClr val="tx1"/>
                </a:solidFill>
                <a:effectLst/>
                <a:latin typeface="+mn-lt"/>
                <a:ea typeface="+mn-ea"/>
                <a:cs typeface="+mn-cs"/>
              </a:rPr>
              <a:t>Данные, в частности большие массивы данных (</a:t>
            </a:r>
            <a:r>
              <a:rPr lang="ru-RU" sz="1200" kern="1200" dirty="0" err="1">
                <a:solidFill>
                  <a:schemeClr val="tx1"/>
                </a:solidFill>
                <a:effectLst/>
                <a:latin typeface="+mn-lt"/>
                <a:ea typeface="+mn-ea"/>
                <a:cs typeface="+mn-cs"/>
              </a:rPr>
              <a:t>big</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data</a:t>
            </a:r>
            <a:r>
              <a:rPr lang="ru-RU" sz="1200" kern="1200" dirty="0">
                <a:solidFill>
                  <a:schemeClr val="tx1"/>
                </a:solidFill>
                <a:effectLst/>
                <a:latin typeface="+mn-lt"/>
                <a:ea typeface="+mn-ea"/>
                <a:cs typeface="+mn-cs"/>
              </a:rPr>
              <a:t>), генерируемые «интернетом вещей» и операционными устройствами – это то, что делает города «умными городами» (</a:t>
            </a:r>
            <a:r>
              <a:rPr lang="ru-RU" sz="1200" kern="1200" dirty="0" err="1">
                <a:solidFill>
                  <a:schemeClr val="tx1"/>
                </a:solidFill>
                <a:effectLst/>
                <a:latin typeface="+mn-lt"/>
                <a:ea typeface="+mn-ea"/>
                <a:cs typeface="+mn-cs"/>
              </a:rPr>
              <a:t>Gartner</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Group</a:t>
            </a:r>
            <a:r>
              <a:rPr lang="ru-RU" sz="1200" kern="1200" dirty="0">
                <a:solidFill>
                  <a:schemeClr val="tx1"/>
                </a:solidFill>
                <a:effectLst/>
                <a:latin typeface="+mn-lt"/>
                <a:ea typeface="+mn-ea"/>
                <a:cs typeface="+mn-cs"/>
              </a:rPr>
              <a:t>)</a:t>
            </a:r>
          </a:p>
          <a:p>
            <a:endParaRPr lang="ru-RU" dirty="0"/>
          </a:p>
        </p:txBody>
      </p:sp>
      <p:sp>
        <p:nvSpPr>
          <p:cNvPr id="4" name="Номер слайда 3"/>
          <p:cNvSpPr>
            <a:spLocks noGrp="1"/>
          </p:cNvSpPr>
          <p:nvPr>
            <p:ph type="sldNum" sz="quarter" idx="10"/>
          </p:nvPr>
        </p:nvSpPr>
        <p:spPr/>
        <p:txBody>
          <a:bodyPr/>
          <a:lstStyle/>
          <a:p>
            <a:fld id="{344FBF70-DFCE-497A-9E15-457CA18B175F}" type="slidenum">
              <a:rPr lang="en-US" smtClean="0"/>
              <a:t>4</a:t>
            </a:fld>
            <a:endParaRPr lang="en-US"/>
          </a:p>
        </p:txBody>
      </p:sp>
    </p:spTree>
    <p:extLst>
      <p:ext uri="{BB962C8B-B14F-4D97-AF65-F5344CB8AC3E}">
        <p14:creationId xmlns:p14="http://schemas.microsoft.com/office/powerpoint/2010/main" val="12977560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Microsoft </a:t>
            </a:r>
            <a:r>
              <a:rPr lang="ru-RU" sz="1200" kern="1200" dirty="0">
                <a:solidFill>
                  <a:schemeClr val="tx1"/>
                </a:solidFill>
                <a:effectLst/>
                <a:latin typeface="+mn-lt"/>
                <a:ea typeface="+mn-ea"/>
                <a:cs typeface="+mn-cs"/>
              </a:rPr>
              <a:t>реализует свое видение умных цифровых городов и регионов будущего в рамках инициативы </a:t>
            </a:r>
            <a:r>
              <a:rPr lang="en-US" sz="1200" kern="1200" dirty="0">
                <a:solidFill>
                  <a:schemeClr val="tx1"/>
                </a:solidFill>
                <a:effectLst/>
                <a:latin typeface="+mn-lt"/>
                <a:ea typeface="+mn-ea"/>
                <a:cs typeface="+mn-cs"/>
              </a:rPr>
              <a:t>Microsoft </a:t>
            </a:r>
            <a:r>
              <a:rPr lang="en-US" sz="1200" kern="1200" dirty="0" err="1">
                <a:solidFill>
                  <a:schemeClr val="tx1"/>
                </a:solidFill>
                <a:effectLst/>
                <a:latin typeface="+mn-lt"/>
                <a:ea typeface="+mn-ea"/>
                <a:cs typeface="+mn-cs"/>
              </a:rPr>
              <a:t>CityNext</a:t>
            </a:r>
            <a:r>
              <a:rPr lang="ru-RU" sz="1200" kern="1200" dirty="0">
                <a:solidFill>
                  <a:schemeClr val="tx1"/>
                </a:solidFill>
                <a:effectLst/>
                <a:latin typeface="+mn-lt"/>
                <a:ea typeface="+mn-ea"/>
                <a:cs typeface="+mn-cs"/>
              </a:rPr>
              <a:t>.</a:t>
            </a:r>
          </a:p>
          <a:p>
            <a:r>
              <a:rPr lang="ru-RU" sz="1200" kern="1200" dirty="0">
                <a:solidFill>
                  <a:schemeClr val="tx1"/>
                </a:solidFill>
                <a:effectLst/>
                <a:latin typeface="+mn-lt"/>
                <a:ea typeface="+mn-ea"/>
                <a:cs typeface="+mn-cs"/>
              </a:rPr>
              <a:t>Если подумать, то мы хотим от наших городов и регионов, в которых мы живем, </a:t>
            </a:r>
            <a:r>
              <a:rPr lang="ru-RU" sz="1200" b="1" kern="1200" dirty="0">
                <a:solidFill>
                  <a:schemeClr val="tx1"/>
                </a:solidFill>
                <a:effectLst/>
                <a:latin typeface="+mn-lt"/>
                <a:ea typeface="+mn-ea"/>
                <a:cs typeface="+mn-cs"/>
              </a:rPr>
              <a:t>пять очень простых вещей:</a:t>
            </a:r>
            <a:r>
              <a:rPr lang="ru-RU" sz="1200" kern="1200" dirty="0">
                <a:solidFill>
                  <a:schemeClr val="tx1"/>
                </a:solidFill>
                <a:effectLst/>
                <a:latin typeface="+mn-lt"/>
                <a:ea typeface="+mn-ea"/>
                <a:cs typeface="+mn-cs"/>
              </a:rPr>
              <a:t> </a:t>
            </a:r>
          </a:p>
          <a:p>
            <a:pPr lvl="0"/>
            <a:r>
              <a:rPr lang="ru-RU" sz="1200" kern="1200" dirty="0">
                <a:solidFill>
                  <a:schemeClr val="tx1"/>
                </a:solidFill>
                <a:effectLst/>
                <a:latin typeface="+mn-lt"/>
                <a:ea typeface="+mn-ea"/>
                <a:cs typeface="+mn-cs"/>
              </a:rPr>
              <a:t>Мы хотим жить в </a:t>
            </a:r>
            <a:r>
              <a:rPr lang="ru-RU" sz="1200" b="1" kern="1200" dirty="0">
                <a:solidFill>
                  <a:schemeClr val="tx1"/>
                </a:solidFill>
                <a:effectLst/>
                <a:latin typeface="+mn-lt"/>
                <a:ea typeface="+mn-ea"/>
                <a:cs typeface="+mn-cs"/>
              </a:rPr>
              <a:t>Современных городах и регионах</a:t>
            </a:r>
            <a:r>
              <a:rPr lang="ru-RU" sz="1200" kern="1200" dirty="0">
                <a:solidFill>
                  <a:schemeClr val="tx1"/>
                </a:solidFill>
                <a:effectLst/>
                <a:latin typeface="+mn-lt"/>
                <a:ea typeface="+mn-ea"/>
                <a:cs typeface="+mn-cs"/>
              </a:rPr>
              <a:t>. Это подразумевает использование </a:t>
            </a:r>
            <a:r>
              <a:rPr lang="ru-RU" sz="1200" b="1" kern="1200" dirty="0">
                <a:solidFill>
                  <a:schemeClr val="tx1"/>
                </a:solidFill>
                <a:effectLst/>
                <a:latin typeface="+mn-lt"/>
                <a:ea typeface="+mn-ea"/>
                <a:cs typeface="+mn-cs"/>
              </a:rPr>
              <a:t>ИТ для автоматизации административной деятельности</a:t>
            </a:r>
            <a:r>
              <a:rPr lang="ru-RU" sz="1200" kern="1200" dirty="0">
                <a:solidFill>
                  <a:schemeClr val="tx1"/>
                </a:solidFill>
                <a:effectLst/>
                <a:latin typeface="+mn-lt"/>
                <a:ea typeface="+mn-ea"/>
                <a:cs typeface="+mn-cs"/>
              </a:rPr>
              <a:t>. По сути, это зачастую «классические системы» электронного правительства: порталы госуслуг, МФЦ, системы документооборота и т.д. Это требует наличия </a:t>
            </a:r>
            <a:r>
              <a:rPr lang="ru-RU" sz="1200" b="1" kern="1200" dirty="0">
                <a:solidFill>
                  <a:schemeClr val="tx1"/>
                </a:solidFill>
                <a:effectLst/>
                <a:latin typeface="+mn-lt"/>
                <a:ea typeface="+mn-ea"/>
                <a:cs typeface="+mn-cs"/>
              </a:rPr>
              <a:t>инфраструктуры отдыха, культуры, туризма</a:t>
            </a:r>
            <a:r>
              <a:rPr lang="ru-RU" sz="1200" kern="1200" dirty="0">
                <a:solidFill>
                  <a:schemeClr val="tx1"/>
                </a:solidFill>
                <a:effectLst/>
                <a:latin typeface="+mn-lt"/>
                <a:ea typeface="+mn-ea"/>
                <a:cs typeface="+mn-cs"/>
              </a:rPr>
              <a:t> и соответствующих ИТ-систем</a:t>
            </a:r>
          </a:p>
          <a:p>
            <a:pPr lvl="0"/>
            <a:r>
              <a:rPr lang="ru-RU" sz="1200" kern="1200" dirty="0">
                <a:solidFill>
                  <a:schemeClr val="tx1"/>
                </a:solidFill>
                <a:effectLst/>
                <a:latin typeface="+mn-lt"/>
                <a:ea typeface="+mn-ea"/>
                <a:cs typeface="+mn-cs"/>
              </a:rPr>
              <a:t>Мы хотим жить в городах с </a:t>
            </a:r>
            <a:r>
              <a:rPr lang="ru-RU" sz="1200" b="1" kern="1200" dirty="0">
                <a:solidFill>
                  <a:schemeClr val="tx1"/>
                </a:solidFill>
                <a:effectLst/>
                <a:latin typeface="+mn-lt"/>
                <a:ea typeface="+mn-ea"/>
                <a:cs typeface="+mn-cs"/>
              </a:rPr>
              <a:t>Качественной системой образования</a:t>
            </a:r>
            <a:r>
              <a:rPr lang="ru-RU" sz="1200" kern="1200" dirty="0">
                <a:solidFill>
                  <a:schemeClr val="tx1"/>
                </a:solidFill>
                <a:effectLst/>
                <a:latin typeface="+mn-lt"/>
                <a:ea typeface="+mn-ea"/>
                <a:cs typeface="+mn-cs"/>
              </a:rPr>
              <a:t> для наших детей, а также для взрослого населения</a:t>
            </a:r>
          </a:p>
          <a:p>
            <a:pPr lvl="0"/>
            <a:r>
              <a:rPr lang="ru-RU" sz="1200" kern="1200" dirty="0">
                <a:solidFill>
                  <a:schemeClr val="tx1"/>
                </a:solidFill>
                <a:effectLst/>
                <a:latin typeface="+mn-lt"/>
                <a:ea typeface="+mn-ea"/>
                <a:cs typeface="+mn-cs"/>
              </a:rPr>
              <a:t>Мы хотим жить в </a:t>
            </a:r>
            <a:r>
              <a:rPr lang="ru-RU" sz="1200" b="1" kern="1200" dirty="0">
                <a:solidFill>
                  <a:schemeClr val="tx1"/>
                </a:solidFill>
                <a:effectLst/>
                <a:latin typeface="+mn-lt"/>
                <a:ea typeface="+mn-ea"/>
                <a:cs typeface="+mn-cs"/>
              </a:rPr>
              <a:t>Безопасных городах и регионах</a:t>
            </a:r>
            <a:endParaRPr lang="ru-RU" sz="1200" kern="1200" dirty="0">
              <a:solidFill>
                <a:schemeClr val="tx1"/>
              </a:solidFill>
              <a:effectLst/>
              <a:latin typeface="+mn-lt"/>
              <a:ea typeface="+mn-ea"/>
              <a:cs typeface="+mn-cs"/>
            </a:endParaRPr>
          </a:p>
          <a:p>
            <a:pPr lvl="0"/>
            <a:r>
              <a:rPr lang="ru-RU" sz="1200" kern="1200" dirty="0">
                <a:solidFill>
                  <a:schemeClr val="tx1"/>
                </a:solidFill>
                <a:effectLst/>
                <a:latin typeface="+mn-lt"/>
                <a:ea typeface="+mn-ea"/>
                <a:cs typeface="+mn-cs"/>
              </a:rPr>
              <a:t>Мы хотим жить в городах и регионах с </a:t>
            </a:r>
            <a:r>
              <a:rPr lang="ru-RU" sz="1200" b="1" kern="1200" dirty="0">
                <a:solidFill>
                  <a:schemeClr val="tx1"/>
                </a:solidFill>
                <a:effectLst/>
                <a:latin typeface="+mn-lt"/>
                <a:ea typeface="+mn-ea"/>
                <a:cs typeface="+mn-cs"/>
              </a:rPr>
              <a:t>Качественным здравоохранением и средой проживания</a:t>
            </a:r>
            <a:endParaRPr lang="ru-RU" sz="1200" kern="1200" dirty="0">
              <a:solidFill>
                <a:schemeClr val="tx1"/>
              </a:solidFill>
              <a:effectLst/>
              <a:latin typeface="+mn-lt"/>
              <a:ea typeface="+mn-ea"/>
              <a:cs typeface="+mn-cs"/>
            </a:endParaRPr>
          </a:p>
          <a:p>
            <a:pPr lvl="0"/>
            <a:r>
              <a:rPr lang="ru-RU" sz="1200" b="1" kern="1200" dirty="0">
                <a:solidFill>
                  <a:schemeClr val="tx1"/>
                </a:solidFill>
                <a:effectLst/>
                <a:latin typeface="+mn-lt"/>
                <a:ea typeface="+mn-ea"/>
                <a:cs typeface="+mn-cs"/>
              </a:rPr>
              <a:t>Мы хотим жить в городах, у которых есть будущее, которые устойчиво развиваются и становятся удобнее.</a:t>
            </a:r>
            <a:r>
              <a:rPr lang="ru-RU" sz="1200" kern="1200" dirty="0">
                <a:solidFill>
                  <a:schemeClr val="tx1"/>
                </a:solidFill>
                <a:effectLst/>
                <a:latin typeface="+mn-lt"/>
                <a:ea typeface="+mn-ea"/>
                <a:cs typeface="+mn-cs"/>
              </a:rPr>
              <a:t> Это предполагает использование ИТ, в том числе, в таких областях, как создание эффективной </a:t>
            </a:r>
            <a:r>
              <a:rPr lang="ru-RU" sz="1200" b="1" kern="1200" dirty="0">
                <a:solidFill>
                  <a:schemeClr val="tx1"/>
                </a:solidFill>
                <a:effectLst/>
                <a:latin typeface="+mn-lt"/>
                <a:ea typeface="+mn-ea"/>
                <a:cs typeface="+mn-cs"/>
              </a:rPr>
              <a:t>транспортной среды</a:t>
            </a:r>
            <a:r>
              <a:rPr lang="ru-RU" sz="1200" kern="1200" dirty="0">
                <a:solidFill>
                  <a:schemeClr val="tx1"/>
                </a:solidFill>
                <a:effectLst/>
                <a:latin typeface="+mn-lt"/>
                <a:ea typeface="+mn-ea"/>
                <a:cs typeface="+mn-cs"/>
              </a:rPr>
              <a:t>, </a:t>
            </a:r>
            <a:r>
              <a:rPr lang="ru-RU" sz="1200" b="1" kern="1200" dirty="0" err="1">
                <a:solidFill>
                  <a:schemeClr val="tx1"/>
                </a:solidFill>
                <a:effectLst/>
                <a:latin typeface="+mn-lt"/>
                <a:ea typeface="+mn-ea"/>
                <a:cs typeface="+mn-cs"/>
              </a:rPr>
              <a:t>энерго</a:t>
            </a:r>
            <a:r>
              <a:rPr lang="ru-RU" sz="1200" b="1" kern="1200" dirty="0">
                <a:solidFill>
                  <a:schemeClr val="tx1"/>
                </a:solidFill>
                <a:effectLst/>
                <a:latin typeface="+mn-lt"/>
                <a:ea typeface="+mn-ea"/>
                <a:cs typeface="+mn-cs"/>
              </a:rPr>
              <a:t>- и водоснабжения</a:t>
            </a:r>
            <a:r>
              <a:rPr lang="ru-RU" sz="1200" kern="1200" dirty="0">
                <a:solidFill>
                  <a:schemeClr val="tx1"/>
                </a:solidFill>
                <a:effectLst/>
                <a:latin typeface="+mn-lt"/>
                <a:ea typeface="+mn-ea"/>
                <a:cs typeface="+mn-cs"/>
              </a:rPr>
              <a:t>, </a:t>
            </a:r>
            <a:r>
              <a:rPr lang="ru-RU" sz="1200" b="1" kern="1200" dirty="0">
                <a:solidFill>
                  <a:schemeClr val="tx1"/>
                </a:solidFill>
                <a:effectLst/>
                <a:latin typeface="+mn-lt"/>
                <a:ea typeface="+mn-ea"/>
                <a:cs typeface="+mn-cs"/>
              </a:rPr>
              <a:t>управление зданиями и городской инфраструктурой</a:t>
            </a:r>
            <a:endParaRPr lang="ru-RU" sz="1200" kern="1200" dirty="0">
              <a:solidFill>
                <a:schemeClr val="tx1"/>
              </a:solidFill>
              <a:effectLst/>
              <a:latin typeface="+mn-lt"/>
              <a:ea typeface="+mn-ea"/>
              <a:cs typeface="+mn-cs"/>
            </a:endParaRPr>
          </a:p>
          <a:p>
            <a:r>
              <a:rPr lang="ru-RU" sz="1200" kern="1200" dirty="0">
                <a:solidFill>
                  <a:schemeClr val="tx1"/>
                </a:solidFill>
                <a:effectLst/>
                <a:latin typeface="+mn-lt"/>
                <a:ea typeface="+mn-ea"/>
                <a:cs typeface="+mn-cs"/>
              </a:rPr>
              <a:t>В рамках этой модели мы детализируем эти 8 функциональных областей на уровень примерно 40 сценариев создания информационных систем.</a:t>
            </a:r>
          </a:p>
          <a:p>
            <a:r>
              <a:rPr lang="ru-RU" sz="1200" b="1" kern="1200" dirty="0">
                <a:solidFill>
                  <a:schemeClr val="tx1"/>
                </a:solidFill>
                <a:effectLst/>
                <a:latin typeface="+mn-lt"/>
                <a:ea typeface="+mn-ea"/>
                <a:cs typeface="+mn-cs"/>
              </a:rPr>
              <a:t>В рамках инициативы </a:t>
            </a:r>
            <a:r>
              <a:rPr lang="en-US" sz="1200" b="1" kern="1200" dirty="0" err="1">
                <a:solidFill>
                  <a:schemeClr val="tx1"/>
                </a:solidFill>
                <a:effectLst/>
                <a:latin typeface="+mn-lt"/>
                <a:ea typeface="+mn-ea"/>
                <a:cs typeface="+mn-cs"/>
              </a:rPr>
              <a:t>CityNext</a:t>
            </a:r>
            <a:r>
              <a:rPr lang="ru-RU" sz="1200" b="1" kern="1200" dirty="0">
                <a:solidFill>
                  <a:schemeClr val="tx1"/>
                </a:solidFill>
                <a:effectLst/>
                <a:latin typeface="+mn-lt"/>
                <a:ea typeface="+mn-ea"/>
                <a:cs typeface="+mn-cs"/>
              </a:rPr>
              <a:t> мы консолидируем информацию о решениях партнеров, прежде всего, российских партнеров, которые предоставляют решения в этих 8 областях</a:t>
            </a:r>
            <a:r>
              <a:rPr lang="ru-RU" sz="1200" kern="1200" dirty="0">
                <a:solidFill>
                  <a:schemeClr val="tx1"/>
                </a:solidFill>
                <a:effectLst/>
                <a:latin typeface="+mn-lt"/>
                <a:ea typeface="+mn-ea"/>
                <a:cs typeface="+mn-cs"/>
              </a:rPr>
              <a:t>.  Сейчас это </a:t>
            </a:r>
            <a:r>
              <a:rPr lang="ru-RU" sz="1200" b="1" kern="1200" dirty="0">
                <a:solidFill>
                  <a:schemeClr val="tx1"/>
                </a:solidFill>
                <a:effectLst/>
                <a:latin typeface="+mn-lt"/>
                <a:ea typeface="+mn-ea"/>
                <a:cs typeface="+mn-cs"/>
              </a:rPr>
              <a:t>более 85 российских партнеров и более 180 различных решений</a:t>
            </a:r>
            <a:r>
              <a:rPr lang="ru-RU" sz="1200" kern="1200" dirty="0">
                <a:solidFill>
                  <a:schemeClr val="tx1"/>
                </a:solidFill>
                <a:effectLst/>
                <a:latin typeface="+mn-lt"/>
                <a:ea typeface="+mn-ea"/>
                <a:cs typeface="+mn-cs"/>
              </a:rPr>
              <a:t>: от порталов </a:t>
            </a:r>
            <a:r>
              <a:rPr lang="ru-RU" sz="1200" kern="1200" dirty="0" err="1">
                <a:solidFill>
                  <a:schemeClr val="tx1"/>
                </a:solidFill>
                <a:effectLst/>
                <a:latin typeface="+mn-lt"/>
                <a:ea typeface="+mn-ea"/>
                <a:cs typeface="+mn-cs"/>
              </a:rPr>
              <a:t>гос.услуг</a:t>
            </a:r>
            <a:r>
              <a:rPr lang="ru-RU" sz="1200" kern="1200" dirty="0">
                <a:solidFill>
                  <a:schemeClr val="tx1"/>
                </a:solidFill>
                <a:effectLst/>
                <a:latin typeface="+mn-lt"/>
                <a:ea typeface="+mn-ea"/>
                <a:cs typeface="+mn-cs"/>
              </a:rPr>
              <a:t> и МФЦ, до автоматизации ЖКХ и систем энергосбережения.</a:t>
            </a:r>
          </a:p>
          <a:p>
            <a:endParaRPr lang="en-US" dirty="0"/>
          </a:p>
        </p:txBody>
      </p:sp>
      <p:sp>
        <p:nvSpPr>
          <p:cNvPr id="4" name="Slide Number Placeholder 3"/>
          <p:cNvSpPr>
            <a:spLocks noGrp="1"/>
          </p:cNvSpPr>
          <p:nvPr>
            <p:ph type="sldNum" sz="quarter" idx="10"/>
          </p:nvPr>
        </p:nvSpPr>
        <p:spPr/>
        <p:txBody>
          <a:bodyPr/>
          <a:lstStyle/>
          <a:p>
            <a:fld id="{2966D6CC-078A-41B3-A2B0-235429D92B11}" type="slidenum">
              <a:rPr lang="en-US" smtClean="0">
                <a:solidFill>
                  <a:prstClr val="black"/>
                </a:solidFill>
              </a:rPr>
              <a:pPr/>
              <a:t>5</a:t>
            </a:fld>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Tree>
    <p:extLst>
      <p:ext uri="{BB962C8B-B14F-4D97-AF65-F5344CB8AC3E}">
        <p14:creationId xmlns:p14="http://schemas.microsoft.com/office/powerpoint/2010/main" val="25435948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a:solidFill>
                  <a:srgbClr val="696969"/>
                </a:solidFill>
                <a:latin typeface="Segoe UI"/>
              </a:rPr>
              <a:t>Customer: </a:t>
            </a:r>
            <a:r>
              <a:rPr lang="en-US" sz="800" dirty="0">
                <a:solidFill>
                  <a:srgbClr val="696969"/>
                </a:solidFill>
                <a:latin typeface="Segoe UI"/>
              </a:rPr>
              <a:t>City of Helsinki</a:t>
            </a:r>
            <a:endParaRPr lang="en-US" dirty="0">
              <a:latin typeface="Arial"/>
            </a:endParaRPr>
          </a:p>
          <a:p>
            <a:r>
              <a:rPr lang="en-US" sz="1000" dirty="0">
                <a:solidFill>
                  <a:srgbClr val="696969"/>
                </a:solidFill>
                <a:latin typeface="Segoe UI"/>
              </a:rPr>
              <a:t>Partner: </a:t>
            </a:r>
            <a:r>
              <a:rPr lang="en-US" sz="800" dirty="0">
                <a:solidFill>
                  <a:srgbClr val="696969"/>
                </a:solidFill>
                <a:latin typeface="Segoe UI"/>
              </a:rPr>
              <a:t>CGI</a:t>
            </a:r>
            <a:endParaRPr lang="en-US" dirty="0">
              <a:latin typeface="Arial"/>
            </a:endParaRPr>
          </a:p>
          <a:p>
            <a:r>
              <a:rPr lang="en-US" sz="1000" dirty="0">
                <a:solidFill>
                  <a:srgbClr val="696969"/>
                </a:solidFill>
                <a:latin typeface="Segoe UI"/>
              </a:rPr>
              <a:t>City: </a:t>
            </a:r>
            <a:r>
              <a:rPr lang="en-US" sz="800" dirty="0">
                <a:solidFill>
                  <a:srgbClr val="696969"/>
                </a:solidFill>
                <a:latin typeface="Segoe UI"/>
              </a:rPr>
              <a:t>Helsinki, Finland </a:t>
            </a:r>
          </a:p>
          <a:p>
            <a:endParaRPr lang="en-US" dirty="0"/>
          </a:p>
          <a:p>
            <a:r>
              <a:rPr lang="en-US" b="1" dirty="0"/>
              <a:t>Organization Profile </a:t>
            </a:r>
          </a:p>
          <a:p>
            <a:r>
              <a:rPr lang="en-US" dirty="0"/>
              <a:t>Helsinki is the capital of Finland and also its largest city with more than 600,000 residents. </a:t>
            </a:r>
            <a:r>
              <a:rPr lang="en-US" i="1" dirty="0">
                <a:effectLst/>
              </a:rPr>
              <a:t>The Economist </a:t>
            </a:r>
            <a:r>
              <a:rPr lang="en-US" dirty="0"/>
              <a:t>and </a:t>
            </a:r>
            <a:r>
              <a:rPr lang="en-US" i="1" dirty="0">
                <a:effectLst/>
              </a:rPr>
              <a:t>Monocle </a:t>
            </a:r>
            <a:r>
              <a:rPr lang="en-US" dirty="0"/>
              <a:t>have both named Helsinki as one of the world’s most livable cities.</a:t>
            </a:r>
          </a:p>
          <a:p>
            <a:endParaRPr lang="en-US" sz="800" dirty="0">
              <a:solidFill>
                <a:srgbClr val="696969"/>
              </a:solidFill>
              <a:latin typeface="Segoe UI"/>
            </a:endParaRPr>
          </a:p>
          <a:p>
            <a:r>
              <a:rPr lang="en-US" sz="800" b="1" dirty="0">
                <a:solidFill>
                  <a:srgbClr val="696969"/>
                </a:solidFill>
                <a:latin typeface="Segoe UI"/>
              </a:rPr>
              <a:t>Summary</a:t>
            </a:r>
          </a:p>
          <a:p>
            <a:r>
              <a:rPr lang="en-US" dirty="0"/>
              <a:t>The city of Helsinki, Finland, relies on a strong public transportation system to help residents and visitors get to where they need to go. City-owned bus system </a:t>
            </a:r>
            <a:r>
              <a:rPr lang="en-US" dirty="0" err="1"/>
              <a:t>Helsingin</a:t>
            </a:r>
            <a:r>
              <a:rPr lang="en-US" dirty="0"/>
              <a:t> </a:t>
            </a:r>
            <a:r>
              <a:rPr lang="en-US" dirty="0" err="1"/>
              <a:t>Bussiliikenne</a:t>
            </a:r>
            <a:r>
              <a:rPr lang="en-US" dirty="0"/>
              <a:t> </a:t>
            </a:r>
            <a:r>
              <a:rPr lang="en-US" dirty="0" err="1"/>
              <a:t>Oy</a:t>
            </a:r>
            <a:r>
              <a:rPr lang="en-US" dirty="0"/>
              <a:t> (</a:t>
            </a:r>
            <a:r>
              <a:rPr lang="en-US" dirty="0" err="1"/>
              <a:t>HelB</a:t>
            </a:r>
            <a:r>
              <a:rPr lang="en-US" dirty="0"/>
              <a:t>) competes with private bus operators for city routes, so it needs to find ways to stay competitive. Working with Microsoft and Microsoft partner CGI, </a:t>
            </a:r>
            <a:r>
              <a:rPr lang="en-US" dirty="0" err="1"/>
              <a:t>HelB</a:t>
            </a:r>
            <a:r>
              <a:rPr lang="en-US" dirty="0"/>
              <a:t> expanded the company’s data warehouse solution to collect and analyze data from bus sensors to reduce fuel consumption, improve driver performance, and make bus rides smoother and safer.</a:t>
            </a:r>
          </a:p>
          <a:p>
            <a:endParaRPr lang="en-US" dirty="0">
              <a:latin typeface="Arial"/>
            </a:endParaRPr>
          </a:p>
          <a:p>
            <a:r>
              <a:rPr lang="en-US" sz="1000" dirty="0">
                <a:solidFill>
                  <a:srgbClr val="696969"/>
                </a:solidFill>
                <a:latin typeface="Segoe UI"/>
              </a:rPr>
              <a:t>Technology:</a:t>
            </a:r>
            <a:endParaRPr lang="en-US" dirty="0">
              <a:latin typeface="Arial"/>
            </a:endParaRPr>
          </a:p>
          <a:p>
            <a:pPr fontAlgn="t"/>
            <a:r>
              <a:rPr lang="en-US" sz="800" dirty="0">
                <a:solidFill>
                  <a:srgbClr val="505050"/>
                </a:solidFill>
                <a:latin typeface="Segoe UI"/>
              </a:rPr>
              <a:t>Bing Maps</a:t>
            </a:r>
            <a:endParaRPr lang="en-US" dirty="0">
              <a:latin typeface="Arial"/>
            </a:endParaRPr>
          </a:p>
          <a:p>
            <a:pPr fontAlgn="t"/>
            <a:r>
              <a:rPr lang="en-US" sz="800" dirty="0">
                <a:solidFill>
                  <a:srgbClr val="505050"/>
                </a:solidFill>
                <a:latin typeface="Segoe UI"/>
              </a:rPr>
              <a:t>Microsoft SQL Server 2008</a:t>
            </a:r>
            <a:endParaRPr lang="en-US" dirty="0">
              <a:latin typeface="Arial"/>
            </a:endParaRPr>
          </a:p>
          <a:p>
            <a:pPr fontAlgn="t"/>
            <a:r>
              <a:rPr lang="en-US" sz="800" dirty="0">
                <a:solidFill>
                  <a:srgbClr val="505050"/>
                </a:solidFill>
                <a:latin typeface="Segoe UI"/>
              </a:rPr>
              <a:t>Microsoft Excel 2010</a:t>
            </a:r>
            <a:endParaRPr lang="en-US" dirty="0">
              <a:latin typeface="Arial"/>
            </a:endParaRPr>
          </a:p>
          <a:p>
            <a:pPr fontAlgn="t"/>
            <a:r>
              <a:rPr lang="en-US" sz="800" dirty="0">
                <a:solidFill>
                  <a:srgbClr val="505050"/>
                </a:solidFill>
                <a:latin typeface="Segoe UI"/>
              </a:rPr>
              <a:t>Microsoft SharePoint Server 2010</a:t>
            </a:r>
          </a:p>
          <a:p>
            <a:pPr fontAlgn="t"/>
            <a:endParaRPr lang="en-US" sz="800" dirty="0">
              <a:solidFill>
                <a:srgbClr val="505050"/>
              </a:solidFill>
              <a:latin typeface="Segoe UI"/>
            </a:endParaRPr>
          </a:p>
          <a:p>
            <a:pPr fontAlgn="t"/>
            <a:r>
              <a:rPr lang="en-US" dirty="0">
                <a:latin typeface="Arial"/>
              </a:rPr>
              <a:t>http://www.microsoft.com/casestudies/Case_Study_Detail.aspx?casestudyid=710000004303</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63EDC397-A804-4901-AB2B-3FA7D0070C9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prstClr val="black"/>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24389211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00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Customer: </a:t>
            </a:r>
            <a:r>
              <a:rPr kumimoji="0" lang="en-US" sz="900" b="0" i="0" u="none" strike="noStrike" kern="1200" cap="none" spc="0" normalizeH="0" baseline="0" noProof="0" dirty="0">
                <a:ln>
                  <a:noFill/>
                </a:ln>
                <a:solidFill>
                  <a:prstClr val="black"/>
                </a:solidFill>
                <a:effectLst/>
                <a:uLnTx/>
                <a:uFillTx/>
                <a:latin typeface="Segoe UI" pitchFamily="34" charset="0"/>
                <a:ea typeface="+mn-ea"/>
                <a:cs typeface="+mn-cs"/>
              </a:rPr>
              <a:t>Transport for Greater Manches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Website</a:t>
            </a:r>
            <a:r>
              <a:rPr kumimoji="0" lang="en-US" sz="1200" b="0" i="0" u="none" strike="noStrike" kern="1200" cap="none" spc="0" normalizeH="0" baseline="0" noProof="0" dirty="0">
                <a:ln>
                  <a:noFill/>
                </a:ln>
                <a:solidFill>
                  <a:prstClr val="black"/>
                </a:solidFill>
                <a:effectLst/>
                <a:uLnTx/>
                <a:uFillTx/>
                <a:latin typeface="+mn-lt"/>
                <a:ea typeface="+mn-ea"/>
                <a:cs typeface="+mn-cs"/>
              </a:rPr>
              <a:t>: http://www.tfgm.com/Pages/default.aspx</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Country or Region: </a:t>
            </a:r>
            <a:r>
              <a:rPr kumimoji="0" lang="en-US" sz="900" b="0" i="0" u="none" strike="noStrike" kern="1200" cap="none" spc="0" normalizeH="0" baseline="0" noProof="0" dirty="0">
                <a:ln>
                  <a:noFill/>
                </a:ln>
                <a:solidFill>
                  <a:prstClr val="black"/>
                </a:solidFill>
                <a:effectLst/>
                <a:uLnTx/>
                <a:uFillTx/>
                <a:latin typeface="Segoe UI" pitchFamily="34" charset="0"/>
                <a:ea typeface="+mn-ea"/>
                <a:cs typeface="+mn-cs"/>
              </a:rPr>
              <a:t>UK</a:t>
            </a: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Industry: </a:t>
            </a:r>
            <a:r>
              <a:rPr kumimoji="0" lang="en-US" sz="900" b="0" i="0" u="none" strike="noStrike" kern="1200" cap="none" spc="0" normalizeH="0" baseline="0" noProof="0" dirty="0">
                <a:ln>
                  <a:noFill/>
                </a:ln>
                <a:solidFill>
                  <a:prstClr val="black"/>
                </a:solidFill>
                <a:effectLst/>
                <a:uLnTx/>
                <a:uFillTx/>
                <a:latin typeface="Segoe UI" pitchFamily="34" charset="0"/>
                <a:ea typeface="+mn-ea"/>
                <a:cs typeface="+mn-cs"/>
              </a:rPr>
              <a:t>Government Agenc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Publish Date: </a:t>
            </a:r>
            <a:r>
              <a:rPr kumimoji="0" lang="en-US" sz="900" b="0" i="0" u="none" strike="noStrike" kern="1200" cap="none" spc="0" normalizeH="0" baseline="0" noProof="0" dirty="0">
                <a:ln>
                  <a:noFill/>
                </a:ln>
                <a:solidFill>
                  <a:prstClr val="black"/>
                </a:solidFill>
                <a:effectLst/>
                <a:uLnTx/>
                <a:uFillTx/>
                <a:latin typeface="Segoe UI" pitchFamily="34" charset="0"/>
                <a:ea typeface="+mn-ea"/>
                <a:cs typeface="+mn-cs"/>
              </a:rPr>
              <a:t>7/15/20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Case Study Link: </a:t>
            </a:r>
            <a:r>
              <a:rPr kumimoji="0" lang="en-US" sz="1200" b="0" i="0" u="none" strike="noStrike" kern="1200" cap="none" spc="0" normalizeH="0" baseline="0" noProof="0" dirty="0">
                <a:ln>
                  <a:noFill/>
                </a:ln>
                <a:solidFill>
                  <a:prstClr val="black"/>
                </a:solidFill>
                <a:effectLst/>
                <a:uLnTx/>
                <a:uFillTx/>
                <a:latin typeface="+mn-lt"/>
                <a:ea typeface="+mn-ea"/>
                <a:cs typeface="+mn-cs"/>
              </a:rPr>
              <a:t>http://customers.microsoft.com/Pages/CustomerStory.aspx?recid=18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Produc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crosoft Azu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crosoft Azure SQL Databa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crosoft Visual Studio 20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crosoft Visual Studio Team Foundation Server 201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Microsoft Azure Service Bu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Summary: </a:t>
            </a:r>
            <a:r>
              <a:rPr kumimoji="0" lang="en-US" sz="1200" b="0" i="0" u="none" strike="noStrike" kern="1200" cap="none" spc="0" normalizeH="0" baseline="0" noProof="0" dirty="0">
                <a:ln>
                  <a:noFill/>
                </a:ln>
                <a:solidFill>
                  <a:prstClr val="black"/>
                </a:solidFill>
                <a:effectLst/>
                <a:uLnTx/>
                <a:uFillTx/>
                <a:latin typeface="+mn-lt"/>
                <a:ea typeface="+mn-ea"/>
                <a:cs typeface="+mn-cs"/>
              </a:rPr>
              <a:t>Greater Manchester wanted to improve its transportation services by creating mobile device apps that travelers could use to better plan, manage, and enjoy their journeys. Transport for Greater Manchester decided to make its data publicly available and used Windows Azure to create and host a real-time open data platform. Third-party developers are using this platform to create a wide range of apps that make it easier and more enjoyable to use Greater Manchester’s public transport networ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14363" rtl="0" eaLnBrk="1" fontAlgn="auto" latinLnBrk="0" hangingPunct="1">
              <a:lnSpc>
                <a:spcPct val="90000"/>
              </a:lnSpc>
              <a:spcBef>
                <a:spcPts val="0"/>
              </a:spcBef>
              <a:spcAft>
                <a:spcPts val="333"/>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Business Challenge: </a:t>
            </a:r>
            <a:r>
              <a:rPr kumimoji="0" lang="en-US" sz="1200" b="0" i="0" u="none" strike="noStrike" kern="1200" cap="none" spc="0" normalizeH="0" baseline="0" noProof="0" dirty="0">
                <a:ln>
                  <a:noFill/>
                </a:ln>
                <a:solidFill>
                  <a:prstClr val="black"/>
                </a:solidFill>
                <a:effectLst/>
                <a:uLnTx/>
                <a:uFillTx/>
                <a:latin typeface="+mn-lt"/>
                <a:ea typeface="+mn-ea"/>
                <a:cs typeface="+mn-cs"/>
              </a:rPr>
              <a:t>Greater Manchester wanted to develop the same kinds of cool apps—but realized its budget would go further by making quality transportation data available to third-party developers, rather than trying to develop applications itself..</a:t>
            </a:r>
          </a:p>
          <a:p>
            <a:pPr marL="0" marR="0" lvl="0" indent="0" algn="l" defTabSz="914363" rtl="0" eaLnBrk="1" fontAlgn="auto" latinLnBrk="0" hangingPunct="1">
              <a:lnSpc>
                <a:spcPct val="90000"/>
              </a:lnSpc>
              <a:spcBef>
                <a:spcPts val="0"/>
              </a:spcBef>
              <a:spcAft>
                <a:spcPts val="333"/>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Solution: </a:t>
            </a:r>
            <a:r>
              <a:rPr kumimoji="0" lang="en-US" sz="1200" b="0" i="0" u="none" strike="noStrike" kern="1200" cap="none" spc="0" normalizeH="0" baseline="0" noProof="0" dirty="0">
                <a:ln>
                  <a:noFill/>
                </a:ln>
                <a:solidFill>
                  <a:prstClr val="black"/>
                </a:solidFill>
                <a:effectLst/>
                <a:uLnTx/>
                <a:uFillTx/>
                <a:latin typeface="+mn-lt"/>
                <a:ea typeface="+mn-ea"/>
                <a:cs typeface="+mn-cs"/>
              </a:rPr>
              <a:t>Transport for Greater Manchester (TfGM), the body responsible for overseeing Greater Manchester’s transport network, worked with Microsoft partner Black Marble to come up with an ingenious and cost-effective way to make city transport data publicly available. It used Windows Azure, the Microsoft cloud services development, hosting, and management environment, to provide a scalable place to store all of the city region’s transport data. Windows Azure also provided a highly secure, interoperable way for developers to access this data. Black Marble used the Microsoft Visual Studio 2012 development system to create a single data model across all TfGM data sources.</a:t>
            </a: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endParaRPr kumimoji="0" lang="en-US" sz="1200" b="1" i="0" u="none" strike="noStrike" kern="1200" cap="none" spc="0" normalizeH="0" baseline="0" noProof="0" dirty="0">
              <a:ln>
                <a:noFill/>
              </a:ln>
              <a:solidFill>
                <a:prstClr val="black"/>
              </a:solidFill>
              <a:effectLst/>
              <a:uLnTx/>
              <a:uFillTx/>
              <a:latin typeface="+mn-lt"/>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mn-lt"/>
                <a:ea typeface="+mn-ea"/>
                <a:cs typeface="+mn-cs"/>
              </a:rPr>
              <a:t>Benefits: </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hare Transport Data Freely to Encourage Cool Apps</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Scalable Data Delivery Solution</a:t>
            </a:r>
          </a:p>
          <a:p>
            <a:pPr marL="171450" marR="0" lvl="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n-lt"/>
                <a:ea typeface="+mn-ea"/>
                <a:cs typeface="+mn-cs"/>
              </a:rPr>
              <a:t>Deliver better citizen services at lowest possible cost</a:t>
            </a:r>
          </a:p>
          <a:p>
            <a:pPr rtl="0" eaLnBrk="1" fontAlgn="ctr" latinLnBrk="0" hangingPunct="1"/>
            <a:endParaRPr lang="en-US" sz="700" b="1" i="0" u="none" strike="noStrike" kern="1200" dirty="0">
              <a:solidFill>
                <a:schemeClr val="tx1"/>
              </a:solidFill>
              <a:effectLst/>
              <a:latin typeface="Arial" pitchFamily="34" charset="0"/>
              <a:ea typeface="+mn-ea"/>
              <a:cs typeface="Arial" pitchFamily="34" charset="0"/>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B263312-38AA-4E1E-B2B5-0F8F122B24FE}"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354017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u-RU" sz="1200" kern="1200" dirty="0">
                <a:solidFill>
                  <a:schemeClr val="tx1"/>
                </a:solidFill>
                <a:effectLst/>
                <a:latin typeface="+mn-lt"/>
                <a:ea typeface="+mn-ea"/>
                <a:cs typeface="+mn-cs"/>
              </a:rPr>
              <a:t>На этом слайде приведено высокоуровневое представление платформы </a:t>
            </a:r>
            <a:r>
              <a:rPr lang="en-US" sz="1200" kern="1200" dirty="0">
                <a:solidFill>
                  <a:schemeClr val="tx1"/>
                </a:solidFill>
                <a:effectLst/>
                <a:latin typeface="+mn-lt"/>
                <a:ea typeface="+mn-ea"/>
                <a:cs typeface="+mn-cs"/>
              </a:rPr>
              <a:t>Microsoft </a:t>
            </a:r>
            <a:r>
              <a:rPr lang="ru-RU" sz="1200" kern="1200" dirty="0">
                <a:solidFill>
                  <a:schemeClr val="tx1"/>
                </a:solidFill>
                <a:effectLst/>
                <a:latin typeface="+mn-lt"/>
                <a:ea typeface="+mn-ea"/>
                <a:cs typeface="+mn-cs"/>
              </a:rPr>
              <a:t>для создания решений в среде публичных, гибридных и частных облаков. Чуть позже скажем о том, как большинство из этих технологий могут использоваться в Ваших частных облаках, т.е. предоставляться как сервисы из Ваших </a:t>
            </a:r>
            <a:r>
              <a:rPr lang="ru-RU" sz="1200" kern="1200" dirty="0" err="1">
                <a:solidFill>
                  <a:schemeClr val="tx1"/>
                </a:solidFill>
                <a:effectLst/>
                <a:latin typeface="+mn-lt"/>
                <a:ea typeface="+mn-ea"/>
                <a:cs typeface="+mn-cs"/>
              </a:rPr>
              <a:t>ЦОДов</a:t>
            </a:r>
            <a:r>
              <a:rPr lang="ru-RU" sz="1200" kern="1200" dirty="0">
                <a:solidFill>
                  <a:schemeClr val="tx1"/>
                </a:solidFill>
                <a:effectLst/>
                <a:latin typeface="+mn-lt"/>
                <a:ea typeface="+mn-ea"/>
                <a:cs typeface="+mn-cs"/>
              </a:rPr>
              <a:t>, расположенных на территории города, региона.   </a:t>
            </a:r>
          </a:p>
          <a:p>
            <a:r>
              <a:rPr lang="ru-RU" sz="1200" kern="1200" dirty="0">
                <a:solidFill>
                  <a:schemeClr val="tx1"/>
                </a:solidFill>
                <a:effectLst/>
                <a:latin typeface="+mn-lt"/>
                <a:ea typeface="+mn-ea"/>
                <a:cs typeface="+mn-cs"/>
              </a:rPr>
              <a:t>Мы оставим в стороне традиционные хорошо знакомые по использованию исключительно в режиме </a:t>
            </a:r>
            <a:r>
              <a:rPr lang="en-US" sz="1200" kern="1200" dirty="0">
                <a:solidFill>
                  <a:schemeClr val="tx1"/>
                </a:solidFill>
                <a:effectLst/>
                <a:latin typeface="+mn-lt"/>
                <a:ea typeface="+mn-ea"/>
                <a:cs typeface="+mn-cs"/>
              </a:rPr>
              <a:t>on</a:t>
            </a:r>
            <a:r>
              <a:rPr lang="ru-RU" sz="1200" kern="1200" dirty="0">
                <a:solidFill>
                  <a:schemeClr val="tx1"/>
                </a:solidFill>
                <a:effectLst/>
                <a:latin typeface="+mn-lt"/>
                <a:ea typeface="+mn-ea"/>
                <a:cs typeface="+mn-cs"/>
              </a:rPr>
              <a:t>-</a:t>
            </a:r>
            <a:r>
              <a:rPr lang="en-US" sz="1200" kern="1200" dirty="0" err="1">
                <a:solidFill>
                  <a:schemeClr val="tx1"/>
                </a:solidFill>
                <a:effectLst/>
                <a:latin typeface="+mn-lt"/>
                <a:ea typeface="+mn-ea"/>
                <a:cs typeface="+mn-cs"/>
              </a:rPr>
              <a:t>premis</a:t>
            </a:r>
            <a:r>
              <a:rPr lang="en-US" sz="1200" kern="1200" dirty="0">
                <a:solidFill>
                  <a:schemeClr val="tx1"/>
                </a:solidFill>
                <a:effectLst/>
                <a:latin typeface="+mn-lt"/>
                <a:ea typeface="+mn-ea"/>
                <a:cs typeface="+mn-cs"/>
              </a:rPr>
              <a:t> </a:t>
            </a:r>
            <a:r>
              <a:rPr lang="ru-RU" sz="1200" kern="1200" dirty="0">
                <a:solidFill>
                  <a:schemeClr val="tx1"/>
                </a:solidFill>
                <a:effectLst/>
                <a:latin typeface="+mn-lt"/>
                <a:ea typeface="+mn-ea"/>
                <a:cs typeface="+mn-cs"/>
              </a:rPr>
              <a:t>(«исключительно на территории заказчика») продукты.</a:t>
            </a:r>
          </a:p>
          <a:p>
            <a:r>
              <a:rPr lang="ru-RU" sz="1200" kern="1200" dirty="0">
                <a:solidFill>
                  <a:schemeClr val="tx1"/>
                </a:solidFill>
                <a:effectLst/>
                <a:latin typeface="+mn-lt"/>
                <a:ea typeface="+mn-ea"/>
                <a:cs typeface="+mn-cs"/>
              </a:rPr>
              <a:t>Хотелось бы обратить Ваше внимание на то, насколько это динамичная, быстро развивающаяся область технологий. Я полагаю, что несмотря на то, что многие из Вас, в силу профессии, наверняка хорошо знают стек продуктов </a:t>
            </a:r>
            <a:r>
              <a:rPr lang="en-US" sz="1200" kern="1200" dirty="0">
                <a:solidFill>
                  <a:schemeClr val="tx1"/>
                </a:solidFill>
                <a:effectLst/>
                <a:latin typeface="+mn-lt"/>
                <a:ea typeface="+mn-ea"/>
                <a:cs typeface="+mn-cs"/>
              </a:rPr>
              <a:t>Microsoft </a:t>
            </a:r>
            <a:r>
              <a:rPr lang="ru-RU" sz="1200" kern="1200" dirty="0">
                <a:solidFill>
                  <a:schemeClr val="tx1"/>
                </a:solidFill>
                <a:effectLst/>
                <a:latin typeface="+mn-lt"/>
                <a:ea typeface="+mn-ea"/>
                <a:cs typeface="+mn-cs"/>
              </a:rPr>
              <a:t>~80% приведенных здесь названий продуктов и технологий незнакомы большинству аудитории.</a:t>
            </a:r>
          </a:p>
          <a:p>
            <a:endParaRPr lang="ru-R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4FBF70-DFCE-497A-9E15-457CA18B175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828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Инициатива партнерских облаков в России </a:t>
            </a:r>
            <a:r>
              <a:rPr lang="ru-RU" sz="1200" kern="1200" dirty="0" err="1">
                <a:solidFill>
                  <a:schemeClr val="tx1"/>
                </a:solidFill>
                <a:effectLst/>
                <a:latin typeface="+mn-lt"/>
                <a:ea typeface="+mn-ea"/>
                <a:cs typeface="+mn-cs"/>
              </a:rPr>
              <a:t>Cloud</a:t>
            </a:r>
            <a:r>
              <a:rPr lang="ru-RU" sz="1200" kern="1200" dirty="0">
                <a:solidFill>
                  <a:schemeClr val="tx1"/>
                </a:solidFill>
                <a:effectLst/>
                <a:latin typeface="+mn-lt"/>
                <a:ea typeface="+mn-ea"/>
                <a:cs typeface="+mn-cs"/>
              </a:rPr>
              <a:t> OS </a:t>
            </a:r>
            <a:r>
              <a:rPr lang="ru-RU" sz="1200" kern="1200" dirty="0" err="1">
                <a:solidFill>
                  <a:schemeClr val="tx1"/>
                </a:solidFill>
                <a:effectLst/>
                <a:latin typeface="+mn-lt"/>
                <a:ea typeface="+mn-ea"/>
                <a:cs typeface="+mn-cs"/>
              </a:rPr>
              <a:t>Network</a:t>
            </a:r>
            <a:r>
              <a:rPr lang="ru-RU" sz="1200" kern="1200" dirty="0">
                <a:solidFill>
                  <a:schemeClr val="tx1"/>
                </a:solidFill>
                <a:effectLst/>
                <a:latin typeface="+mn-lt"/>
                <a:ea typeface="+mn-ea"/>
                <a:cs typeface="+mn-cs"/>
              </a:rPr>
              <a:t> Russia (наше внутренне название </a:t>
            </a:r>
            <a:r>
              <a:rPr lang="en-US" sz="1200" kern="1200" dirty="0">
                <a:solidFill>
                  <a:schemeClr val="tx1"/>
                </a:solidFill>
                <a:effectLst/>
                <a:latin typeface="+mn-lt"/>
                <a:ea typeface="+mn-ea"/>
                <a:cs typeface="+mn-cs"/>
              </a:rPr>
              <a:t>H</a:t>
            </a:r>
            <a:r>
              <a:rPr lang="ru-RU" sz="1200" kern="1200" dirty="0">
                <a:solidFill>
                  <a:schemeClr val="tx1"/>
                </a:solidFill>
                <a:effectLst/>
                <a:latin typeface="+mn-lt"/>
                <a:ea typeface="+mn-ea"/>
                <a:cs typeface="+mn-cs"/>
              </a:rPr>
              <a:t>-</a:t>
            </a:r>
            <a:r>
              <a:rPr lang="en-US" sz="1200" kern="1200" dirty="0">
                <a:solidFill>
                  <a:schemeClr val="tx1"/>
                </a:solidFill>
                <a:effectLst/>
                <a:latin typeface="+mn-lt"/>
                <a:ea typeface="+mn-ea"/>
                <a:cs typeface="+mn-cs"/>
              </a:rPr>
              <a:t>Cloud</a:t>
            </a:r>
            <a:r>
              <a:rPr lang="ru-RU" sz="1200" kern="1200" dirty="0">
                <a:solidFill>
                  <a:schemeClr val="tx1"/>
                </a:solidFill>
                <a:effectLst/>
                <a:latin typeface="+mn-lt"/>
                <a:ea typeface="+mn-ea"/>
                <a:cs typeface="+mn-cs"/>
              </a:rPr>
              <a:t> от </a:t>
            </a:r>
            <a:r>
              <a:rPr lang="en-US" sz="1200" kern="1200" dirty="0">
                <a:solidFill>
                  <a:schemeClr val="tx1"/>
                </a:solidFill>
                <a:effectLst/>
                <a:latin typeface="+mn-lt"/>
                <a:ea typeface="+mn-ea"/>
                <a:cs typeface="+mn-cs"/>
              </a:rPr>
              <a:t>Hosted Cloud</a:t>
            </a:r>
            <a:r>
              <a:rPr lang="ru-RU" sz="1200" kern="1200" dirty="0">
                <a:solidFill>
                  <a:schemeClr val="tx1"/>
                </a:solidFill>
                <a:effectLst/>
                <a:latin typeface="+mn-lt"/>
                <a:ea typeface="+mn-ea"/>
                <a:cs typeface="+mn-cs"/>
              </a:rPr>
              <a:t>) – это облачные сервисы, развернутые на платформе </a:t>
            </a:r>
            <a:r>
              <a:rPr lang="en-US" sz="1200" kern="1200" dirty="0">
                <a:solidFill>
                  <a:schemeClr val="tx1"/>
                </a:solidFill>
                <a:effectLst/>
                <a:latin typeface="+mn-lt"/>
                <a:ea typeface="+mn-ea"/>
                <a:cs typeface="+mn-cs"/>
              </a:rPr>
              <a:t>Microsoft</a:t>
            </a:r>
            <a:r>
              <a:rPr lang="ru-RU" sz="1200" kern="1200" dirty="0">
                <a:solidFill>
                  <a:schemeClr val="tx1"/>
                </a:solidFill>
                <a:effectLst/>
                <a:latin typeface="+mn-lt"/>
                <a:ea typeface="+mn-ea"/>
                <a:cs typeface="+mn-cs"/>
              </a:rPr>
              <a:t> в соответствии с эталонной (</a:t>
            </a:r>
            <a:r>
              <a:rPr lang="ru-RU" sz="1200" kern="1200" dirty="0" err="1">
                <a:solidFill>
                  <a:schemeClr val="tx1"/>
                </a:solidFill>
                <a:effectLst/>
                <a:latin typeface="+mn-lt"/>
                <a:ea typeface="+mn-ea"/>
                <a:cs typeface="+mn-cs"/>
              </a:rPr>
              <a:t>референсной</a:t>
            </a:r>
            <a:r>
              <a:rPr lang="ru-RU" sz="1200" kern="1200" dirty="0">
                <a:solidFill>
                  <a:schemeClr val="tx1"/>
                </a:solidFill>
                <a:effectLst/>
                <a:latin typeface="+mn-lt"/>
                <a:ea typeface="+mn-ea"/>
                <a:cs typeface="+mn-cs"/>
              </a:rPr>
              <a:t>) архитектурой </a:t>
            </a:r>
            <a:r>
              <a:rPr lang="en-US" sz="1200" kern="1200" dirty="0">
                <a:solidFill>
                  <a:schemeClr val="tx1"/>
                </a:solidFill>
                <a:effectLst/>
                <a:latin typeface="+mn-lt"/>
                <a:ea typeface="+mn-ea"/>
                <a:cs typeface="+mn-cs"/>
              </a:rPr>
              <a:t>Microsoft</a:t>
            </a:r>
            <a:r>
              <a:rPr lang="ru-RU" sz="1200" kern="1200" dirty="0">
                <a:solidFill>
                  <a:schemeClr val="tx1"/>
                </a:solidFill>
                <a:effectLst/>
                <a:latin typeface="+mn-lt"/>
                <a:ea typeface="+mn-ea"/>
                <a:cs typeface="+mn-cs"/>
              </a:rPr>
              <a:t>, предоставляемые российскими сервис-провайдерами из ЦОД, расположенных на территории Российской Федерации.</a:t>
            </a:r>
          </a:p>
          <a:p>
            <a:r>
              <a:rPr lang="en-US" sz="1200" kern="1200" dirty="0">
                <a:solidFill>
                  <a:schemeClr val="tx1"/>
                </a:solidFill>
                <a:effectLst/>
                <a:latin typeface="+mn-lt"/>
                <a:ea typeface="+mn-ea"/>
                <a:cs typeface="+mn-cs"/>
              </a:rPr>
              <a:t>Cloud OS Network Russia – </a:t>
            </a:r>
            <a:r>
              <a:rPr lang="ru-RU" sz="1200" kern="1200" dirty="0">
                <a:solidFill>
                  <a:schemeClr val="tx1"/>
                </a:solidFill>
                <a:effectLst/>
                <a:latin typeface="+mn-lt"/>
                <a:ea typeface="+mn-ea"/>
                <a:cs typeface="+mn-cs"/>
              </a:rPr>
              <a:t>это</a:t>
            </a:r>
            <a:r>
              <a:rPr lang="en-US" sz="1200" kern="1200" dirty="0">
                <a:solidFill>
                  <a:schemeClr val="tx1"/>
                </a:solidFill>
                <a:effectLst/>
                <a:latin typeface="+mn-lt"/>
                <a:ea typeface="+mn-ea"/>
                <a:cs typeface="+mn-cs"/>
              </a:rPr>
              <a:t>:</a:t>
            </a:r>
            <a:endParaRPr lang="ru-RU" sz="1200" kern="1200" dirty="0">
              <a:solidFill>
                <a:schemeClr val="tx1"/>
              </a:solidFill>
              <a:effectLst/>
              <a:latin typeface="+mn-lt"/>
              <a:ea typeface="+mn-ea"/>
              <a:cs typeface="+mn-cs"/>
            </a:endParaRPr>
          </a:p>
          <a:p>
            <a:pPr lvl="0"/>
            <a:r>
              <a:rPr lang="ru-RU" sz="1200" kern="1200" dirty="0">
                <a:solidFill>
                  <a:schemeClr val="tx1"/>
                </a:solidFill>
                <a:effectLst/>
                <a:latin typeface="+mn-lt"/>
                <a:ea typeface="+mn-ea"/>
                <a:cs typeface="+mn-cs"/>
              </a:rPr>
              <a:t>Российский сервис, оказываемый российскими юридическим лицом из ЦОД, находящегося на территории РФ</a:t>
            </a:r>
          </a:p>
          <a:p>
            <a:pPr lvl="0"/>
            <a:r>
              <a:rPr lang="ru-RU" dirty="0">
                <a:effectLst/>
              </a:rPr>
              <a:t>Облачный сервис, развернутый в полном соответствии с </a:t>
            </a:r>
            <a:r>
              <a:rPr lang="ru-RU" dirty="0" err="1">
                <a:effectLst/>
              </a:rPr>
              <a:t>референсной</a:t>
            </a:r>
            <a:r>
              <a:rPr lang="ru-RU" dirty="0">
                <a:effectLst/>
              </a:rPr>
              <a:t> архитектурой и рекомендациями Microsoft как лидера ИТ-индустрии и проверенный командой Microsoft на соответствие требованиям рекомендаций</a:t>
            </a:r>
          </a:p>
          <a:p>
            <a:pPr lvl="0"/>
            <a:r>
              <a:rPr lang="ru-RU" dirty="0">
                <a:effectLst/>
              </a:rPr>
              <a:t>Преимущества используемых продуктов Microsoft, широко распространенных в российских организациях (</a:t>
            </a:r>
            <a:r>
              <a:rPr lang="ru-RU" dirty="0" err="1">
                <a:effectLst/>
              </a:rPr>
              <a:t>Windows</a:t>
            </a:r>
            <a:r>
              <a:rPr lang="ru-RU" dirty="0">
                <a:effectLst/>
              </a:rPr>
              <a:t> </a:t>
            </a:r>
            <a:r>
              <a:rPr lang="ru-RU" dirty="0" err="1">
                <a:effectLst/>
              </a:rPr>
              <a:t>Server</a:t>
            </a:r>
            <a:r>
              <a:rPr lang="ru-RU" dirty="0">
                <a:effectLst/>
              </a:rPr>
              <a:t>, SQL, </a:t>
            </a:r>
            <a:r>
              <a:rPr lang="ru-RU" dirty="0" err="1">
                <a:effectLst/>
              </a:rPr>
              <a:t>Exchange</a:t>
            </a:r>
            <a:r>
              <a:rPr lang="ru-RU" dirty="0">
                <a:effectLst/>
              </a:rPr>
              <a:t>, </a:t>
            </a:r>
            <a:r>
              <a:rPr lang="ru-RU" dirty="0" err="1">
                <a:effectLst/>
              </a:rPr>
              <a:t>Lync</a:t>
            </a:r>
            <a:r>
              <a:rPr lang="ru-RU" dirty="0">
                <a:effectLst/>
              </a:rPr>
              <a:t>, </a:t>
            </a:r>
            <a:r>
              <a:rPr lang="ru-RU" dirty="0" err="1">
                <a:effectLst/>
              </a:rPr>
              <a:t>SharePoint</a:t>
            </a:r>
            <a:r>
              <a:rPr lang="ru-RU" dirty="0">
                <a:effectLst/>
              </a:rPr>
              <a:t>, </a:t>
            </a:r>
            <a:r>
              <a:rPr lang="ru-RU" dirty="0" err="1">
                <a:effectLst/>
              </a:rPr>
              <a:t>Dynamics</a:t>
            </a:r>
            <a:r>
              <a:rPr lang="ru-RU" dirty="0">
                <a:effectLst/>
              </a:rPr>
              <a:t>)</a:t>
            </a:r>
          </a:p>
          <a:p>
            <a:pPr lvl="0"/>
            <a:r>
              <a:rPr lang="ru-RU" dirty="0">
                <a:effectLst/>
              </a:rPr>
              <a:t>Дополнительные сервисы, оказываемые облачными сервис-провайдерами: премиальная поддержка/SLA, миграция, интеграция, развертывание, администрирование, дополнительные сервисы по запросу.</a:t>
            </a:r>
          </a:p>
          <a:p>
            <a:r>
              <a:rPr lang="ru-RU" sz="1200" kern="1200" dirty="0">
                <a:solidFill>
                  <a:schemeClr val="tx1"/>
                </a:solidFill>
                <a:effectLst/>
                <a:latin typeface="+mn-lt"/>
                <a:ea typeface="+mn-ea"/>
                <a:cs typeface="+mn-cs"/>
              </a:rPr>
              <a:t>Участниками этой инициативы являются такие российские компании, как Ростелеком, «Электронная Москва», «</a:t>
            </a:r>
            <a:r>
              <a:rPr lang="ru-RU" sz="1200" kern="1200" dirty="0" err="1">
                <a:solidFill>
                  <a:schemeClr val="tx1"/>
                </a:solidFill>
                <a:effectLst/>
                <a:latin typeface="+mn-lt"/>
                <a:ea typeface="+mn-ea"/>
                <a:cs typeface="+mn-cs"/>
              </a:rPr>
              <a:t>Крок</a:t>
            </a:r>
            <a:r>
              <a:rPr lang="ru-R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Softline</a:t>
            </a:r>
            <a:r>
              <a:rPr lang="ru-RU"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DataLine</a:t>
            </a:r>
            <a:r>
              <a:rPr lang="ru-RU" sz="1200"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Active Cloud</a:t>
            </a:r>
            <a:r>
              <a:rPr lang="ru-RU"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Infobox</a:t>
            </a:r>
            <a:r>
              <a:rPr lang="ru-RU" sz="1200" kern="1200" dirty="0">
                <a:solidFill>
                  <a:schemeClr val="tx1"/>
                </a:solidFill>
                <a:effectLst/>
                <a:latin typeface="+mn-lt"/>
                <a:ea typeface="+mn-ea"/>
                <a:cs typeface="+mn-cs"/>
              </a:rPr>
              <a:t>, </a:t>
            </a:r>
            <a:r>
              <a:rPr lang="ru-RU" sz="1200" kern="1200" dirty="0" err="1">
                <a:solidFill>
                  <a:schemeClr val="tx1"/>
                </a:solidFill>
                <a:effectLst/>
                <a:latin typeface="+mn-lt"/>
                <a:ea typeface="+mn-ea"/>
                <a:cs typeface="+mn-cs"/>
              </a:rPr>
              <a:t>Облакотека</a:t>
            </a:r>
            <a:r>
              <a:rPr lang="ru-RU" sz="1200" kern="1200" dirty="0">
                <a:solidFill>
                  <a:schemeClr val="tx1"/>
                </a:solidFill>
                <a:effectLst/>
                <a:latin typeface="+mn-lt"/>
                <a:ea typeface="+mn-ea"/>
                <a:cs typeface="+mn-cs"/>
              </a:rPr>
              <a:t>, некоторые из которых являются активными поставщиками облачных сервисов для государственных организаций.</a:t>
            </a:r>
          </a:p>
          <a:p>
            <a:r>
              <a:rPr lang="ru-RU" sz="1200" kern="1200" dirty="0">
                <a:solidFill>
                  <a:schemeClr val="tx1"/>
                </a:solidFill>
                <a:effectLst/>
                <a:latin typeface="+mn-lt"/>
                <a:ea typeface="+mn-ea"/>
                <a:cs typeface="+mn-cs"/>
              </a:rPr>
              <a:t>Это часть нашей глобальной инициативы по предоставлению заказчикам различных вариантов использования облачных сервисов, включая услуги хостинг-провайдеров.</a:t>
            </a:r>
          </a:p>
          <a:p>
            <a:r>
              <a:rPr lang="ru-RU" sz="1200" kern="1200" dirty="0">
                <a:solidFill>
                  <a:schemeClr val="tx1"/>
                </a:solidFill>
                <a:effectLst/>
                <a:latin typeface="+mn-lt"/>
                <a:ea typeface="+mn-ea"/>
                <a:cs typeface="+mn-cs"/>
              </a:rPr>
              <a:t>Использование облачных сервисов из дата-центров партнеров, расположенных на территории РФ, имеет преимущества при следующих сценариях использования:</a:t>
            </a:r>
          </a:p>
          <a:p>
            <a:pPr lvl="0"/>
            <a:r>
              <a:rPr lang="ru-RU" dirty="0">
                <a:effectLst/>
              </a:rPr>
              <a:t>Если заказчик использует облачные сервисы для обработки и хранения персональных данных </a:t>
            </a:r>
          </a:p>
          <a:p>
            <a:pPr lvl="0"/>
            <a:r>
              <a:rPr lang="ru-RU" dirty="0">
                <a:effectLst/>
              </a:rPr>
              <a:t>Если заказчику необходимы </a:t>
            </a:r>
            <a:r>
              <a:rPr lang="ru-RU" dirty="0" err="1">
                <a:effectLst/>
              </a:rPr>
              <a:t>кастомизированные</a:t>
            </a:r>
            <a:r>
              <a:rPr lang="ru-RU" dirty="0">
                <a:effectLst/>
              </a:rPr>
              <a:t> сервисы, разработанные с учетом специфики российских рыночных реалий   </a:t>
            </a:r>
          </a:p>
          <a:p>
            <a:pPr lvl="0"/>
            <a:r>
              <a:rPr lang="ru-RU" dirty="0">
                <a:effectLst/>
              </a:rPr>
              <a:t>Если заказчик хочет также арендовать выделенную часть машинного зала ЦОД со специальными процедурами доступа/защитой (если это необходимо конкретному бизнесу)</a:t>
            </a:r>
          </a:p>
          <a:p>
            <a:pPr lvl="0"/>
            <a:r>
              <a:rPr lang="ru-RU" dirty="0">
                <a:effectLst/>
              </a:rPr>
              <a:t>Если важна оптимизации капитальных затрат на ИТ и повышение операционной эффективности организаций в условиях оптимизации бюджетов</a:t>
            </a:r>
          </a:p>
          <a:p>
            <a:pPr lvl="0"/>
            <a:r>
              <a:rPr lang="ru-RU" dirty="0">
                <a:effectLst/>
              </a:rPr>
              <a:t>Использование сертифицированного в РФ стека продуктов в рамках партнерских облаков: партнерские облачные сервисы предоставляются на основе стека продуктов, которые прошли локальную сертификацию </a:t>
            </a:r>
            <a:r>
              <a:rPr lang="en-US" dirty="0">
                <a:effectLst/>
              </a:rPr>
              <a:t>(Windows Server 2012 R2, System Center 2012, Dynamics CRM, SharePoint 2013, Exchange 2013, Office 2013 </a:t>
            </a:r>
            <a:r>
              <a:rPr lang="ru-RU" dirty="0">
                <a:effectLst/>
              </a:rPr>
              <a:t>и </a:t>
            </a:r>
            <a:r>
              <a:rPr lang="ru-RU" dirty="0" err="1">
                <a:effectLst/>
              </a:rPr>
              <a:t>др</a:t>
            </a:r>
            <a:r>
              <a:rPr lang="en-US" dirty="0">
                <a:effectLst/>
              </a:rPr>
              <a:t>.)</a:t>
            </a:r>
            <a:endParaRPr lang="ru-RU" dirty="0">
              <a:effectLst/>
            </a:endParaRPr>
          </a:p>
          <a:p>
            <a:r>
              <a:rPr lang="ru-RU" sz="1200" kern="1200" dirty="0">
                <a:solidFill>
                  <a:schemeClr val="tx1"/>
                </a:solidFill>
                <a:effectLst/>
                <a:latin typeface="+mn-lt"/>
                <a:ea typeface="+mn-ea"/>
                <a:cs typeface="+mn-cs"/>
              </a:rPr>
              <a:t>При этом у наших российских партнеров в области предоставления облачных сервисов имеется возможность использовать для этого сертифицированный стек продуктов.</a:t>
            </a:r>
            <a:endParaRPr lang="ru-RU" dirty="0"/>
          </a:p>
        </p:txBody>
      </p:sp>
      <p:sp>
        <p:nvSpPr>
          <p:cNvPr id="4" name="Номер слайда 3"/>
          <p:cNvSpPr>
            <a:spLocks noGrp="1"/>
          </p:cNvSpPr>
          <p:nvPr>
            <p:ph type="sldNum" sz="quarter" idx="10"/>
          </p:nvPr>
        </p:nvSpPr>
        <p:spPr/>
        <p:txBody>
          <a:bodyPr/>
          <a:lstStyle/>
          <a:p>
            <a:fld id="{344FBF70-DFCE-497A-9E15-457CA18B175F}" type="slidenum">
              <a:rPr lang="en-US" smtClean="0"/>
              <a:t>14</a:t>
            </a:fld>
            <a:endParaRPr lang="en-US"/>
          </a:p>
        </p:txBody>
      </p:sp>
    </p:spTree>
    <p:extLst>
      <p:ext uri="{BB962C8B-B14F-4D97-AF65-F5344CB8AC3E}">
        <p14:creationId xmlns:p14="http://schemas.microsoft.com/office/powerpoint/2010/main" val="222763054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9.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9.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9.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10.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0.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2.xml"/><Relationship Id="rId5" Type="http://schemas.openxmlformats.org/officeDocument/2006/relationships/image" Target="../media/image16.png"/><Relationship Id="rId4" Type="http://schemas.openxmlformats.org/officeDocument/2006/relationships/image" Target="../media/image15.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0.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7_Title with illustration">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 y="0"/>
            <a:ext cx="12192000" cy="6858000"/>
          </a:xfrm>
          <a:prstGeom prst="rect">
            <a:avLst/>
          </a:prstGeom>
          <a:noFill/>
          <a:ln>
            <a:noFill/>
          </a:ln>
        </p:spPr>
      </p:pic>
      <p:sp>
        <p:nvSpPr>
          <p:cNvPr id="5" name="Text Placeholder 4"/>
          <p:cNvSpPr>
            <a:spLocks noGrp="1"/>
          </p:cNvSpPr>
          <p:nvPr>
            <p:ph type="body" sz="quarter" idx="11"/>
          </p:nvPr>
        </p:nvSpPr>
        <p:spPr>
          <a:xfrm>
            <a:off x="0" y="1562101"/>
            <a:ext cx="5681132" cy="1663724"/>
          </a:xfrm>
        </p:spPr>
        <p:txBody>
          <a:bodyPr lIns="137160" tIns="0" rIns="137160" bIns="137160">
            <a:noAutofit/>
          </a:bodyPr>
          <a:lstStyle>
            <a:lvl1pPr>
              <a:defRPr sz="2400" spc="-80" baseline="0">
                <a:solidFill>
                  <a:schemeClr val="tx1"/>
                </a:solidFill>
              </a:defRPr>
            </a:lvl1pPr>
          </a:lstStyle>
          <a:p>
            <a:pPr lvl="0"/>
            <a:r>
              <a:rPr lang="en-US" dirty="0"/>
              <a:t>Click to edit Master text styles</a:t>
            </a:r>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10246659" y="5990747"/>
            <a:ext cx="1737792" cy="639069"/>
          </a:xfrm>
          <a:prstGeom prst="rect">
            <a:avLst/>
          </a:prstGeom>
        </p:spPr>
      </p:pic>
    </p:spTree>
    <p:extLst>
      <p:ext uri="{BB962C8B-B14F-4D97-AF65-F5344CB8AC3E}">
        <p14:creationId xmlns:p14="http://schemas.microsoft.com/office/powerpoint/2010/main" val="2389766086"/>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hree column_2">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37160" tIns="91440" rIns="137160" bIns="137160" rtlCol="0" anchor="t">
            <a:normAutofit/>
          </a:bodyPr>
          <a:lstStyle>
            <a:lvl1pPr>
              <a:defRPr lang="en-US" dirty="0"/>
            </a:lvl1pPr>
          </a:lstStyle>
          <a:p>
            <a:pPr lvl="0"/>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a:p>
        </p:txBody>
      </p:sp>
      <p:sp>
        <p:nvSpPr>
          <p:cNvPr id="7" name="Slide Number Placeholder 6"/>
          <p:cNvSpPr>
            <a:spLocks noGrp="1"/>
          </p:cNvSpPr>
          <p:nvPr>
            <p:ph type="sldNum" sz="quarter" idx="12"/>
          </p:nvPr>
        </p:nvSpPr>
        <p:spPr/>
        <p:txBody>
          <a:bodyPr/>
          <a:lstStyle/>
          <a:p>
            <a:fld id="{07AD9173-C745-46BA-9042-CD7714A275BD}" type="slidenum">
              <a:rPr lang="en-US" smtClean="0"/>
              <a:t>‹#›</a:t>
            </a:fld>
            <a:endParaRPr lang="en-US"/>
          </a:p>
        </p:txBody>
      </p:sp>
      <p:sp>
        <p:nvSpPr>
          <p:cNvPr id="9" name="Content Placeholder 8"/>
          <p:cNvSpPr>
            <a:spLocks noGrp="1"/>
          </p:cNvSpPr>
          <p:nvPr>
            <p:ph sz="quarter" idx="13"/>
          </p:nvPr>
        </p:nvSpPr>
        <p:spPr>
          <a:xfrm>
            <a:off x="228600"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1344"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3254248"/>
          </a:xfrm>
        </p:spPr>
        <p:txBody>
          <a:bodyPr lIns="137160" rIns="137160" bIns="137160"/>
          <a:lstStyle>
            <a:lvl1pPr>
              <a:lnSpc>
                <a:spcPct val="100000"/>
              </a:lnSpc>
              <a:spcAft>
                <a:spcPts val="1200"/>
              </a:spcAft>
              <a:defRPr/>
            </a:lvl1pPr>
            <a:lvl2pPr>
              <a:lnSpc>
                <a:spcPct val="100000"/>
              </a:lnSpc>
              <a:spcAft>
                <a:spcPts val="1200"/>
              </a:spcAft>
              <a:defRPr/>
            </a:lvl2pPr>
            <a:lvl3pPr>
              <a:lnSpc>
                <a:spcPct val="100000"/>
              </a:lnSpc>
              <a:spcAft>
                <a:spcPts val="1200"/>
              </a:spcAft>
              <a:defRPr/>
            </a:lvl3pPr>
            <a:lvl4pPr>
              <a:lnSpc>
                <a:spcPct val="100000"/>
              </a:lnSpc>
              <a:spcAft>
                <a:spcPts val="1200"/>
              </a:spcAft>
              <a:defRPr/>
            </a:lvl4pPr>
            <a:lvl5pPr>
              <a:lnSpc>
                <a:spcPct val="100000"/>
              </a:lnSpc>
              <a:spcAft>
                <a:spcPts val="12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6"/>
          </p:nvPr>
        </p:nvSpPr>
        <p:spPr>
          <a:xfrm>
            <a:off x="228600"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7" name="Content Placeholder 8"/>
          <p:cNvSpPr>
            <a:spLocks noGrp="1"/>
          </p:cNvSpPr>
          <p:nvPr>
            <p:ph sz="quarter" idx="17"/>
          </p:nvPr>
        </p:nvSpPr>
        <p:spPr>
          <a:xfrm>
            <a:off x="4151344"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
        <p:nvSpPr>
          <p:cNvPr id="18" name="Content Placeholder 8"/>
          <p:cNvSpPr>
            <a:spLocks noGrp="1"/>
          </p:cNvSpPr>
          <p:nvPr>
            <p:ph sz="quarter" idx="18"/>
          </p:nvPr>
        </p:nvSpPr>
        <p:spPr>
          <a:xfrm>
            <a:off x="8074089" y="4851400"/>
            <a:ext cx="3840480" cy="1322832"/>
          </a:xfrm>
        </p:spPr>
        <p:txBody>
          <a:bodyPr lIns="137160" rIns="137160" bIns="137160"/>
          <a:lstStyle>
            <a:lvl1pPr>
              <a:lnSpc>
                <a:spcPct val="100000"/>
              </a:lnSpc>
              <a:spcAft>
                <a:spcPts val="1200"/>
              </a:spcAft>
              <a:defRPr sz="2400"/>
            </a:lvl1pPr>
          </a:lstStyle>
          <a:p>
            <a:pPr lvl="0"/>
            <a:r>
              <a:rPr lang="en-US"/>
              <a:t>Click to edit Master text styles</a:t>
            </a:r>
          </a:p>
        </p:txBody>
      </p:sp>
    </p:spTree>
    <p:extLst>
      <p:ext uri="{BB962C8B-B14F-4D97-AF65-F5344CB8AC3E}">
        <p14:creationId xmlns:p14="http://schemas.microsoft.com/office/powerpoint/2010/main" val="41097702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3" y="1320305"/>
            <a:ext cx="11890297" cy="1822989"/>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8" y="2838296"/>
            <a:ext cx="5945148"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0132814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4" y="3048001"/>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6232" y="2899239"/>
            <a:ext cx="2881118" cy="105952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46232" y="2899239"/>
            <a:ext cx="2881118" cy="1059525"/>
          </a:xfrm>
          <a:prstGeom prst="rect">
            <a:avLst/>
          </a:prstGeom>
        </p:spPr>
      </p:pic>
    </p:spTree>
    <p:extLst>
      <p:ext uri="{BB962C8B-B14F-4D97-AF65-F5344CB8AC3E}">
        <p14:creationId xmlns:p14="http://schemas.microsoft.com/office/powerpoint/2010/main" val="3335079008"/>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7571" y="1009605"/>
            <a:ext cx="10816237" cy="563458"/>
          </a:xfrm>
          <a:prstGeom prst="rect">
            <a:avLst/>
          </a:prstGeom>
        </p:spPr>
        <p:txBody>
          <a:bodyPr lIns="320040" tIns="54864" rIns="54864" bIns="5486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80678" y="260001"/>
            <a:ext cx="11653523" cy="927940"/>
          </a:xfrm>
          <a:prstGeom prst="rect">
            <a:avLst/>
          </a:prstGeom>
        </p:spPr>
        <p:txBody>
          <a:bodyPr>
            <a:normAutofit/>
          </a:bodyPr>
          <a:lstStyle>
            <a:lvl1pPr algn="l">
              <a:defRPr sz="3921">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189161434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1004014934"/>
      </p:ext>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806843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emo slide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1"/>
            <a:ext cx="12192000" cy="387727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69240" y="1187621"/>
            <a:ext cx="9860673" cy="1793104"/>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
        <p:nvSpPr>
          <p:cNvPr id="7" name="Title 1"/>
          <p:cNvSpPr txBox="1">
            <a:spLocks/>
          </p:cNvSpPr>
          <p:nvPr userDrawn="1"/>
        </p:nvSpPr>
        <p:spPr>
          <a:xfrm>
            <a:off x="269241" y="520953"/>
            <a:ext cx="6274973" cy="885028"/>
          </a:xfrm>
          <a:prstGeom prst="rect">
            <a:avLst/>
          </a:prstGeom>
          <a:noFill/>
        </p:spPr>
        <p:txBody>
          <a:bodyPr vert="horz" wrap="square" lIns="143428" tIns="89642" rIns="143428" bIns="89642" rtlCol="0" anchor="t" anchorCtr="0">
            <a:noAutofit/>
          </a:bodyPr>
          <a:lstStyle>
            <a:defPPr>
              <a:defRPr lang="en-US"/>
            </a:defPPr>
            <a:lvl1pPr marR="0" lvl="0" indent="0" fontAlgn="auto">
              <a:lnSpc>
                <a:spcPct val="90000"/>
              </a:lnSpc>
              <a:spcBef>
                <a:spcPct val="0"/>
              </a:spcBef>
              <a:spcAft>
                <a:spcPts val="0"/>
              </a:spcAft>
              <a:buClrTx/>
              <a:buSzTx/>
              <a:buFontTx/>
              <a:buNone/>
              <a:tabLst/>
              <a:defRPr kumimoji="0" sz="5400" b="0" i="0" u="none" strike="noStrike" cap="none" spc="-100" normalizeH="0" baseline="0">
                <a:ln w="3175">
                  <a:noFill/>
                </a:ln>
                <a:gradFill>
                  <a:gsLst>
                    <a:gs pos="0">
                      <a:srgbClr val="6DC2E9"/>
                    </a:gs>
                    <a:gs pos="100000">
                      <a:srgbClr val="6DC2E9"/>
                    </a:gs>
                  </a:gsLst>
                  <a:lin ang="5400000" scaled="0"/>
                </a:gradFill>
                <a:effectLst/>
                <a:uLnTx/>
                <a:uFillTx/>
                <a:latin typeface="Segoe UI Light"/>
                <a:cs typeface="Segoe UI" pitchFamily="34" charset="0"/>
              </a:defRPr>
            </a:lvl1pPr>
          </a:lstStyle>
          <a:p>
            <a:pPr defTabSz="914367"/>
            <a:r>
              <a:rPr lang="en-US" sz="5294" dirty="0"/>
              <a:t>Demo</a:t>
            </a:r>
          </a:p>
        </p:txBody>
      </p:sp>
    </p:spTree>
    <p:extLst>
      <p:ext uri="{BB962C8B-B14F-4D97-AF65-F5344CB8AC3E}">
        <p14:creationId xmlns:p14="http://schemas.microsoft.com/office/powerpoint/2010/main" val="34647447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 slide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1"/>
            <a:ext cx="12192000" cy="387727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69240" y="1179282"/>
            <a:ext cx="10132671" cy="1801443"/>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Video title</a:t>
            </a:r>
          </a:p>
        </p:txBody>
      </p:sp>
      <p:sp>
        <p:nvSpPr>
          <p:cNvPr id="7" name="Title 1"/>
          <p:cNvSpPr txBox="1">
            <a:spLocks/>
          </p:cNvSpPr>
          <p:nvPr userDrawn="1"/>
        </p:nvSpPr>
        <p:spPr>
          <a:xfrm>
            <a:off x="269241" y="512614"/>
            <a:ext cx="6274973" cy="885028"/>
          </a:xfrm>
          <a:prstGeom prst="rect">
            <a:avLst/>
          </a:prstGeom>
          <a:noFill/>
        </p:spPr>
        <p:txBody>
          <a:bodyPr vert="horz" wrap="square" lIns="143428" tIns="89642" rIns="143428" bIns="89642" rtlCol="0" anchor="t" anchorCtr="0">
            <a:noAutofit/>
          </a:bodyPr>
          <a:lstStyle>
            <a:defPPr>
              <a:defRPr lang="en-US"/>
            </a:defPPr>
            <a:lvl1pPr marR="0" lvl="0" indent="0" fontAlgn="auto">
              <a:lnSpc>
                <a:spcPct val="90000"/>
              </a:lnSpc>
              <a:spcBef>
                <a:spcPct val="0"/>
              </a:spcBef>
              <a:spcAft>
                <a:spcPts val="0"/>
              </a:spcAft>
              <a:buClrTx/>
              <a:buSzTx/>
              <a:buFontTx/>
              <a:buNone/>
              <a:tabLst/>
              <a:defRPr kumimoji="0" sz="5400" b="0" i="0" u="none" strike="noStrike" cap="none" spc="-100" normalizeH="0" baseline="0">
                <a:ln w="3175">
                  <a:noFill/>
                </a:ln>
                <a:gradFill>
                  <a:gsLst>
                    <a:gs pos="0">
                      <a:srgbClr val="6DC2E9"/>
                    </a:gs>
                    <a:gs pos="100000">
                      <a:srgbClr val="6DC2E9"/>
                    </a:gs>
                  </a:gsLst>
                  <a:lin ang="5400000" scaled="0"/>
                </a:gradFill>
                <a:effectLst/>
                <a:uLnTx/>
                <a:uFillTx/>
                <a:latin typeface="Segoe UI Light"/>
                <a:cs typeface="Segoe UI" pitchFamily="34" charset="0"/>
              </a:defRPr>
            </a:lvl1pPr>
          </a:lstStyle>
          <a:p>
            <a:pPr defTabSz="914367"/>
            <a:r>
              <a:rPr lang="en-US" sz="5294" dirty="0"/>
              <a:t>Video</a:t>
            </a:r>
          </a:p>
        </p:txBody>
      </p:sp>
    </p:spTree>
    <p:extLst>
      <p:ext uri="{BB962C8B-B14F-4D97-AF65-F5344CB8AC3E}">
        <p14:creationId xmlns:p14="http://schemas.microsoft.com/office/powerpoint/2010/main" val="34558713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2656236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195599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16963265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hree column_3">
    <p:spTree>
      <p:nvGrpSpPr>
        <p:cNvPr id="1" name=""/>
        <p:cNvGrpSpPr/>
        <p:nvPr/>
      </p:nvGrpSpPr>
      <p:grpSpPr>
        <a:xfrm>
          <a:off x="0" y="0"/>
          <a:ext cx="0" cy="0"/>
          <a:chOff x="0" y="0"/>
          <a:chExt cx="0" cy="0"/>
        </a:xfrm>
      </p:grpSpPr>
      <p:sp>
        <p:nvSpPr>
          <p:cNvPr id="15" name="Content Placeholder 8"/>
          <p:cNvSpPr>
            <a:spLocks noGrp="1"/>
          </p:cNvSpPr>
          <p:nvPr>
            <p:ph sz="quarter" idx="14"/>
          </p:nvPr>
        </p:nvSpPr>
        <p:spPr>
          <a:xfrm>
            <a:off x="4060823" y="1597152"/>
            <a:ext cx="4075135" cy="4072128"/>
          </a:xfrm>
        </p:spPr>
        <p:txBody>
          <a:bodyPr lIns="137160" tIns="91440" rIns="137160" bIns="137160"/>
          <a:lstStyle/>
          <a:p>
            <a:pPr lvl="0"/>
            <a:r>
              <a:rPr lang="en-US"/>
              <a:t>Click to edit Master text styles</a:t>
            </a:r>
          </a:p>
        </p:txBody>
      </p:sp>
      <p:sp>
        <p:nvSpPr>
          <p:cNvPr id="9" name="Content Placeholder 8"/>
          <p:cNvSpPr>
            <a:spLocks noGrp="1"/>
          </p:cNvSpPr>
          <p:nvPr>
            <p:ph sz="quarter" idx="13"/>
          </p:nvPr>
        </p:nvSpPr>
        <p:spPr>
          <a:xfrm>
            <a:off x="1" y="1597152"/>
            <a:ext cx="4063999" cy="4072128"/>
          </a:xfrm>
        </p:spPr>
        <p:txBody>
          <a:bodyPr lIns="137160" tIns="91440" rIns="137160" bIns="137160"/>
          <a:lstStyle/>
          <a:p>
            <a:pPr lvl="0"/>
            <a:r>
              <a:rPr lang="en-US"/>
              <a:t>Click to edit Master text styles</a:t>
            </a:r>
          </a:p>
        </p:txBody>
      </p:sp>
      <p:sp>
        <p:nvSpPr>
          <p:cNvPr id="2" name="Title 1"/>
          <p:cNvSpPr>
            <a:spLocks noGrp="1"/>
          </p:cNvSpPr>
          <p:nvPr>
            <p:ph type="title"/>
          </p:nvPr>
        </p:nvSpPr>
        <p:spPr/>
        <p:txBody>
          <a:bodyPr lIns="137160" tIns="9144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a:p>
        </p:txBody>
      </p:sp>
      <p:sp>
        <p:nvSpPr>
          <p:cNvPr id="7" name="Slide Number Placeholder 6"/>
          <p:cNvSpPr>
            <a:spLocks noGrp="1"/>
          </p:cNvSpPr>
          <p:nvPr>
            <p:ph type="sldNum" sz="quarter" idx="12"/>
          </p:nvPr>
        </p:nvSpPr>
        <p:spPr/>
        <p:txBody>
          <a:bodyPr/>
          <a:lstStyle/>
          <a:p>
            <a:fld id="{07AD9173-C745-46BA-9042-CD7714A275BD}" type="slidenum">
              <a:rPr lang="en-US" smtClean="0"/>
              <a:t>‹#›</a:t>
            </a:fld>
            <a:endParaRPr lang="en-US"/>
          </a:p>
        </p:txBody>
      </p:sp>
      <p:sp>
        <p:nvSpPr>
          <p:cNvPr id="16" name="Content Placeholder 8"/>
          <p:cNvSpPr>
            <a:spLocks noGrp="1"/>
          </p:cNvSpPr>
          <p:nvPr>
            <p:ph sz="quarter" idx="15"/>
          </p:nvPr>
        </p:nvSpPr>
        <p:spPr>
          <a:xfrm>
            <a:off x="8128001" y="1597152"/>
            <a:ext cx="4061884" cy="4072128"/>
          </a:xfrm>
        </p:spPr>
        <p:txBody>
          <a:bodyPr lIns="137160" tIns="91440" rIns="137160" bIns="137160"/>
          <a:lstStyle/>
          <a:p>
            <a:pPr lvl="0"/>
            <a:r>
              <a:rPr lang="en-US"/>
              <a:t>Click to edit Master text styles</a:t>
            </a:r>
          </a:p>
        </p:txBody>
      </p:sp>
      <p:sp>
        <p:nvSpPr>
          <p:cNvPr id="4" name="Text Placeholder 3"/>
          <p:cNvSpPr>
            <a:spLocks noGrp="1"/>
          </p:cNvSpPr>
          <p:nvPr>
            <p:ph type="body" sz="quarter" idx="16"/>
          </p:nvPr>
        </p:nvSpPr>
        <p:spPr>
          <a:xfrm>
            <a:off x="10086765"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19" name="Text Placeholder 3"/>
          <p:cNvSpPr>
            <a:spLocks noGrp="1"/>
          </p:cNvSpPr>
          <p:nvPr>
            <p:ph type="body" sz="quarter" idx="17"/>
          </p:nvPr>
        </p:nvSpPr>
        <p:spPr>
          <a:xfrm>
            <a:off x="6032838" y="3566160"/>
            <a:ext cx="2103120" cy="2103120"/>
          </a:xfrm>
          <a:solidFill>
            <a:schemeClr val="tx2"/>
          </a:solidFill>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
        <p:nvSpPr>
          <p:cNvPr id="20" name="Text Placeholder 3"/>
          <p:cNvSpPr>
            <a:spLocks noGrp="1"/>
          </p:cNvSpPr>
          <p:nvPr>
            <p:ph type="body" sz="quarter" idx="18"/>
          </p:nvPr>
        </p:nvSpPr>
        <p:spPr>
          <a:xfrm>
            <a:off x="1960880" y="3566160"/>
            <a:ext cx="2103120" cy="2103120"/>
          </a:xfrm>
          <a:solidFill>
            <a:schemeClr val="tx2"/>
          </a:solidFill>
          <a:ln>
            <a:noFill/>
          </a:ln>
        </p:spPr>
        <p:txBody>
          <a:bodyPr lIns="137160" tIns="91440" rIns="137160" bIns="137160">
            <a:normAutofit/>
          </a:bodyPr>
          <a:lstStyle>
            <a:lvl1pPr>
              <a:lnSpc>
                <a:spcPct val="85000"/>
              </a:lnSpc>
              <a:spcAft>
                <a:spcPts val="0"/>
              </a:spcAft>
              <a:defRPr sz="4000" b="1">
                <a:solidFill>
                  <a:schemeClr val="bg1"/>
                </a:solidFill>
                <a:latin typeface="+mn-lt"/>
              </a:defRPr>
            </a:lvl1pPr>
            <a:lvl2pPr>
              <a:defRPr b="1">
                <a:solidFill>
                  <a:schemeClr val="bg1"/>
                </a:solidFill>
                <a:latin typeface="Segoe UI Semibold" panose="020B0702040204020203" pitchFamily="34" charset="0"/>
              </a:defRPr>
            </a:lvl2pPr>
            <a:lvl3pPr>
              <a:defRPr b="1">
                <a:solidFill>
                  <a:schemeClr val="bg1"/>
                </a:solidFill>
                <a:latin typeface="Segoe UI Semibold" panose="020B0702040204020203" pitchFamily="34" charset="0"/>
              </a:defRPr>
            </a:lvl3pPr>
            <a:lvl4pPr>
              <a:defRPr b="1">
                <a:solidFill>
                  <a:schemeClr val="bg1"/>
                </a:solidFill>
                <a:latin typeface="Segoe UI Semibold" panose="020B0702040204020203" pitchFamily="34" charset="0"/>
              </a:defRPr>
            </a:lvl4pPr>
            <a:lvl5pPr>
              <a:defRPr b="1">
                <a:solidFill>
                  <a:schemeClr val="bg1"/>
                </a:solidFill>
                <a:latin typeface="Segoe UI Semibold" panose="020B0702040204020203" pitchFamily="34" charset="0"/>
              </a:defRPr>
            </a:lvl5pPr>
          </a:lstStyle>
          <a:p>
            <a:pPr lvl="0"/>
            <a:r>
              <a:rPr lang="en-US"/>
              <a:t>Click to edit Master text styles</a:t>
            </a:r>
          </a:p>
        </p:txBody>
      </p:sp>
    </p:spTree>
    <p:extLst>
      <p:ext uri="{BB962C8B-B14F-4D97-AF65-F5344CB8AC3E}">
        <p14:creationId xmlns:p14="http://schemas.microsoft.com/office/powerpoint/2010/main" val="2893423613"/>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61675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87002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09162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bg2"/>
                    </a:gs>
                    <a:gs pos="99000">
                      <a:schemeClr val="bg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7"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318282235"/>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7"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11008489"/>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4"/>
            <a:ext cx="11653523" cy="2187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60473827"/>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538067"/>
          </a:xfrm>
        </p:spPr>
        <p:txBody>
          <a:bodyPr>
            <a:spAutoFit/>
          </a:bodyPr>
          <a:lstStyle>
            <a:lvl1pPr marL="336145" indent="-336145">
              <a:buClr>
                <a:schemeClr val="accent1"/>
              </a:buClr>
              <a:defRPr lang="en-US" sz="3921" kern="1200" spc="0" baseline="0" dirty="0" smtClean="0">
                <a:gradFill>
                  <a:gsLst>
                    <a:gs pos="1250">
                      <a:schemeClr val="bg2"/>
                    </a:gs>
                    <a:gs pos="99000">
                      <a:schemeClr val="bg2"/>
                    </a:gs>
                  </a:gsLst>
                  <a:lin ang="5400000" scaled="0"/>
                </a:gra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10251039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2"/>
                    </a:gs>
                    <a:gs pos="99000">
                      <a:schemeClr val="bg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2"/>
                    </a:gs>
                    <a:gs pos="99000">
                      <a:schemeClr val="bg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16138043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20279425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63768322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lumn_4">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3" name="Content Placeholder 2"/>
          <p:cNvSpPr>
            <a:spLocks noGrp="1"/>
          </p:cNvSpPr>
          <p:nvPr>
            <p:ph idx="1"/>
          </p:nvPr>
        </p:nvSpPr>
        <p:spPr>
          <a:xfrm>
            <a:off x="228600" y="1600200"/>
            <a:ext cx="8712200" cy="1625600"/>
          </a:xfrm>
        </p:spPr>
        <p:txBody>
          <a:bodyPr lIns="137160" rIns="137160" bIns="137160">
            <a:normAutofit/>
          </a:bodyPr>
          <a:lstStyle>
            <a:lvl1pPr>
              <a:defRPr sz="2000"/>
            </a:lvl1pPr>
            <a:lvl2pPr>
              <a:defRPr sz="1600"/>
            </a:lvl2pPr>
            <a:lvl3pPr>
              <a:defRPr sz="1400"/>
            </a:lvl3p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11"/>
          </p:nvPr>
        </p:nvSpPr>
        <p:spPr>
          <a:xfrm>
            <a:off x="228601" y="6553201"/>
            <a:ext cx="11201400" cy="304800"/>
          </a:xfrm>
        </p:spPr>
        <p:txBody>
          <a:bodyPr/>
          <a:lstStyle>
            <a:lvl1pPr>
              <a:defRPr dirty="0"/>
            </a:lvl1pPr>
          </a:lstStyle>
          <a:p>
            <a:endParaRPr lang="en-US"/>
          </a:p>
        </p:txBody>
      </p:sp>
      <p:sp>
        <p:nvSpPr>
          <p:cNvPr id="6" name="Slide Number Placeholder 5"/>
          <p:cNvSpPr>
            <a:spLocks noGrp="1"/>
          </p:cNvSpPr>
          <p:nvPr>
            <p:ph type="sldNum" sz="quarter" idx="12"/>
          </p:nvPr>
        </p:nvSpPr>
        <p:spPr/>
        <p:txBody>
          <a:bodyPr/>
          <a:lstStyle/>
          <a:p>
            <a:fld id="{07AD9173-C745-46BA-9042-CD7714A275BD}" type="slidenum">
              <a:rPr lang="en-US" smtClean="0"/>
              <a:t>‹#›</a:t>
            </a:fld>
            <a:endParaRPr lang="en-US"/>
          </a:p>
        </p:txBody>
      </p:sp>
      <p:sp>
        <p:nvSpPr>
          <p:cNvPr id="11" name="Content Placeholder 8"/>
          <p:cNvSpPr>
            <a:spLocks noGrp="1"/>
          </p:cNvSpPr>
          <p:nvPr>
            <p:ph sz="quarter" idx="13"/>
          </p:nvPr>
        </p:nvSpPr>
        <p:spPr>
          <a:xfrm>
            <a:off x="22859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8"/>
          <p:cNvSpPr>
            <a:spLocks noGrp="1"/>
          </p:cNvSpPr>
          <p:nvPr>
            <p:ph sz="quarter" idx="14"/>
          </p:nvPr>
        </p:nvSpPr>
        <p:spPr>
          <a:xfrm>
            <a:off x="4156709"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8"/>
          <p:cNvSpPr>
            <a:spLocks noGrp="1"/>
          </p:cNvSpPr>
          <p:nvPr>
            <p:ph sz="quarter" idx="15"/>
          </p:nvPr>
        </p:nvSpPr>
        <p:spPr>
          <a:xfrm>
            <a:off x="8084820" y="3429000"/>
            <a:ext cx="3840480" cy="2740152"/>
          </a:xfrm>
        </p:spPr>
        <p:txBody>
          <a:bodyPr lIns="137160" rIns="137160" bIns="137160">
            <a:noAutofit/>
          </a:bodyPr>
          <a:lstStyle>
            <a:lvl1pPr>
              <a:defRPr sz="2000"/>
            </a:lvl1pPr>
            <a:lvl2pPr>
              <a:defRPr sz="1600"/>
            </a:lvl2pPr>
            <a:lvl3pPr>
              <a:defRPr sz="1400"/>
            </a:lvl3pPr>
            <a:lvl4pPr>
              <a:defRPr sz="1200"/>
            </a:lvl4pPr>
            <a:lvl5pPr>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7843818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281677" indent="-281677">
              <a:spcBef>
                <a:spcPts val="1200"/>
              </a:spcBef>
              <a:buClr>
                <a:schemeClr val="accent1"/>
              </a:buClr>
              <a:buFont typeface="Arial" pitchFamily="34" charset="0"/>
              <a:buChar char="•"/>
              <a:defRPr lang="en-US" sz="3529" kern="1200" spc="0" baseline="0" dirty="0" smtClean="0">
                <a:gradFill>
                  <a:gsLst>
                    <a:gs pos="1250">
                      <a:schemeClr val="bg2"/>
                    </a:gs>
                    <a:gs pos="99000">
                      <a:schemeClr val="bg2"/>
                    </a:gs>
                  </a:gsLst>
                  <a:lin ang="5400000" scaled="0"/>
                </a:gra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281677" indent="-281677">
              <a:spcBef>
                <a:spcPts val="1200"/>
              </a:spcBef>
              <a:buClr>
                <a:schemeClr val="accent1"/>
              </a:buClr>
              <a:buFont typeface="Arial" pitchFamily="34" charset="0"/>
              <a:buChar char="•"/>
              <a:defRPr lang="en-US" sz="3529" kern="1200" spc="0" baseline="0" dirty="0" smtClean="0">
                <a:gradFill>
                  <a:gsLst>
                    <a:gs pos="1250">
                      <a:schemeClr val="bg2"/>
                    </a:gs>
                    <a:gs pos="99000">
                      <a:schemeClr val="bg2"/>
                    </a:gs>
                  </a:gsLst>
                  <a:lin ang="5400000" scaled="0"/>
                </a:gra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92939782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5"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6123262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4"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3699312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3652301"/>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53462941"/>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60951044"/>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7890663"/>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0736504"/>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62843832"/>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67394808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28599" y="266700"/>
            <a:ext cx="11963401" cy="647700"/>
          </a:xfrm>
        </p:spPr>
        <p:txBody>
          <a:bodyPr vert="horz" lIns="137160" tIns="91440" rIns="137160" bIns="137160" rtlCol="0" anchor="t" anchorCtr="0">
            <a:normAutofit/>
          </a:bodyPr>
          <a:lstStyle>
            <a:lvl1pPr>
              <a:defRPr lang="en-US" dirty="0"/>
            </a:lvl1pPr>
          </a:lstStyle>
          <a:p>
            <a:pPr lvl="0"/>
            <a:r>
              <a:rPr lang="en-US"/>
              <a:t>Click to edit Master title style</a:t>
            </a:r>
            <a:endParaRPr lang="en-US" dirty="0"/>
          </a:p>
        </p:txBody>
      </p:sp>
      <p:sp>
        <p:nvSpPr>
          <p:cNvPr id="3" name="Content Placeholder 2"/>
          <p:cNvSpPr>
            <a:spLocks noGrp="1"/>
          </p:cNvSpPr>
          <p:nvPr>
            <p:ph sz="half" idx="1"/>
          </p:nvPr>
        </p:nvSpPr>
        <p:spPr>
          <a:xfrm>
            <a:off x="228599" y="1622121"/>
            <a:ext cx="5806440" cy="4572000"/>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08527" y="1622122"/>
            <a:ext cx="5806440" cy="4571999"/>
          </a:xfrm>
        </p:spPr>
        <p:txBody>
          <a:bodyPr lIns="137160" tIns="91440" rIns="137160" bIns="137160"/>
          <a:lstStyle>
            <a:lvl1pPr>
              <a:lnSpc>
                <a:spcPct val="100000"/>
              </a:lnSpc>
              <a:defRPr sz="2400"/>
            </a:lvl1pPr>
            <a:lvl2pPr>
              <a:lnSpc>
                <a:spcPct val="100000"/>
              </a:lnSpc>
              <a:defRPr sz="2400"/>
            </a:lvl2pPr>
            <a:lvl3pPr>
              <a:lnSpc>
                <a:spcPct val="100000"/>
              </a:lnSpc>
              <a:defRPr sz="1867"/>
            </a:lvl3pPr>
            <a:lvl4pPr>
              <a:lnSpc>
                <a:spcPct val="100000"/>
              </a:lnSpc>
              <a:defRPr sz="1867"/>
            </a:lvl4pPr>
            <a:lvl5pPr>
              <a:lnSpc>
                <a:spcPct val="100000"/>
              </a:lnSpc>
              <a:defRPr sz="1467"/>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5"/>
          <p:cNvSpPr>
            <a:spLocks noGrp="1"/>
          </p:cNvSpPr>
          <p:nvPr>
            <p:ph type="ftr" sz="quarter" idx="11"/>
          </p:nvPr>
        </p:nvSpPr>
        <p:spPr>
          <a:xfrm>
            <a:off x="228599" y="6553200"/>
            <a:ext cx="11201401" cy="304801"/>
          </a:xfrm>
        </p:spPr>
        <p:txBody>
          <a:bodyPr/>
          <a:lstStyle/>
          <a:p>
            <a:endParaRPr lang="en-US"/>
          </a:p>
        </p:txBody>
      </p:sp>
      <p:sp>
        <p:nvSpPr>
          <p:cNvPr id="7" name="Slide Number Placeholder 6"/>
          <p:cNvSpPr>
            <a:spLocks noGrp="1"/>
          </p:cNvSpPr>
          <p:nvPr>
            <p:ph type="sldNum" sz="quarter" idx="12"/>
          </p:nvPr>
        </p:nvSpPr>
        <p:spPr/>
        <p:txBody>
          <a:bodyPr/>
          <a:lstStyle/>
          <a:p>
            <a:fld id="{07AD9173-C745-46BA-9042-CD7714A275BD}" type="slidenum">
              <a:rPr lang="en-US" smtClean="0"/>
              <a:t>‹#›</a:t>
            </a:fld>
            <a:endParaRPr lang="en-US"/>
          </a:p>
        </p:txBody>
      </p:sp>
    </p:spTree>
    <p:extLst>
      <p:ext uri="{BB962C8B-B14F-4D97-AF65-F5344CB8AC3E}">
        <p14:creationId xmlns:p14="http://schemas.microsoft.com/office/powerpoint/2010/main" val="3644465452"/>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767114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userDrawn="1">
  <p:cSld name="Closing logo slide">
    <p:bg>
      <p:bgPr>
        <a:solidFill>
          <a:schemeClr val="tx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171616"/>
            <a:ext cx="11653522" cy="395276"/>
          </a:xfrm>
          <a:prstGeom prst="rect">
            <a:avLst/>
          </a:prstGeom>
          <a:noFill/>
          <a:ln w="12700">
            <a:noFill/>
            <a:miter lim="800000"/>
            <a:headEnd type="none" w="sm" len="sm"/>
            <a:tailEnd type="none" w="sm" len="sm"/>
          </a:ln>
          <a:effectLst/>
        </p:spPr>
        <p:txBody>
          <a:bodyPr vert="horz" wrap="square" lIns="179259" tIns="143407" rIns="179259" bIns="143407" numCol="1" anchor="t" anchorCtr="0" compatLnSpc="1">
            <a:prstTxWarp prst="textNoShape">
              <a:avLst/>
            </a:prstTxWarp>
            <a:spAutoFit/>
          </a:bodyPr>
          <a:lstStyle/>
          <a:p>
            <a:pPr defTabSz="913864" eaLnBrk="0" hangingPunct="0"/>
            <a:r>
              <a:rPr lang="en-US" sz="686" dirty="0">
                <a:solidFill>
                  <a:srgbClr val="FFFFFF"/>
                </a:soli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0205" y="3083651"/>
            <a:ext cx="3227129" cy="692059"/>
          </a:xfrm>
          <a:prstGeom prst="rect">
            <a:avLst/>
          </a:prstGeom>
        </p:spPr>
      </p:pic>
    </p:spTree>
    <p:extLst>
      <p:ext uri="{BB962C8B-B14F-4D97-AF65-F5344CB8AC3E}">
        <p14:creationId xmlns:p14="http://schemas.microsoft.com/office/powerpoint/2010/main" val="916159424"/>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emo slide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1"/>
            <a:ext cx="12192000" cy="387727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69240" y="1187621"/>
            <a:ext cx="9860673" cy="1793104"/>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gradFill>
                  <a:gsLst>
                    <a:gs pos="5833">
                      <a:schemeClr val="tx1"/>
                    </a:gs>
                    <a:gs pos="18000">
                      <a:schemeClr val="tx1"/>
                    </a:gs>
                  </a:gsLst>
                  <a:lin ang="5400000" scaled="0"/>
                </a:gradFill>
                <a:latin typeface="+mj-lt"/>
              </a:defRPr>
            </a:lvl1pPr>
          </a:lstStyle>
          <a:p>
            <a:pPr lvl="0"/>
            <a:r>
              <a:rPr lang="en-US" dirty="0"/>
              <a:t>Speaker Name</a:t>
            </a:r>
          </a:p>
        </p:txBody>
      </p:sp>
      <p:sp>
        <p:nvSpPr>
          <p:cNvPr id="7" name="Title 1"/>
          <p:cNvSpPr txBox="1">
            <a:spLocks/>
          </p:cNvSpPr>
          <p:nvPr userDrawn="1"/>
        </p:nvSpPr>
        <p:spPr>
          <a:xfrm>
            <a:off x="269241" y="520953"/>
            <a:ext cx="6274973" cy="885028"/>
          </a:xfrm>
          <a:prstGeom prst="rect">
            <a:avLst/>
          </a:prstGeom>
          <a:noFill/>
        </p:spPr>
        <p:txBody>
          <a:bodyPr vert="horz" wrap="square" lIns="143428" tIns="89642" rIns="143428" bIns="89642" rtlCol="0" anchor="t" anchorCtr="0">
            <a:noAutofit/>
          </a:bodyPr>
          <a:lstStyle>
            <a:defPPr>
              <a:defRPr lang="en-US"/>
            </a:defPPr>
            <a:lvl1pPr marR="0" lvl="0" indent="0" fontAlgn="auto">
              <a:lnSpc>
                <a:spcPct val="90000"/>
              </a:lnSpc>
              <a:spcBef>
                <a:spcPct val="0"/>
              </a:spcBef>
              <a:spcAft>
                <a:spcPts val="0"/>
              </a:spcAft>
              <a:buClrTx/>
              <a:buSzTx/>
              <a:buFontTx/>
              <a:buNone/>
              <a:tabLst/>
              <a:defRPr kumimoji="0" sz="5400" b="0" i="0" u="none" strike="noStrike" cap="none" spc="-100" normalizeH="0" baseline="0">
                <a:ln w="3175">
                  <a:noFill/>
                </a:ln>
                <a:gradFill>
                  <a:gsLst>
                    <a:gs pos="0">
                      <a:srgbClr val="6DC2E9"/>
                    </a:gs>
                    <a:gs pos="100000">
                      <a:srgbClr val="6DC2E9"/>
                    </a:gs>
                  </a:gsLst>
                  <a:lin ang="5400000" scaled="0"/>
                </a:gradFill>
                <a:effectLst/>
                <a:uLnTx/>
                <a:uFillTx/>
                <a:latin typeface="Segoe UI Light"/>
                <a:cs typeface="Segoe UI" pitchFamily="34" charset="0"/>
              </a:defRPr>
            </a:lvl1pPr>
          </a:lstStyle>
          <a:p>
            <a:pPr defTabSz="914367"/>
            <a:r>
              <a:rPr lang="en-US" sz="5294" dirty="0"/>
              <a:t>Demo</a:t>
            </a:r>
          </a:p>
        </p:txBody>
      </p:sp>
    </p:spTree>
    <p:extLst>
      <p:ext uri="{BB962C8B-B14F-4D97-AF65-F5344CB8AC3E}">
        <p14:creationId xmlns:p14="http://schemas.microsoft.com/office/powerpoint/2010/main" val="39274578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Video slide 1">
    <p:bg>
      <p:bgPr>
        <a:solidFill>
          <a:schemeClr val="accent1"/>
        </a:solidFill>
        <a:effectLst/>
      </p:bgPr>
    </p:bg>
    <p:spTree>
      <p:nvGrpSpPr>
        <p:cNvPr id="1" name=""/>
        <p:cNvGrpSpPr/>
        <p:nvPr/>
      </p:nvGrpSpPr>
      <p:grpSpPr>
        <a:xfrm>
          <a:off x="0" y="0"/>
          <a:ext cx="0" cy="0"/>
          <a:chOff x="0" y="0"/>
          <a:chExt cx="0" cy="0"/>
        </a:xfrm>
      </p:grpSpPr>
      <p:sp>
        <p:nvSpPr>
          <p:cNvPr id="6" name="Rectangle 5"/>
          <p:cNvSpPr/>
          <p:nvPr userDrawn="1"/>
        </p:nvSpPr>
        <p:spPr bwMode="auto">
          <a:xfrm>
            <a:off x="0" y="-1"/>
            <a:ext cx="12192000" cy="3877271"/>
          </a:xfrm>
          <a:prstGeom prst="rect">
            <a:avLst/>
          </a:prstGeom>
          <a:solidFill>
            <a:schemeClr val="bg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1"/>
          <p:cNvSpPr>
            <a:spLocks noGrp="1"/>
          </p:cNvSpPr>
          <p:nvPr>
            <p:ph type="title" hasCustomPrompt="1"/>
          </p:nvPr>
        </p:nvSpPr>
        <p:spPr>
          <a:xfrm>
            <a:off x="269240" y="1179282"/>
            <a:ext cx="10132671" cy="1801443"/>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dirty="0"/>
              <a:t>Video title</a:t>
            </a:r>
          </a:p>
        </p:txBody>
      </p:sp>
      <p:sp>
        <p:nvSpPr>
          <p:cNvPr id="7" name="Title 1"/>
          <p:cNvSpPr txBox="1">
            <a:spLocks/>
          </p:cNvSpPr>
          <p:nvPr userDrawn="1"/>
        </p:nvSpPr>
        <p:spPr>
          <a:xfrm>
            <a:off x="269241" y="512614"/>
            <a:ext cx="6274973" cy="885028"/>
          </a:xfrm>
          <a:prstGeom prst="rect">
            <a:avLst/>
          </a:prstGeom>
          <a:noFill/>
        </p:spPr>
        <p:txBody>
          <a:bodyPr vert="horz" wrap="square" lIns="143428" tIns="89642" rIns="143428" bIns="89642" rtlCol="0" anchor="t" anchorCtr="0">
            <a:noAutofit/>
          </a:bodyPr>
          <a:lstStyle>
            <a:defPPr>
              <a:defRPr lang="en-US"/>
            </a:defPPr>
            <a:lvl1pPr marR="0" lvl="0" indent="0" fontAlgn="auto">
              <a:lnSpc>
                <a:spcPct val="90000"/>
              </a:lnSpc>
              <a:spcBef>
                <a:spcPct val="0"/>
              </a:spcBef>
              <a:spcAft>
                <a:spcPts val="0"/>
              </a:spcAft>
              <a:buClrTx/>
              <a:buSzTx/>
              <a:buFontTx/>
              <a:buNone/>
              <a:tabLst/>
              <a:defRPr kumimoji="0" sz="5400" b="0" i="0" u="none" strike="noStrike" cap="none" spc="-100" normalizeH="0" baseline="0">
                <a:ln w="3175">
                  <a:noFill/>
                </a:ln>
                <a:gradFill>
                  <a:gsLst>
                    <a:gs pos="0">
                      <a:srgbClr val="6DC2E9"/>
                    </a:gs>
                    <a:gs pos="100000">
                      <a:srgbClr val="6DC2E9"/>
                    </a:gs>
                  </a:gsLst>
                  <a:lin ang="5400000" scaled="0"/>
                </a:gradFill>
                <a:effectLst/>
                <a:uLnTx/>
                <a:uFillTx/>
                <a:latin typeface="Segoe UI Light"/>
                <a:cs typeface="Segoe UI" pitchFamily="34" charset="0"/>
              </a:defRPr>
            </a:lvl1pPr>
          </a:lstStyle>
          <a:p>
            <a:pPr defTabSz="914367"/>
            <a:r>
              <a:rPr lang="en-US" sz="5294" dirty="0"/>
              <a:t>Video</a:t>
            </a:r>
          </a:p>
        </p:txBody>
      </p:sp>
    </p:spTree>
    <p:extLst>
      <p:ext uri="{BB962C8B-B14F-4D97-AF65-F5344CB8AC3E}">
        <p14:creationId xmlns:p14="http://schemas.microsoft.com/office/powerpoint/2010/main" val="4248190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64449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481192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7856661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4">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5463184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5">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11975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6">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96552">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06542548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emo_embedd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2469118" cy="2612424"/>
          </a:xfrm>
        </p:spPr>
        <p:txBody>
          <a:bodyPr anchor="t"/>
          <a:lstStyle/>
          <a:p>
            <a:r>
              <a:rPr lang="en-US"/>
              <a:t>Click to edit Master title style</a:t>
            </a:r>
            <a:endParaRPr lang="en-US" dirty="0"/>
          </a:p>
        </p:txBody>
      </p:sp>
      <p:pic>
        <p:nvPicPr>
          <p:cNvPr id="11" name="Content Placeholder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697717" y="584200"/>
            <a:ext cx="9113283" cy="5689600"/>
          </a:xfrm>
          <a:prstGeom prst="rect">
            <a:avLst/>
          </a:prstGeom>
        </p:spPr>
      </p:pic>
      <p:sp>
        <p:nvSpPr>
          <p:cNvPr id="13" name="Media Placeholder 8"/>
          <p:cNvSpPr>
            <a:spLocks noGrp="1"/>
          </p:cNvSpPr>
          <p:nvPr>
            <p:ph type="media" sz="quarter" idx="11" hasCustomPrompt="1"/>
          </p:nvPr>
        </p:nvSpPr>
        <p:spPr>
          <a:xfrm>
            <a:off x="3268663" y="1135892"/>
            <a:ext cx="7956550" cy="4510087"/>
          </a:xfrm>
        </p:spPr>
        <p:txBody>
          <a:bodyPr/>
          <a:lstStyle>
            <a:lvl1pPr>
              <a:defRPr baseline="0"/>
            </a:lvl1pPr>
          </a:lstStyle>
          <a:p>
            <a:r>
              <a:rPr lang="en-US" dirty="0"/>
              <a:t>Click to insert demo video</a:t>
            </a:r>
          </a:p>
        </p:txBody>
      </p:sp>
    </p:spTree>
    <p:extLst>
      <p:ext uri="{BB962C8B-B14F-4D97-AF65-F5344CB8AC3E}">
        <p14:creationId xmlns:p14="http://schemas.microsoft.com/office/powerpoint/2010/main" val="2912574255"/>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bg2"/>
                    </a:gs>
                    <a:gs pos="99000">
                      <a:schemeClr val="bg2"/>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7"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851710082"/>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7"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01980631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69239" y="1190734"/>
            <a:ext cx="11653523" cy="218797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0718766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538067"/>
          </a:xfrm>
        </p:spPr>
        <p:txBody>
          <a:bodyPr>
            <a:spAutoFit/>
          </a:bodyPr>
          <a:lstStyle>
            <a:lvl1pPr marL="336145" indent="-336145">
              <a:buClr>
                <a:schemeClr val="accent1"/>
              </a:buClr>
              <a:defRPr lang="en-US" sz="3921" kern="1200" spc="0" baseline="0" dirty="0" smtClean="0">
                <a:gradFill>
                  <a:gsLst>
                    <a:gs pos="1250">
                      <a:schemeClr val="bg2"/>
                    </a:gs>
                    <a:gs pos="99000">
                      <a:schemeClr val="bg2"/>
                    </a:gs>
                  </a:gsLst>
                  <a:lin ang="5400000" scaled="0"/>
                </a:gradFill>
                <a:latin typeface="+mj-lt"/>
                <a:ea typeface="+mn-ea"/>
                <a:cs typeface="+mn-cs"/>
              </a:defRPr>
            </a:lvl1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00105233"/>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2"/>
                    </a:gs>
                    <a:gs pos="99000">
                      <a:schemeClr val="bg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0" indent="0">
              <a:spcBef>
                <a:spcPts val="1200"/>
              </a:spcBef>
              <a:buClr>
                <a:schemeClr val="tx1"/>
              </a:buClr>
              <a:buFont typeface="Wingdings" pitchFamily="2" charset="2"/>
              <a:buNone/>
              <a:defRPr sz="3529">
                <a:gradFill>
                  <a:gsLst>
                    <a:gs pos="1250">
                      <a:schemeClr val="bg2"/>
                    </a:gs>
                    <a:gs pos="99000">
                      <a:schemeClr val="bg2"/>
                    </a:gs>
                  </a:gsLst>
                  <a:lin ang="5400000" scaled="0"/>
                </a:gradFill>
              </a:defRPr>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1648328443"/>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sz="1765"/>
            </a:lvl4pPr>
            <a:lvl5pPr marL="672290" indent="0">
              <a:buNone/>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332116942"/>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1961"/>
            </a:lvl2pPr>
            <a:lvl3pPr marL="685803" indent="-165101">
              <a:tabLst/>
              <a:defRPr sz="1961"/>
            </a:lvl3pPr>
            <a:lvl4pPr marL="863603" indent="-177801">
              <a:defRPr sz="1765"/>
            </a:lvl4pPr>
            <a:lvl5pPr marL="1028704" indent="-165101">
              <a:tabLst/>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3711605635"/>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809744"/>
          </a:xfrm>
        </p:spPr>
        <p:txBody>
          <a:bodyPr wrap="square">
            <a:spAutoFit/>
          </a:bodyPr>
          <a:lstStyle>
            <a:lvl1pPr marL="281677" indent="-281677">
              <a:spcBef>
                <a:spcPts val="1200"/>
              </a:spcBef>
              <a:buClr>
                <a:schemeClr val="accent1"/>
              </a:buClr>
              <a:buFont typeface="Arial" pitchFamily="34" charset="0"/>
              <a:buChar char="•"/>
              <a:defRPr lang="en-US" sz="3529" kern="1200" spc="0" baseline="0" dirty="0" smtClean="0">
                <a:gradFill>
                  <a:gsLst>
                    <a:gs pos="1250">
                      <a:schemeClr val="bg2"/>
                    </a:gs>
                    <a:gs pos="99000">
                      <a:schemeClr val="bg2"/>
                    </a:gs>
                  </a:gsLst>
                  <a:lin ang="5400000" scaled="0"/>
                </a:gra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5" name="Text Placeholder 3"/>
          <p:cNvSpPr>
            <a:spLocks noGrp="1"/>
          </p:cNvSpPr>
          <p:nvPr>
            <p:ph type="body" sz="quarter" idx="11"/>
          </p:nvPr>
        </p:nvSpPr>
        <p:spPr>
          <a:xfrm>
            <a:off x="6544214" y="1189176"/>
            <a:ext cx="5378548" cy="2809744"/>
          </a:xfrm>
        </p:spPr>
        <p:txBody>
          <a:bodyPr wrap="square">
            <a:spAutoFit/>
          </a:bodyPr>
          <a:lstStyle>
            <a:lvl1pPr marL="281677" indent="-281677">
              <a:spcBef>
                <a:spcPts val="1200"/>
              </a:spcBef>
              <a:buClr>
                <a:schemeClr val="accent1"/>
              </a:buClr>
              <a:buFont typeface="Arial" pitchFamily="34" charset="0"/>
              <a:buChar char="•"/>
              <a:defRPr lang="en-US" sz="3529" kern="1200" spc="0" baseline="0" dirty="0" smtClean="0">
                <a:gradFill>
                  <a:gsLst>
                    <a:gs pos="1250">
                      <a:schemeClr val="bg2"/>
                    </a:gs>
                    <a:gs pos="99000">
                      <a:schemeClr val="bg2"/>
                    </a:gs>
                  </a:gsLst>
                  <a:lin ang="5400000" scaled="0"/>
                </a:gradFill>
                <a:latin typeface="+mj-lt"/>
                <a:ea typeface="+mn-ea"/>
                <a:cs typeface="+mn-cs"/>
              </a:defRPr>
            </a:lvl1pPr>
            <a:lvl2pPr marL="520702" indent="-228601">
              <a:defRPr sz="1961"/>
            </a:lvl2pPr>
            <a:lvl3pPr marL="685803" indent="-165101">
              <a:tabLst/>
              <a:defRPr sz="1961"/>
            </a:lvl3pPr>
            <a:lvl4pPr marL="863603" indent="-177801">
              <a:defRPr sz="1765"/>
            </a:lvl4pPr>
            <a:lvl5pPr marL="1028704" indent="-165101">
              <a:tabLst/>
              <a:defRPr sz="1765"/>
            </a:lvl5pPr>
          </a:lstStyle>
          <a:p>
            <a:pPr marL="281677" marR="0" lvl="0"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Click to edit Master text styles</a:t>
            </a:r>
          </a:p>
          <a:p>
            <a:pPr marL="281677" marR="0" lvl="1"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Second level</a:t>
            </a:r>
          </a:p>
          <a:p>
            <a:pPr marL="281677" marR="0" lvl="2"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Third level</a:t>
            </a:r>
          </a:p>
          <a:p>
            <a:pPr marL="281677" marR="0" lvl="3"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ourth level</a:t>
            </a:r>
          </a:p>
          <a:p>
            <a:pPr marL="281677" marR="0" lvl="4" indent="-281677" algn="l" defTabSz="914367" rtl="0" eaLnBrk="1" fontAlgn="auto" latinLnBrk="0" hangingPunct="1">
              <a:lnSpc>
                <a:spcPct val="90000"/>
              </a:lnSpc>
              <a:spcBef>
                <a:spcPts val="1200"/>
              </a:spcBef>
              <a:spcAft>
                <a:spcPts val="0"/>
              </a:spcAft>
              <a:buClr>
                <a:schemeClr val="bg2"/>
              </a:buClr>
              <a:buSzPct val="90000"/>
              <a:buFont typeface="Arial" pitchFamily="34" charset="0"/>
              <a:buChar char="•"/>
              <a:tabLst/>
            </a:pPr>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51044681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5"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410815300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4"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243381376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Demo_linked">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8610600" cy="1028700"/>
          </a:xfrm>
        </p:spPr>
        <p:txBody>
          <a:bodyPr anchor="t"/>
          <a:lstStyle/>
          <a:p>
            <a:r>
              <a:rPr lang="en-US"/>
              <a:t>Click to edit Master title style</a:t>
            </a:r>
            <a:endParaRPr lang="en-US" dirty="0"/>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39200" y="584200"/>
            <a:ext cx="2844800" cy="1774600"/>
          </a:xfrm>
          <a:prstGeom prst="rect">
            <a:avLst/>
          </a:prstGeom>
        </p:spPr>
      </p:pic>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39200" y="4581561"/>
            <a:ext cx="2844800" cy="1774600"/>
          </a:xfrm>
          <a:prstGeom prst="rect">
            <a:avLst/>
          </a:prstGeom>
        </p:spPr>
      </p:pic>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39200" y="2575104"/>
            <a:ext cx="2844800" cy="1774600"/>
          </a:xfrm>
          <a:prstGeom prst="rect">
            <a:avLst/>
          </a:prstGeom>
        </p:spPr>
      </p:pic>
      <p:pic>
        <p:nvPicPr>
          <p:cNvPr id="8" name="Content Placeholder 1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1" y="2209800"/>
            <a:ext cx="7969039" cy="4648200"/>
          </a:xfrm>
          <a:prstGeom prst="rect">
            <a:avLst/>
          </a:prstGeom>
        </p:spPr>
      </p:pic>
      <p:sp>
        <p:nvSpPr>
          <p:cNvPr id="10" name="Picture Placeholder 9"/>
          <p:cNvSpPr>
            <a:spLocks noGrp="1"/>
          </p:cNvSpPr>
          <p:nvPr>
            <p:ph type="pic" sz="quarter" idx="10" hasCustomPrompt="1"/>
          </p:nvPr>
        </p:nvSpPr>
        <p:spPr>
          <a:xfrm>
            <a:off x="1" y="2750820"/>
            <a:ext cx="7391400" cy="4107180"/>
          </a:xfrm>
        </p:spPr>
        <p:txBody>
          <a:bodyPr/>
          <a:lstStyle>
            <a:lvl1pPr>
              <a:defRPr/>
            </a:lvl1pPr>
          </a:lstStyle>
          <a:p>
            <a:r>
              <a:rPr lang="en-US" dirty="0"/>
              <a:t>Click to add screenshot</a:t>
            </a:r>
          </a:p>
        </p:txBody>
      </p:sp>
      <p:sp>
        <p:nvSpPr>
          <p:cNvPr id="12" name="Picture Placeholder 11"/>
          <p:cNvSpPr>
            <a:spLocks noGrp="1"/>
          </p:cNvSpPr>
          <p:nvPr>
            <p:ph type="pic" sz="quarter" idx="11" hasCustomPrompt="1"/>
          </p:nvPr>
        </p:nvSpPr>
        <p:spPr>
          <a:xfrm>
            <a:off x="9010650" y="757113"/>
            <a:ext cx="2495550" cy="1404924"/>
          </a:xfrm>
        </p:spPr>
        <p:txBody>
          <a:bodyPr/>
          <a:lstStyle>
            <a:lvl1pPr>
              <a:defRPr/>
            </a:lvl1pPr>
          </a:lstStyle>
          <a:p>
            <a:r>
              <a:rPr lang="en-US" dirty="0"/>
              <a:t>Click to add screenshot</a:t>
            </a:r>
          </a:p>
        </p:txBody>
      </p:sp>
      <p:sp>
        <p:nvSpPr>
          <p:cNvPr id="14" name="Picture Placeholder 13"/>
          <p:cNvSpPr>
            <a:spLocks noGrp="1"/>
          </p:cNvSpPr>
          <p:nvPr>
            <p:ph type="pic" sz="quarter" idx="12" hasCustomPrompt="1"/>
          </p:nvPr>
        </p:nvSpPr>
        <p:spPr>
          <a:xfrm>
            <a:off x="9010650" y="2751138"/>
            <a:ext cx="2495550" cy="1401762"/>
          </a:xfrm>
        </p:spPr>
        <p:txBody>
          <a:bodyPr/>
          <a:lstStyle>
            <a:lvl1pPr>
              <a:defRPr baseline="0"/>
            </a:lvl1pPr>
          </a:lstStyle>
          <a:p>
            <a:r>
              <a:rPr lang="en-US" dirty="0"/>
              <a:t>Click to add screenshot</a:t>
            </a:r>
          </a:p>
        </p:txBody>
      </p:sp>
      <p:sp>
        <p:nvSpPr>
          <p:cNvPr id="16" name="Picture Placeholder 15"/>
          <p:cNvSpPr>
            <a:spLocks noGrp="1"/>
          </p:cNvSpPr>
          <p:nvPr>
            <p:ph type="pic" sz="quarter" idx="13" hasCustomPrompt="1"/>
          </p:nvPr>
        </p:nvSpPr>
        <p:spPr>
          <a:xfrm>
            <a:off x="9010650" y="4745831"/>
            <a:ext cx="2495550" cy="1412082"/>
          </a:xfrm>
        </p:spPr>
        <p:txBody>
          <a:bodyPr/>
          <a:lstStyle>
            <a:lvl1pPr>
              <a:defRPr/>
            </a:lvl1pPr>
          </a:lstStyle>
          <a:p>
            <a:r>
              <a:rPr lang="en-US" dirty="0"/>
              <a:t>Click to add screenshot</a:t>
            </a:r>
          </a:p>
        </p:txBody>
      </p:sp>
    </p:spTree>
    <p:extLst>
      <p:ext uri="{BB962C8B-B14F-4D97-AF65-F5344CB8AC3E}">
        <p14:creationId xmlns:p14="http://schemas.microsoft.com/office/powerpoint/2010/main" val="256306106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070679"/>
      </p:ext>
    </p:extLst>
  </p:cSld>
  <p:clrMapOvr>
    <a:masterClrMapping/>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0947847"/>
      </p:ext>
    </p:extLst>
  </p:cSld>
  <p:clrMapOvr>
    <a:masterClrMapping/>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98169412"/>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4">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9598384"/>
      </p:ext>
    </p:extLst>
  </p:cSld>
  <p:clrMapOvr>
    <a:masterClrMapping/>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5">
    <p:bg>
      <p:bgPr>
        <a:solidFill>
          <a:schemeClr val="accent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1727320"/>
      </p:ext>
    </p:extLst>
  </p:cSld>
  <p:clrMapOvr>
    <a:masterClrMapping/>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6">
    <p:bg>
      <p:bgPr>
        <a:solidFill>
          <a:schemeClr val="accent6"/>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30467722"/>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30830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2415"/>
            <a:ext cx="11653522" cy="2089751"/>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endParaRPr lang="en-US" dirty="0">
              <a:solidFill>
                <a:srgbClr val="000000">
                  <a:lumMod val="50000"/>
                  <a:lumOff val="50000"/>
                </a:srgbClr>
              </a:solidFill>
            </a:endParaRPr>
          </a:p>
        </p:txBody>
      </p:sp>
      <p:sp>
        <p:nvSpPr>
          <p:cNvPr id="8"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fld id="{C69A5621-A4E1-4322-9D22-14AC39B4BE7D}" type="slidenum">
              <a:rPr lang="en-US" smtClean="0">
                <a:solidFill>
                  <a:srgbClr val="000000">
                    <a:tint val="75000"/>
                  </a:srgbClr>
                </a:solidFill>
              </a:rPr>
              <a:pPr/>
              <a:t>‹#›</a:t>
            </a:fld>
            <a:endParaRPr lang="en-US">
              <a:solidFill>
                <a:srgbClr val="000000">
                  <a:tint val="75000"/>
                </a:srgbClr>
              </a:solidFill>
            </a:endParaRPr>
          </a:p>
        </p:txBody>
      </p:sp>
    </p:spTree>
    <p:extLst>
      <p:ext uri="{BB962C8B-B14F-4D97-AF65-F5344CB8AC3E}">
        <p14:creationId xmlns:p14="http://schemas.microsoft.com/office/powerpoint/2010/main" val="520417875"/>
      </p:ext>
    </p:extLst>
  </p:cSld>
  <p:clrMapOvr>
    <a:masterClrMapping/>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3605953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1_Title Slide">
    <p:bg>
      <p:bgRef idx="1001">
        <a:schemeClr val="bg1"/>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627870" y="4452767"/>
            <a:ext cx="7171337" cy="1792327"/>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Segoe Pro" panose="020B0502040504020203" pitchFamily="34" charset="0"/>
              </a:defRPr>
            </a:lvl1pPr>
          </a:lstStyle>
          <a:p>
            <a:pPr lvl="0"/>
            <a:r>
              <a:rPr lang="en-US" dirty="0"/>
              <a:t>Speaker Name</a:t>
            </a:r>
          </a:p>
        </p:txBody>
      </p:sp>
    </p:spTree>
    <p:extLst>
      <p:ext uri="{BB962C8B-B14F-4D97-AF65-F5344CB8AC3E}">
        <p14:creationId xmlns:p14="http://schemas.microsoft.com/office/powerpoint/2010/main" val="28461158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8" name="Rectangle 7"/>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4"/>
            <a:ext cx="5487830"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74205"/>
            <a:ext cx="1947104" cy="71604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197060" y="234378"/>
            <a:ext cx="1947104" cy="716042"/>
          </a:xfrm>
          <a:prstGeom prst="rect">
            <a:avLst/>
          </a:prstGeom>
        </p:spPr>
      </p:pic>
      <p:sp>
        <p:nvSpPr>
          <p:cNvPr id="10" name="TextBox 9"/>
          <p:cNvSpPr txBox="1"/>
          <p:nvPr/>
        </p:nvSpPr>
        <p:spPr>
          <a:xfrm>
            <a:off x="7620000" y="381000"/>
            <a:ext cx="3810001" cy="1905000"/>
          </a:xfrm>
          <a:prstGeom prst="rect">
            <a:avLst/>
          </a:prstGeom>
        </p:spPr>
        <p:txBody>
          <a:bodyPr vert="horz" wrap="square" lIns="108805" tIns="54403" rIns="108805" bIns="54403" rtlCol="0" anchor="ctr">
            <a:normAutofit/>
          </a:bodyPr>
          <a:lstStyle/>
          <a:p>
            <a:pPr defTabSz="1087896"/>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1" y="4894385"/>
            <a:ext cx="5487830"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
        <p:nvSpPr>
          <p:cNvPr id="13" name="Rectangle 12"/>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74205"/>
            <a:ext cx="1947104" cy="716043"/>
          </a:xfrm>
          <a:prstGeom prst="rect">
            <a:avLst/>
          </a:prstGeom>
        </p:spPr>
      </p:pic>
      <p:pic>
        <p:nvPicPr>
          <p:cNvPr id="16" name="Picture 1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97060" y="234378"/>
            <a:ext cx="1947104" cy="716042"/>
          </a:xfrm>
          <a:prstGeom prst="rect">
            <a:avLst/>
          </a:prstGeom>
        </p:spPr>
      </p:pic>
      <p:sp>
        <p:nvSpPr>
          <p:cNvPr id="17" name="TextBox 16"/>
          <p:cNvSpPr txBox="1"/>
          <p:nvPr userDrawn="1"/>
        </p:nvSpPr>
        <p:spPr>
          <a:xfrm>
            <a:off x="7620000" y="381000"/>
            <a:ext cx="3810001" cy="1905000"/>
          </a:xfrm>
          <a:prstGeom prst="rect">
            <a:avLst/>
          </a:prstGeom>
        </p:spPr>
        <p:txBody>
          <a:bodyPr vert="horz" wrap="square" lIns="108805" tIns="54403" rIns="108805" bIns="54403" rtlCol="0" anchor="ctr">
            <a:normAutofit/>
          </a:bodyPr>
          <a:lstStyle/>
          <a:p>
            <a:pPr defTabSz="1087896"/>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18" name="TextBox 17"/>
          <p:cNvSpPr txBox="1"/>
          <p:nvPr userDrawn="1"/>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16440666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6" name="Picture Placeholder 5"/>
          <p:cNvSpPr>
            <a:spLocks noGrp="1"/>
          </p:cNvSpPr>
          <p:nvPr>
            <p:ph type="pic" sz="quarter" idx="11"/>
          </p:nvPr>
        </p:nvSpPr>
        <p:spPr>
          <a:xfrm>
            <a:off x="0" y="0"/>
            <a:ext cx="12192000" cy="6858000"/>
          </a:xfrm>
        </p:spPr>
        <p:txBody>
          <a:bodyPr/>
          <a:lstStyle/>
          <a:p>
            <a:r>
              <a:rPr lang="en-US"/>
              <a:t>Click icon to add picture</a:t>
            </a:r>
            <a:endParaRPr lang="en-US" dirty="0"/>
          </a:p>
        </p:txBody>
      </p:sp>
      <p:sp>
        <p:nvSpPr>
          <p:cNvPr id="15" name="Text Placeholder 14"/>
          <p:cNvSpPr>
            <a:spLocks noGrp="1"/>
          </p:cNvSpPr>
          <p:nvPr>
            <p:ph type="body" sz="quarter" idx="12" hasCustomPrompt="1"/>
          </p:nvPr>
        </p:nvSpPr>
        <p:spPr>
          <a:xfrm>
            <a:off x="4722813" y="2788917"/>
            <a:ext cx="2743200" cy="914400"/>
          </a:xfrm>
        </p:spPr>
        <p:txBody>
          <a:bodyPr>
            <a:normAutofit/>
          </a:bodyPr>
          <a:lstStyle>
            <a:lvl1pPr marL="0" marR="0" indent="0" algn="ctr" defTabSz="914400" rtl="0" eaLnBrk="1" fontAlgn="auto" latinLnBrk="0" hangingPunct="1">
              <a:lnSpc>
                <a:spcPct val="100000"/>
              </a:lnSpc>
              <a:spcBef>
                <a:spcPts val="0"/>
              </a:spcBef>
              <a:spcAft>
                <a:spcPts val="0"/>
              </a:spcAft>
              <a:buClrTx/>
              <a:buSzTx/>
              <a:buFont typeface="Wingdings" pitchFamily="2" charset="2"/>
              <a:buNone/>
              <a:tabLst/>
              <a:defRPr lang="en-US" sz="6000" b="0" kern="1200" spc="0" baseline="0">
                <a:latin typeface="+mj-lt"/>
                <a:ea typeface="Segoe UI Semibold" panose="020B0702040204020203" pitchFamily="34" charset="0"/>
                <a:cs typeface="Segoe UI Semibold" panose="020B0702040204020203" pitchFamily="34" charset="0"/>
              </a:defRPr>
            </a:lvl1pPr>
          </a:lstStyle>
          <a:p>
            <a:pPr marL="0" marR="0" lvl="0" indent="0" algn="ctr" defTabSz="914400" rtl="0" eaLnBrk="1" fontAlgn="auto" latinLnBrk="0" hangingPunct="1">
              <a:lnSpc>
                <a:spcPct val="100000"/>
              </a:lnSpc>
              <a:spcBef>
                <a:spcPts val="0"/>
              </a:spcBef>
              <a:spcAft>
                <a:spcPts val="0"/>
              </a:spcAft>
              <a:buClrTx/>
              <a:buSzTx/>
              <a:buFont typeface="Wingdings" pitchFamily="2" charset="2"/>
              <a:buNone/>
              <a:tabLst/>
              <a:defRPr/>
            </a:pPr>
            <a:r>
              <a:rPr lang="en-US" sz="4400" b="1" kern="1200" spc="0" baseline="0" dirty="0">
                <a:solidFill>
                  <a:schemeClr val="bg1"/>
                </a:solidFill>
                <a:latin typeface="+mn-lt"/>
                <a:ea typeface="Segoe UI Semibold" panose="020B0702040204020203" pitchFamily="34" charset="0"/>
                <a:cs typeface="Segoe UI Semibold" panose="020B0702040204020203" pitchFamily="34" charset="0"/>
              </a:rPr>
              <a:t>VIDEO</a:t>
            </a:r>
          </a:p>
        </p:txBody>
      </p:sp>
    </p:spTree>
    <p:extLst>
      <p:ext uri="{BB962C8B-B14F-4D97-AF65-F5344CB8AC3E}">
        <p14:creationId xmlns:p14="http://schemas.microsoft.com/office/powerpoint/2010/main" val="2514976865"/>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3840">
          <p15:clr>
            <a:srgbClr val="FBAE4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24439"/>
            <a:ext cx="1947104" cy="716042"/>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671609" y="274205"/>
            <a:ext cx="1947104" cy="716043"/>
          </a:xfrm>
          <a:prstGeom prst="rect">
            <a:avLst/>
          </a:prstGeom>
        </p:spPr>
      </p:pic>
      <p:sp>
        <p:nvSpPr>
          <p:cNvPr id="7" name="Rectangle 6"/>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4"/>
            <a:ext cx="5487830"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30"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24439"/>
            <a:ext cx="1947104" cy="716042"/>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71609" y="274205"/>
            <a:ext cx="1947104" cy="716043"/>
          </a:xfrm>
          <a:prstGeom prst="rect">
            <a:avLst/>
          </a:prstGeom>
        </p:spPr>
      </p:pic>
      <p:sp>
        <p:nvSpPr>
          <p:cNvPr id="14" name="Rectangle 13"/>
          <p:cNvSpPr/>
          <p:nvPr userDrawn="1"/>
        </p:nvSpPr>
        <p:spPr bwMode="gray">
          <a:xfrm>
            <a:off x="190550" y="2622897"/>
            <a:ext cx="6031984" cy="359766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prstClr val="white"/>
              </a:solidFill>
              <a:ea typeface="Segoe UI" pitchFamily="34" charset="0"/>
              <a:cs typeface="Segoe UI" pitchFamily="34" charset="0"/>
            </a:endParaRPr>
          </a:p>
        </p:txBody>
      </p:sp>
      <p:sp>
        <p:nvSpPr>
          <p:cNvPr id="15" name="TextBox 14"/>
          <p:cNvSpPr txBox="1"/>
          <p:nvPr userDrawn="1"/>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327637104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6" name="Text Placeholder 5"/>
          <p:cNvSpPr>
            <a:spLocks noGrp="1"/>
          </p:cNvSpPr>
          <p:nvPr>
            <p:ph type="body" sz="quarter" idx="13" hasCustomPrompt="1"/>
          </p:nvPr>
        </p:nvSpPr>
        <p:spPr>
          <a:xfrm>
            <a:off x="119096" y="791866"/>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355583" y="1600201"/>
            <a:ext cx="11345599"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683061231"/>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921"/>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3" y="913912"/>
            <a:ext cx="12192000" cy="373063"/>
          </a:xfrm>
          <a:prstGeom prst="rect">
            <a:avLst/>
          </a:prstGeom>
        </p:spPr>
        <p:txBody>
          <a:bodyPr lIns="320040" tIns="53325" rIns="53325" bIns="53325">
            <a:noAutofit/>
          </a:bodyPr>
          <a:lstStyle>
            <a:lvl1pPr marL="0" indent="0">
              <a:buNone/>
              <a:defRPr sz="2745">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634562156"/>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921"/>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2334232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50931302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7"/>
            <a:ext cx="8381999"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686564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4" name="Picture 3" descr="10GRID2a.jpg"/>
          <p:cNvPicPr>
            <a:picLocks noChangeAspect="1"/>
          </p:cNvPicPr>
          <p:nvPr/>
        </p:nvPicPr>
        <p:blipFill>
          <a:blip r:embed="rId2">
            <a:alphaModFix amt="58000"/>
            <a:extLst>
              <a:ext uri="{28A0092B-C50C-407E-A947-70E740481C1C}">
                <a14:useLocalDpi xmlns:a14="http://schemas.microsoft.com/office/drawing/2010/main" val="0"/>
              </a:ext>
            </a:extLst>
          </a:blip>
          <a:stretch>
            <a:fillRect/>
          </a:stretch>
        </p:blipFill>
        <p:spPr>
          <a:xfrm>
            <a:off x="-1" y="-1"/>
            <a:ext cx="12192826" cy="6856679"/>
          </a:xfrm>
          <a:prstGeom prst="rect">
            <a:avLst/>
          </a:prstGeom>
        </p:spPr>
      </p:pic>
      <p:grpSp>
        <p:nvGrpSpPr>
          <p:cNvPr id="2" name="Group 1"/>
          <p:cNvGrpSpPr/>
          <p:nvPr/>
        </p:nvGrpSpPr>
        <p:grpSpPr>
          <a:xfrm>
            <a:off x="185326" y="2326039"/>
            <a:ext cx="11836065" cy="4398590"/>
            <a:chOff x="185277" y="2326039"/>
            <a:chExt cx="12064064" cy="4484488"/>
          </a:xfrm>
        </p:grpSpPr>
        <p:sp>
          <p:nvSpPr>
            <p:cNvPr id="8" name="Rectangle 7"/>
            <p:cNvSpPr/>
            <p:nvPr/>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70"/>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6"/>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pic>
        <p:nvPicPr>
          <p:cNvPr id="36" name="Picture 35" descr="10GRID2a.jpg"/>
          <p:cNvPicPr>
            <a:picLocks noChangeAspect="1"/>
          </p:cNvPicPr>
          <p:nvPr userDrawn="1"/>
        </p:nvPicPr>
        <p:blipFill>
          <a:blip r:embed="rId2">
            <a:alphaModFix amt="58000"/>
            <a:extLst>
              <a:ext uri="{28A0092B-C50C-407E-A947-70E740481C1C}">
                <a14:useLocalDpi xmlns:a14="http://schemas.microsoft.com/office/drawing/2010/main" val="0"/>
              </a:ext>
            </a:extLst>
          </a:blip>
          <a:stretch>
            <a:fillRect/>
          </a:stretch>
        </p:blipFill>
        <p:spPr>
          <a:xfrm>
            <a:off x="-1" y="-1"/>
            <a:ext cx="12192826" cy="6856679"/>
          </a:xfrm>
          <a:prstGeom prst="rect">
            <a:avLst/>
          </a:prstGeom>
        </p:spPr>
      </p:pic>
      <p:grpSp>
        <p:nvGrpSpPr>
          <p:cNvPr id="37" name="Group 36"/>
          <p:cNvGrpSpPr/>
          <p:nvPr userDrawn="1"/>
        </p:nvGrpSpPr>
        <p:grpSpPr>
          <a:xfrm>
            <a:off x="185326" y="2326039"/>
            <a:ext cx="11836065" cy="4398590"/>
            <a:chOff x="185277" y="2326039"/>
            <a:chExt cx="12064064" cy="4484488"/>
          </a:xfrm>
        </p:grpSpPr>
        <p:sp>
          <p:nvSpPr>
            <p:cNvPr id="38" name="Rectangle 3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9" name="Rectangle 3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0" name="Rectangle 3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2" name="Rectangle 4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3" name="Rectangle 4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4" name="Rectangle 4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5" name="Group 44"/>
            <p:cNvGrpSpPr/>
            <p:nvPr userDrawn="1"/>
          </p:nvGrpSpPr>
          <p:grpSpPr>
            <a:xfrm>
              <a:off x="185277" y="2326039"/>
              <a:ext cx="12064064" cy="1459104"/>
              <a:chOff x="185277" y="2031977"/>
              <a:chExt cx="12064064" cy="1459104"/>
            </a:xfrm>
          </p:grpSpPr>
          <p:sp>
            <p:nvSpPr>
              <p:cNvPr id="56" name="Rectangle 5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1" name="Rectangle 6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2" name="Rectangle 6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3" name="Rectangle 6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6" name="Group 45"/>
            <p:cNvGrpSpPr/>
            <p:nvPr userDrawn="1"/>
          </p:nvGrpSpPr>
          <p:grpSpPr>
            <a:xfrm>
              <a:off x="185277" y="3845414"/>
              <a:ext cx="12064064" cy="1459104"/>
              <a:chOff x="185277" y="3564719"/>
              <a:chExt cx="12064064" cy="1459104"/>
            </a:xfrm>
          </p:grpSpPr>
          <p:sp>
            <p:nvSpPr>
              <p:cNvPr id="48" name="Rectangle 47"/>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Rectangle 48"/>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Rectangle 49"/>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1" name="Rectangle 50"/>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2" name="Rectangle 51"/>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47" name="Rectangle 46"/>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870692549"/>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3" y="1320305"/>
            <a:ext cx="11890297" cy="1822989"/>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8" y="2838296"/>
            <a:ext cx="5945148"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9743912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3" y="1320305"/>
            <a:ext cx="11890297" cy="1822989"/>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8" y="2838296"/>
            <a:ext cx="5945148"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59697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3" y="1320305"/>
            <a:ext cx="11890297" cy="1822989"/>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8" y="2838296"/>
            <a:ext cx="5945148"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753256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w/black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rgbClr val="000000">
              <a:alpha val="70000"/>
            </a:srgbClr>
          </a:solidFill>
        </p:spPr>
        <p:txBody>
          <a:bodyPr lIns="365760" tIns="137160" rIns="137160" bIns="1097280" anchor="b" anchorCtr="0">
            <a:noAutofit/>
          </a:bodyPr>
          <a:lstStyle>
            <a:lvl1pPr>
              <a:defRPr sz="6000" spc="-100" baseline="0">
                <a:solidFill>
                  <a:schemeClr val="bg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58000"/>
          </a:xfrm>
        </p:spPr>
        <p:txBody>
          <a:bodyPr/>
          <a:lstStyle>
            <a:lvl1pPr>
              <a:defRPr baseline="0">
                <a:solidFill>
                  <a:schemeClr val="bg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31696464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4" y="3048001"/>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69" tIns="38083" rIns="76169" bIns="38083" rtlCol="0" anchor="ctr"/>
          <a:lstStyle/>
          <a:p>
            <a:pPr algn="ctr" defTabSz="1087896"/>
            <a:endParaRPr lang="en-US" sz="2200">
              <a:solidFill>
                <a:prstClr val="white"/>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6232" y="2899239"/>
            <a:ext cx="2881118" cy="105952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46232" y="2899239"/>
            <a:ext cx="2881118" cy="1059525"/>
          </a:xfrm>
          <a:prstGeom prst="rect">
            <a:avLst/>
          </a:prstGeom>
        </p:spPr>
      </p:pic>
    </p:spTree>
    <p:extLst>
      <p:ext uri="{BB962C8B-B14F-4D97-AF65-F5344CB8AC3E}">
        <p14:creationId xmlns:p14="http://schemas.microsoft.com/office/powerpoint/2010/main" val="241019127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107571" y="1009605"/>
            <a:ext cx="10816237" cy="563458"/>
          </a:xfrm>
          <a:prstGeom prst="rect">
            <a:avLst/>
          </a:prstGeom>
        </p:spPr>
        <p:txBody>
          <a:bodyPr lIns="320040" tIns="54864" rIns="54864" bIns="54864"/>
          <a:lstStyle>
            <a:lvl1pPr marL="0" indent="0">
              <a:buNone/>
              <a:defRPr lang="en-US" sz="2745" kern="1200" smtClean="0">
                <a:solidFill>
                  <a:schemeClr val="tx2"/>
                </a:solidFill>
                <a:latin typeface="+mj-lt"/>
                <a:ea typeface="+mn-ea"/>
                <a:cs typeface="+mn-cs"/>
              </a:defRPr>
            </a:lvl1pPr>
            <a:lvl2pPr marL="0" indent="0">
              <a:buNone/>
              <a:defRPr lang="en-US" sz="3108" kern="1200" smtClean="0">
                <a:solidFill>
                  <a:schemeClr val="bg1"/>
                </a:solidFill>
                <a:latin typeface="+mj-lt"/>
                <a:ea typeface="+mn-ea"/>
                <a:cs typeface="+mn-cs"/>
              </a:defRPr>
            </a:lvl2pPr>
            <a:lvl3pPr marL="0" indent="0">
              <a:buNone/>
              <a:defRPr lang="en-US" sz="3108" kern="1200" smtClean="0">
                <a:solidFill>
                  <a:schemeClr val="bg1"/>
                </a:solidFill>
                <a:latin typeface="+mj-lt"/>
                <a:ea typeface="+mn-ea"/>
                <a:cs typeface="+mn-cs"/>
              </a:defRPr>
            </a:lvl3pPr>
            <a:lvl4pPr marL="0" indent="0">
              <a:buNone/>
              <a:defRPr lang="en-US" sz="3108" kern="1200" smtClean="0">
                <a:solidFill>
                  <a:schemeClr val="bg1"/>
                </a:solidFill>
                <a:latin typeface="+mj-lt"/>
                <a:ea typeface="+mn-ea"/>
                <a:cs typeface="+mn-cs"/>
              </a:defRPr>
            </a:lvl4pPr>
            <a:lvl5pPr marL="0" indent="0">
              <a:buNone/>
              <a:defRPr lang="en-US" sz="3108"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80678" y="260001"/>
            <a:ext cx="11653523" cy="927940"/>
          </a:xfrm>
          <a:prstGeom prst="rect">
            <a:avLst/>
          </a:prstGeom>
        </p:spPr>
        <p:txBody>
          <a:bodyPr>
            <a:normAutofit/>
          </a:bodyPr>
          <a:lstStyle>
            <a:lvl1pPr algn="l">
              <a:defRPr sz="3921">
                <a:solidFill>
                  <a:schemeClr val="tx2"/>
                </a:solidFill>
              </a:defRPr>
            </a:lvl1pPr>
          </a:lstStyle>
          <a:p>
            <a:r>
              <a:rPr lang="en-US" dirty="0"/>
              <a:t>Click to edit Master title style</a:t>
            </a:r>
          </a:p>
        </p:txBody>
      </p:sp>
      <p:sp>
        <p:nvSpPr>
          <p:cNvPr id="4" name="Footer Placeholder 2"/>
          <p:cNvSpPr>
            <a:spLocks noGrp="1"/>
          </p:cNvSpPr>
          <p:nvPr>
            <p:ph type="ftr" sz="quarter" idx="14"/>
          </p:nvPr>
        </p:nvSpPr>
        <p:spPr/>
        <p:txBody>
          <a:bodyPr/>
          <a:lstStyle>
            <a:lvl1pPr fontAlgn="base">
              <a:spcBef>
                <a:spcPct val="0"/>
              </a:spcBef>
              <a:spcAft>
                <a:spcPct val="0"/>
              </a:spcAft>
              <a:defRPr dirty="0" smtClean="0">
                <a:solidFill>
                  <a:srgbClr val="505050"/>
                </a:solidFill>
              </a:defRPr>
            </a:lvl1pPr>
          </a:lstStyle>
          <a:p>
            <a:pPr>
              <a:defRPr/>
            </a:pPr>
            <a:r>
              <a:rPr/>
              <a:t>Microsoft Confidential</a:t>
            </a:r>
          </a:p>
        </p:txBody>
      </p:sp>
      <p:sp>
        <p:nvSpPr>
          <p:cNvPr id="5" name="Slide Number Placeholder 3"/>
          <p:cNvSpPr>
            <a:spLocks noGrp="1"/>
          </p:cNvSpPr>
          <p:nvPr>
            <p:ph type="sldNum" sz="quarter" idx="15"/>
          </p:nvPr>
        </p:nvSpPr>
        <p:spPr/>
        <p:txBody>
          <a:bodyPr/>
          <a:lstStyle>
            <a:lvl1pPr defTabSz="913505" fontAlgn="base">
              <a:spcBef>
                <a:spcPct val="0"/>
              </a:spcBef>
              <a:spcAft>
                <a:spcPct val="0"/>
              </a:spcAft>
              <a:defRPr smtClean="0">
                <a:solidFill>
                  <a:srgbClr val="505050"/>
                </a:solidFill>
              </a:defRPr>
            </a:lvl1pPr>
          </a:lstStyle>
          <a:p>
            <a:pPr>
              <a:defRPr/>
            </a:pPr>
            <a:fld id="{56442AAA-6A77-5942-BCC4-0CCA4B0626F8}" type="slidenum">
              <a:rPr/>
              <a:pPr>
                <a:defRPr/>
              </a:pPr>
              <a:t>‹#›</a:t>
            </a:fld>
            <a:endParaRPr dirty="0"/>
          </a:p>
        </p:txBody>
      </p:sp>
    </p:spTree>
    <p:extLst>
      <p:ext uri="{BB962C8B-B14F-4D97-AF65-F5344CB8AC3E}">
        <p14:creationId xmlns:p14="http://schemas.microsoft.com/office/powerpoint/2010/main" val="2150447228"/>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64768532"/>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1"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pPr defTabSz="1087869"/>
            <a:endParaRPr lang="en-US" dirty="0">
              <a:solidFill>
                <a:srgbClr val="505050"/>
              </a:solidFill>
            </a:endParaRPr>
          </a:p>
        </p:txBody>
      </p:sp>
      <p:sp>
        <p:nvSpPr>
          <p:cNvPr id="4" name="Slide Number Placeholder 3"/>
          <p:cNvSpPr>
            <a:spLocks noGrp="1"/>
          </p:cNvSpPr>
          <p:nvPr>
            <p:ph type="sldNum" sz="quarter" idx="11"/>
          </p:nvPr>
        </p:nvSpPr>
        <p:spPr/>
        <p:txBody>
          <a:bodyPr/>
          <a:lstStyle/>
          <a:p>
            <a:pPr defTabSz="1087869"/>
            <a:fld id="{FAADACFB-7C71-4E89-89D2-7BBA40B7BFA9}" type="slidenum">
              <a:rPr lang="en-US" smtClean="0">
                <a:solidFill>
                  <a:srgbClr val="505050"/>
                </a:solidFill>
              </a:rPr>
              <a:pPr defTabSz="1087869"/>
              <a:t>‹#›</a:t>
            </a:fld>
            <a:endParaRPr lang="en-US" dirty="0">
              <a:solidFill>
                <a:srgbClr val="505050"/>
              </a:solidFill>
            </a:endParaRPr>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600" y="1600200"/>
            <a:ext cx="5408613" cy="4876800"/>
          </a:xfrm>
        </p:spPr>
        <p:txBody>
          <a:bodyPr r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08641104"/>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cSld name="7_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76178759"/>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7_Title with illustration">
    <p:spTree>
      <p:nvGrpSpPr>
        <p:cNvPr id="1" name=""/>
        <p:cNvGrpSpPr/>
        <p:nvPr/>
      </p:nvGrpSpPr>
      <p:grpSpPr>
        <a:xfrm>
          <a:off x="0" y="0"/>
          <a:ext cx="0" cy="0"/>
          <a:chOff x="0" y="0"/>
          <a:chExt cx="0" cy="0"/>
        </a:xfrm>
      </p:grpSpPr>
      <p:pic>
        <p:nvPicPr>
          <p:cNvPr id="14" name="Picture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246659" y="7187658"/>
            <a:ext cx="1740540" cy="640080"/>
          </a:xfrm>
          <a:prstGeom prst="rect">
            <a:avLst/>
          </a:prstGeom>
        </p:spPr>
      </p:pic>
      <p:pic>
        <p:nvPicPr>
          <p:cNvPr id="11" name="Picture 10"/>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10246659" y="5990748"/>
            <a:ext cx="1737792" cy="639069"/>
          </a:xfrm>
          <a:prstGeom prst="rect">
            <a:avLst/>
          </a:prstGeom>
        </p:spPr>
      </p:pic>
    </p:spTree>
    <p:extLst>
      <p:ext uri="{BB962C8B-B14F-4D97-AF65-F5344CB8AC3E}">
        <p14:creationId xmlns:p14="http://schemas.microsoft.com/office/powerpoint/2010/main" val="3181087352"/>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8" name="Rectangle 7"/>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74206"/>
            <a:ext cx="1947103" cy="71604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197060" y="234377"/>
            <a:ext cx="1947103" cy="716042"/>
          </a:xfrm>
          <a:prstGeom prst="rect">
            <a:avLst/>
          </a:prstGeom>
        </p:spPr>
      </p:pic>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2"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
        <p:nvSpPr>
          <p:cNvPr id="13" name="Rectangle 12"/>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74206"/>
            <a:ext cx="1947103" cy="716043"/>
          </a:xfrm>
          <a:prstGeom prst="rect">
            <a:avLst/>
          </a:prstGeom>
        </p:spPr>
      </p:pic>
      <p:pic>
        <p:nvPicPr>
          <p:cNvPr id="16" name="Picture 1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97060" y="234377"/>
            <a:ext cx="1947103" cy="716042"/>
          </a:xfrm>
          <a:prstGeom prst="rect">
            <a:avLst/>
          </a:prstGeom>
        </p:spPr>
      </p:pic>
      <p:sp>
        <p:nvSpPr>
          <p:cNvPr id="17" name="TextBox 16"/>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18" name="TextBox 17"/>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17566867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24438"/>
            <a:ext cx="1947103" cy="716042"/>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671610" y="274206"/>
            <a:ext cx="1947103" cy="716043"/>
          </a:xfrm>
          <a:prstGeom prst="rect">
            <a:avLst/>
          </a:prstGeom>
        </p:spPr>
      </p:pic>
      <p:sp>
        <p:nvSpPr>
          <p:cNvPr id="7" name="Rectangle 6"/>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24438"/>
            <a:ext cx="1947103" cy="716042"/>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71610" y="274206"/>
            <a:ext cx="1947103" cy="716043"/>
          </a:xfrm>
          <a:prstGeom prst="rect">
            <a:avLst/>
          </a:prstGeom>
        </p:spPr>
      </p:pic>
      <p:sp>
        <p:nvSpPr>
          <p:cNvPr id="14" name="Rectangle 13"/>
          <p:cNvSpPr/>
          <p:nvPr userDrawn="1"/>
        </p:nvSpPr>
        <p:spPr bwMode="gray">
          <a:xfrm>
            <a:off x="190550" y="2622897"/>
            <a:ext cx="6031984" cy="359766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15" name="TextBox 14"/>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271543118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2"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34492229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318324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Section Title w/white overlay">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293" y="-1006"/>
            <a:ext cx="6625448" cy="6861750"/>
          </a:xfrm>
          <a:custGeom>
            <a:avLst/>
            <a:gdLst>
              <a:gd name="connsiteX0" fmla="*/ 0 w 10000"/>
              <a:gd name="connsiteY0" fmla="*/ 2000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2000 h 10000"/>
              <a:gd name="connsiteX0" fmla="*/ 0 w 10000"/>
              <a:gd name="connsiteY0" fmla="*/ 3 h 10000"/>
              <a:gd name="connsiteX1" fmla="*/ 10000 w 10000"/>
              <a:gd name="connsiteY1" fmla="*/ 0 h 10000"/>
              <a:gd name="connsiteX2" fmla="*/ 10000 w 10000"/>
              <a:gd name="connsiteY2" fmla="*/ 10000 h 10000"/>
              <a:gd name="connsiteX3" fmla="*/ 0 w 10000"/>
              <a:gd name="connsiteY3" fmla="*/ 10000 h 10000"/>
              <a:gd name="connsiteX4" fmla="*/ 0 w 10000"/>
              <a:gd name="connsiteY4" fmla="*/ 3 h 10000"/>
              <a:gd name="connsiteX0" fmla="*/ 0 w 10000"/>
              <a:gd name="connsiteY0" fmla="*/ 0 h 9997"/>
              <a:gd name="connsiteX1" fmla="*/ 5160 w 10000"/>
              <a:gd name="connsiteY1" fmla="*/ 24 h 9997"/>
              <a:gd name="connsiteX2" fmla="*/ 10000 w 10000"/>
              <a:gd name="connsiteY2" fmla="*/ 9997 h 9997"/>
              <a:gd name="connsiteX3" fmla="*/ 0 w 10000"/>
              <a:gd name="connsiteY3" fmla="*/ 9997 h 9997"/>
              <a:gd name="connsiteX4" fmla="*/ 0 w 10000"/>
              <a:gd name="connsiteY4" fmla="*/ 0 h 9997"/>
              <a:gd name="connsiteX0" fmla="*/ 0 w 9679"/>
              <a:gd name="connsiteY0" fmla="*/ 0 h 10027"/>
              <a:gd name="connsiteX1" fmla="*/ 5160 w 9679"/>
              <a:gd name="connsiteY1" fmla="*/ 24 h 10027"/>
              <a:gd name="connsiteX2" fmla="*/ 9679 w 9679"/>
              <a:gd name="connsiteY2" fmla="*/ 10027 h 10027"/>
              <a:gd name="connsiteX3" fmla="*/ 0 w 9679"/>
              <a:gd name="connsiteY3" fmla="*/ 10000 h 10027"/>
              <a:gd name="connsiteX4" fmla="*/ 0 w 9679"/>
              <a:gd name="connsiteY4" fmla="*/ 0 h 10027"/>
              <a:gd name="connsiteX0" fmla="*/ 0 w 10000"/>
              <a:gd name="connsiteY0" fmla="*/ 10 h 10010"/>
              <a:gd name="connsiteX1" fmla="*/ 5302 w 10000"/>
              <a:gd name="connsiteY1" fmla="*/ 0 h 10010"/>
              <a:gd name="connsiteX2" fmla="*/ 10000 w 10000"/>
              <a:gd name="connsiteY2" fmla="*/ 10010 h 10010"/>
              <a:gd name="connsiteX3" fmla="*/ 0 w 10000"/>
              <a:gd name="connsiteY3" fmla="*/ 9983 h 10010"/>
              <a:gd name="connsiteX4" fmla="*/ 0 w 10000"/>
              <a:gd name="connsiteY4" fmla="*/ 10 h 10010"/>
              <a:gd name="connsiteX0" fmla="*/ 0 w 10000"/>
              <a:gd name="connsiteY0" fmla="*/ 10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10 h 10010"/>
              <a:gd name="connsiteX0" fmla="*/ 0 w 10000"/>
              <a:gd name="connsiteY0" fmla="*/ 21 h 10010"/>
              <a:gd name="connsiteX1" fmla="*/ 5302 w 10000"/>
              <a:gd name="connsiteY1" fmla="*/ 0 h 10010"/>
              <a:gd name="connsiteX2" fmla="*/ 10000 w 10000"/>
              <a:gd name="connsiteY2" fmla="*/ 10010 h 10010"/>
              <a:gd name="connsiteX3" fmla="*/ 4 w 10000"/>
              <a:gd name="connsiteY3" fmla="*/ 10010 h 10010"/>
              <a:gd name="connsiteX4" fmla="*/ 0 w 10000"/>
              <a:gd name="connsiteY4" fmla="*/ 21 h 10010"/>
              <a:gd name="connsiteX0" fmla="*/ 286 w 9997"/>
              <a:gd name="connsiteY0" fmla="*/ 216 h 10010"/>
              <a:gd name="connsiteX1" fmla="*/ 5299 w 9997"/>
              <a:gd name="connsiteY1" fmla="*/ 0 h 10010"/>
              <a:gd name="connsiteX2" fmla="*/ 9997 w 9997"/>
              <a:gd name="connsiteY2" fmla="*/ 10010 h 10010"/>
              <a:gd name="connsiteX3" fmla="*/ 1 w 9997"/>
              <a:gd name="connsiteY3" fmla="*/ 10010 h 10010"/>
              <a:gd name="connsiteX4" fmla="*/ 286 w 9997"/>
              <a:gd name="connsiteY4" fmla="*/ 216 h 10010"/>
              <a:gd name="connsiteX0" fmla="*/ 0 w 10007"/>
              <a:gd name="connsiteY0" fmla="*/ 29 h 10000"/>
              <a:gd name="connsiteX1" fmla="*/ 5308 w 10007"/>
              <a:gd name="connsiteY1" fmla="*/ 0 h 10000"/>
              <a:gd name="connsiteX2" fmla="*/ 10007 w 10007"/>
              <a:gd name="connsiteY2" fmla="*/ 10000 h 10000"/>
              <a:gd name="connsiteX3" fmla="*/ 8 w 10007"/>
              <a:gd name="connsiteY3" fmla="*/ 10000 h 10000"/>
              <a:gd name="connsiteX4" fmla="*/ 0 w 10007"/>
              <a:gd name="connsiteY4" fmla="*/ 29 h 10000"/>
              <a:gd name="connsiteX0" fmla="*/ 0 w 10007"/>
              <a:gd name="connsiteY0" fmla="*/ 0 h 9971"/>
              <a:gd name="connsiteX1" fmla="*/ 5316 w 10007"/>
              <a:gd name="connsiteY1" fmla="*/ 5 h 9971"/>
              <a:gd name="connsiteX2" fmla="*/ 10007 w 10007"/>
              <a:gd name="connsiteY2" fmla="*/ 9971 h 9971"/>
              <a:gd name="connsiteX3" fmla="*/ 8 w 10007"/>
              <a:gd name="connsiteY3" fmla="*/ 9971 h 9971"/>
              <a:gd name="connsiteX4" fmla="*/ 0 w 10007"/>
              <a:gd name="connsiteY4" fmla="*/ 0 h 9971"/>
              <a:gd name="connsiteX0" fmla="*/ 0 w 10000"/>
              <a:gd name="connsiteY0" fmla="*/ 3 h 10003"/>
              <a:gd name="connsiteX1" fmla="*/ 5292 w 10000"/>
              <a:gd name="connsiteY1" fmla="*/ 0 h 10003"/>
              <a:gd name="connsiteX2" fmla="*/ 10000 w 10000"/>
              <a:gd name="connsiteY2" fmla="*/ 10003 h 10003"/>
              <a:gd name="connsiteX3" fmla="*/ 8 w 10000"/>
              <a:gd name="connsiteY3" fmla="*/ 10003 h 10003"/>
              <a:gd name="connsiteX4" fmla="*/ 0 w 10000"/>
              <a:gd name="connsiteY4" fmla="*/ 3 h 10003"/>
              <a:gd name="connsiteX0" fmla="*/ 84 w 9993"/>
              <a:gd name="connsiteY0" fmla="*/ 114 h 10003"/>
              <a:gd name="connsiteX1" fmla="*/ 5285 w 9993"/>
              <a:gd name="connsiteY1" fmla="*/ 0 h 10003"/>
              <a:gd name="connsiteX2" fmla="*/ 9993 w 9993"/>
              <a:gd name="connsiteY2" fmla="*/ 10003 h 10003"/>
              <a:gd name="connsiteX3" fmla="*/ 1 w 9993"/>
              <a:gd name="connsiteY3" fmla="*/ 10003 h 10003"/>
              <a:gd name="connsiteX4" fmla="*/ 84 w 9993"/>
              <a:gd name="connsiteY4" fmla="*/ 114 h 10003"/>
              <a:gd name="connsiteX0" fmla="*/ 0 w 10003"/>
              <a:gd name="connsiteY0" fmla="*/ 3 h 10000"/>
              <a:gd name="connsiteX1" fmla="*/ 5292 w 10003"/>
              <a:gd name="connsiteY1" fmla="*/ 0 h 10000"/>
              <a:gd name="connsiteX2" fmla="*/ 10003 w 10003"/>
              <a:gd name="connsiteY2" fmla="*/ 10000 h 10000"/>
              <a:gd name="connsiteX3" fmla="*/ 4 w 10003"/>
              <a:gd name="connsiteY3" fmla="*/ 10000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0 w 10003"/>
              <a:gd name="connsiteY3" fmla="*/ 9996 h 10000"/>
              <a:gd name="connsiteX4" fmla="*/ 0 w 10003"/>
              <a:gd name="connsiteY4" fmla="*/ 3 h 10000"/>
              <a:gd name="connsiteX0" fmla="*/ 0 w 10003"/>
              <a:gd name="connsiteY0" fmla="*/ 3 h 10000"/>
              <a:gd name="connsiteX1" fmla="*/ 5292 w 10003"/>
              <a:gd name="connsiteY1" fmla="*/ 0 h 10000"/>
              <a:gd name="connsiteX2" fmla="*/ 10003 w 10003"/>
              <a:gd name="connsiteY2" fmla="*/ 10000 h 10000"/>
              <a:gd name="connsiteX3" fmla="*/ 67 w 10003"/>
              <a:gd name="connsiteY3" fmla="*/ 9920 h 10000"/>
              <a:gd name="connsiteX4" fmla="*/ 0 w 10003"/>
              <a:gd name="connsiteY4" fmla="*/ 3 h 10000"/>
              <a:gd name="connsiteX0" fmla="*/ 8 w 10011"/>
              <a:gd name="connsiteY0" fmla="*/ 3 h 10004"/>
              <a:gd name="connsiteX1" fmla="*/ 5300 w 10011"/>
              <a:gd name="connsiteY1" fmla="*/ 0 h 10004"/>
              <a:gd name="connsiteX2" fmla="*/ 10011 w 10011"/>
              <a:gd name="connsiteY2" fmla="*/ 10000 h 10004"/>
              <a:gd name="connsiteX3" fmla="*/ 0 w 10011"/>
              <a:gd name="connsiteY3" fmla="*/ 10004 h 10004"/>
              <a:gd name="connsiteX4" fmla="*/ 8 w 10011"/>
              <a:gd name="connsiteY4" fmla="*/ 3 h 100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11" h="10004">
                <a:moveTo>
                  <a:pt x="8" y="3"/>
                </a:moveTo>
                <a:lnTo>
                  <a:pt x="5300" y="0"/>
                </a:lnTo>
                <a:lnTo>
                  <a:pt x="10011" y="10000"/>
                </a:lnTo>
                <a:lnTo>
                  <a:pt x="0" y="10004"/>
                </a:lnTo>
                <a:cubicBezTo>
                  <a:pt x="-1" y="6665"/>
                  <a:pt x="9" y="3341"/>
                  <a:pt x="8" y="3"/>
                </a:cubicBezTo>
                <a:close/>
              </a:path>
            </a:pathLst>
          </a:custGeom>
          <a:solidFill>
            <a:schemeClr val="bg1">
              <a:alpha val="70000"/>
            </a:schemeClr>
          </a:solidFill>
        </p:spPr>
        <p:txBody>
          <a:bodyPr lIns="365760" tIns="137160" rIns="137160" bIns="1097280" anchor="b" anchorCtr="0">
            <a:noAutofit/>
          </a:bodyPr>
          <a:lstStyle>
            <a:lvl1pPr>
              <a:defRPr sz="6000" spc="-100" baseline="0">
                <a:solidFill>
                  <a:schemeClr val="tx1"/>
                </a:solidFill>
              </a:defRPr>
            </a:lvl1pPr>
          </a:lstStyle>
          <a:p>
            <a:r>
              <a:rPr lang="en-US" dirty="0"/>
              <a:t>Section title</a:t>
            </a:r>
          </a:p>
        </p:txBody>
      </p:sp>
      <p:sp>
        <p:nvSpPr>
          <p:cNvPr id="5" name="Picture Placeholder 4"/>
          <p:cNvSpPr>
            <a:spLocks noGrp="1"/>
          </p:cNvSpPr>
          <p:nvPr>
            <p:ph type="pic" sz="quarter" idx="10" hasCustomPrompt="1"/>
          </p:nvPr>
        </p:nvSpPr>
        <p:spPr>
          <a:xfrm>
            <a:off x="0" y="-4824"/>
            <a:ext cx="12192000" cy="6865568"/>
          </a:xfrm>
        </p:spPr>
        <p:txBody>
          <a:bodyPr/>
          <a:lstStyle>
            <a:lvl1pPr>
              <a:defRPr baseline="0">
                <a:solidFill>
                  <a:schemeClr val="tx1"/>
                </a:solidFill>
              </a:defRPr>
            </a:lvl1pPr>
          </a:lstStyle>
          <a:p>
            <a:r>
              <a:rPr lang="en-US" dirty="0"/>
              <a:t>Click on icon to</a:t>
            </a:r>
            <a:br>
              <a:rPr lang="en-US" dirty="0"/>
            </a:br>
            <a:r>
              <a:rPr lang="en-US" dirty="0"/>
              <a:t>insert picture then</a:t>
            </a:r>
            <a:br>
              <a:rPr lang="en-US" dirty="0"/>
            </a:br>
            <a:r>
              <a:rPr lang="en-US" dirty="0"/>
              <a:t>send to back</a:t>
            </a:r>
          </a:p>
        </p:txBody>
      </p:sp>
    </p:spTree>
    <p:extLst>
      <p:ext uri="{BB962C8B-B14F-4D97-AF65-F5344CB8AC3E}">
        <p14:creationId xmlns:p14="http://schemas.microsoft.com/office/powerpoint/2010/main" val="3316114810"/>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1_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921"/>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3" y="913912"/>
            <a:ext cx="12192000" cy="373063"/>
          </a:xfrm>
          <a:prstGeom prst="rect">
            <a:avLst/>
          </a:prstGeom>
        </p:spPr>
        <p:txBody>
          <a:bodyPr lIns="320040" tIns="53325" rIns="53325" bIns="53325">
            <a:noAutofit/>
          </a:bodyPr>
          <a:lstStyle>
            <a:lvl1pPr marL="0" indent="0">
              <a:buNone/>
              <a:defRPr sz="2745">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3780746734"/>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85921897"/>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2581843164"/>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0449960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4" name="Picture 3" descr="10GRID2a.jpg"/>
          <p:cNvPicPr>
            <a:picLocks noChangeAspect="1"/>
          </p:cNvPicPr>
          <p:nvPr/>
        </p:nvPicPr>
        <p:blipFill>
          <a:blip r:embed="rId2">
            <a:alphaModFix amt="58000"/>
            <a:extLst>
              <a:ext uri="{28A0092B-C50C-407E-A947-70E740481C1C}">
                <a14:useLocalDpi xmlns:a14="http://schemas.microsoft.com/office/drawing/2010/main" val="0"/>
              </a:ext>
            </a:extLst>
          </a:blip>
          <a:stretch>
            <a:fillRect/>
          </a:stretch>
        </p:blipFill>
        <p:spPr>
          <a:xfrm>
            <a:off x="0" y="-1"/>
            <a:ext cx="12192826" cy="6856679"/>
          </a:xfrm>
          <a:prstGeom prst="rect">
            <a:avLst/>
          </a:prstGeom>
        </p:spPr>
      </p:pic>
      <p:grpSp>
        <p:nvGrpSpPr>
          <p:cNvPr id="2" name="Group 1"/>
          <p:cNvGrpSpPr/>
          <p:nvPr/>
        </p:nvGrpSpPr>
        <p:grpSpPr>
          <a:xfrm>
            <a:off x="185326" y="2326039"/>
            <a:ext cx="11836065" cy="4398590"/>
            <a:chOff x="185277" y="2326039"/>
            <a:chExt cx="12064064" cy="4484488"/>
          </a:xfrm>
        </p:grpSpPr>
        <p:sp>
          <p:nvSpPr>
            <p:cNvPr id="8" name="Rectangle 7"/>
            <p:cNvSpPr/>
            <p:nvPr/>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pic>
        <p:nvPicPr>
          <p:cNvPr id="36" name="Picture 35" descr="10GRID2a.jpg"/>
          <p:cNvPicPr>
            <a:picLocks noChangeAspect="1"/>
          </p:cNvPicPr>
          <p:nvPr userDrawn="1"/>
        </p:nvPicPr>
        <p:blipFill>
          <a:blip r:embed="rId2">
            <a:alphaModFix amt="58000"/>
            <a:extLst>
              <a:ext uri="{28A0092B-C50C-407E-A947-70E740481C1C}">
                <a14:useLocalDpi xmlns:a14="http://schemas.microsoft.com/office/drawing/2010/main" val="0"/>
              </a:ext>
            </a:extLst>
          </a:blip>
          <a:stretch>
            <a:fillRect/>
          </a:stretch>
        </p:blipFill>
        <p:spPr>
          <a:xfrm>
            <a:off x="0" y="-1"/>
            <a:ext cx="12192826" cy="6856679"/>
          </a:xfrm>
          <a:prstGeom prst="rect">
            <a:avLst/>
          </a:prstGeom>
        </p:spPr>
      </p:pic>
      <p:grpSp>
        <p:nvGrpSpPr>
          <p:cNvPr id="37" name="Group 36"/>
          <p:cNvGrpSpPr/>
          <p:nvPr userDrawn="1"/>
        </p:nvGrpSpPr>
        <p:grpSpPr>
          <a:xfrm>
            <a:off x="185326" y="2326039"/>
            <a:ext cx="11836065" cy="4398590"/>
            <a:chOff x="185277" y="2326039"/>
            <a:chExt cx="12064064" cy="4484488"/>
          </a:xfrm>
        </p:grpSpPr>
        <p:sp>
          <p:nvSpPr>
            <p:cNvPr id="38" name="Rectangle 3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9" name="Rectangle 3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0" name="Rectangle 3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2" name="Rectangle 4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3" name="Rectangle 4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4" name="Rectangle 4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5" name="Group 44"/>
            <p:cNvGrpSpPr/>
            <p:nvPr userDrawn="1"/>
          </p:nvGrpSpPr>
          <p:grpSpPr>
            <a:xfrm>
              <a:off x="185277" y="2326039"/>
              <a:ext cx="12064064" cy="1459104"/>
              <a:chOff x="185277" y="2031977"/>
              <a:chExt cx="12064064" cy="1459104"/>
            </a:xfrm>
          </p:grpSpPr>
          <p:sp>
            <p:nvSpPr>
              <p:cNvPr id="56" name="Rectangle 5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1" name="Rectangle 6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2" name="Rectangle 6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3" name="Rectangle 6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6" name="Group 45"/>
            <p:cNvGrpSpPr/>
            <p:nvPr userDrawn="1"/>
          </p:nvGrpSpPr>
          <p:grpSpPr>
            <a:xfrm>
              <a:off x="185277" y="3845414"/>
              <a:ext cx="12064064" cy="1459104"/>
              <a:chOff x="185277" y="3564719"/>
              <a:chExt cx="12064064" cy="1459104"/>
            </a:xfrm>
          </p:grpSpPr>
          <p:sp>
            <p:nvSpPr>
              <p:cNvPr id="48" name="Rectangle 47"/>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Rectangle 48"/>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Rectangle 49"/>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1" name="Rectangle 50"/>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2" name="Rectangle 51"/>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47" name="Rectangle 46"/>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736424877"/>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70212282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7923744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052989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71250064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2" y="1600200"/>
            <a:ext cx="11890297" cy="20217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11430002" y="6477875"/>
            <a:ext cx="761998" cy="380126"/>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3048000" y="6477873"/>
            <a:ext cx="8381999" cy="380127"/>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31428142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8600" y="1600200"/>
            <a:ext cx="11355228"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4272866738"/>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2983068950"/>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3914686"/>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641761879"/>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694183787"/>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93178060"/>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ru-RU"/>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ru-RU"/>
          </a:p>
        </p:txBody>
      </p:sp>
      <p:sp>
        <p:nvSpPr>
          <p:cNvPr id="4" name="Date Placeholder 3"/>
          <p:cNvSpPr>
            <a:spLocks noGrp="1"/>
          </p:cNvSpPr>
          <p:nvPr>
            <p:ph type="dt" sz="half"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EA60CCB-AE1F-42AE-BE6B-FBEEC8466A3D}" type="datetimeFigureOut">
              <a:rPr kumimoji="0" lang="ru-RU"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10.2016</a:t>
            </a:fld>
            <a:endParaRPr kumimoji="0" lang="ru-RU" sz="1800" b="0" i="0" u="none" strike="noStrike" kern="0" cap="none" spc="0" normalizeH="0" baseline="0" noProof="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endParaRPr>
          </a:p>
        </p:txBody>
      </p:sp>
      <p:sp>
        <p:nvSpPr>
          <p:cNvPr id="6" name="Slide Number Placeholder 5"/>
          <p:cNvSpPr>
            <a:spLocks noGrp="1"/>
          </p:cNvSpPr>
          <p:nvPr>
            <p:ph type="sldNum" sz="quarter"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71DB0D69-CE2A-4159-9EA8-CA793A11FB4E}" type="slidenum">
              <a:rPr kumimoji="0" lang="ru-RU"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a:t>
            </a:fld>
            <a:endParaRPr kumimoji="0" lang="ru-RU"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6561477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Mobile, Social, Cloud">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49617" y="135554"/>
            <a:ext cx="10058400" cy="727715"/>
          </a:xfrm>
          <a:prstGeom prst="rect">
            <a:avLst/>
          </a:prstGeom>
        </p:spPr>
        <p:txBody>
          <a:bodyPr vert="horz" lIns="0" tIns="0" rIns="0" bIns="0" rtlCol="0" anchor="ctr">
            <a:normAutofit/>
          </a:bodyPr>
          <a:lstStyle>
            <a:lvl1pPr>
              <a:defRPr sz="4000">
                <a:solidFill>
                  <a:schemeClr val="bg1"/>
                </a:solidFill>
              </a:defRPr>
            </a:lvl1pPr>
          </a:lstStyle>
          <a:p>
            <a:r>
              <a:rPr lang="en-US" dirty="0"/>
              <a:t>Title</a:t>
            </a:r>
          </a:p>
        </p:txBody>
      </p:sp>
      <p:sp>
        <p:nvSpPr>
          <p:cNvPr id="4" name="Text Placeholder 3"/>
          <p:cNvSpPr>
            <a:spLocks noGrp="1"/>
          </p:cNvSpPr>
          <p:nvPr>
            <p:ph type="body" sz="quarter" idx="12" hasCustomPrompt="1"/>
          </p:nvPr>
        </p:nvSpPr>
        <p:spPr>
          <a:xfrm>
            <a:off x="349616" y="869950"/>
            <a:ext cx="10058400" cy="273050"/>
          </a:xfrm>
          <a:prstGeom prst="rect">
            <a:avLst/>
          </a:prstGeom>
        </p:spPr>
        <p:txBody>
          <a:bodyPr lIns="0" tIns="0" rIns="0" bIns="0">
            <a:noAutofit/>
          </a:bodyPr>
          <a:lstStyle>
            <a:lvl1pPr>
              <a:lnSpc>
                <a:spcPts val="2000"/>
              </a:lnSpc>
              <a:defRPr sz="2000">
                <a:solidFill>
                  <a:srgbClr val="505050"/>
                </a:solidFill>
                <a:latin typeface="+mj-lt"/>
              </a:defRPr>
            </a:lvl1pPr>
          </a:lstStyle>
          <a:p>
            <a:pPr lvl="0"/>
            <a:r>
              <a:rPr lang="en-US" dirty="0"/>
              <a:t>Subtitle</a:t>
            </a:r>
          </a:p>
        </p:txBody>
      </p:sp>
      <p:sp>
        <p:nvSpPr>
          <p:cNvPr id="21" name="Text Placeholder 20"/>
          <p:cNvSpPr>
            <a:spLocks noGrp="1"/>
          </p:cNvSpPr>
          <p:nvPr>
            <p:ph type="body" sz="quarter" idx="16" hasCustomPrompt="1"/>
          </p:nvPr>
        </p:nvSpPr>
        <p:spPr>
          <a:xfrm>
            <a:off x="4010024" y="2476500"/>
            <a:ext cx="2085974" cy="1895475"/>
          </a:xfrm>
          <a:prstGeom prst="rect">
            <a:avLst/>
          </a:prstGeom>
        </p:spPr>
        <p:txBody>
          <a:bodyPr lIns="0"/>
          <a:lstStyle>
            <a:lvl1pPr marL="182880" indent="-182880">
              <a:buFont typeface="Arial" panose="020B0604020202020204" pitchFamily="34" charset="0"/>
              <a:buChar char="•"/>
              <a:defRPr sz="1300" baseline="0"/>
            </a:lvl1pPr>
          </a:lstStyle>
          <a:p>
            <a:pPr lvl="0"/>
            <a:r>
              <a:rPr lang="en-US" dirty="0"/>
              <a:t>Place body copy here</a:t>
            </a:r>
          </a:p>
        </p:txBody>
      </p:sp>
      <p:sp>
        <p:nvSpPr>
          <p:cNvPr id="22" name="Text Placeholder 20"/>
          <p:cNvSpPr>
            <a:spLocks noGrp="1"/>
          </p:cNvSpPr>
          <p:nvPr>
            <p:ph type="body" sz="quarter" idx="17" hasCustomPrompt="1"/>
          </p:nvPr>
        </p:nvSpPr>
        <p:spPr>
          <a:xfrm>
            <a:off x="6480104" y="2476500"/>
            <a:ext cx="2128909" cy="1895475"/>
          </a:xfrm>
          <a:prstGeom prst="rect">
            <a:avLst/>
          </a:prstGeom>
        </p:spPr>
        <p:txBody>
          <a:bodyPr lIns="0"/>
          <a:lstStyle>
            <a:lvl1pPr marL="182880" indent="-182880">
              <a:buFont typeface="Arial" panose="020B0604020202020204" pitchFamily="34" charset="0"/>
              <a:buChar char="•"/>
              <a:defRPr sz="1300" baseline="0"/>
            </a:lvl1pPr>
          </a:lstStyle>
          <a:p>
            <a:pPr lvl="0"/>
            <a:r>
              <a:rPr lang="en-US" dirty="0"/>
              <a:t>Place body copy here</a:t>
            </a:r>
          </a:p>
        </p:txBody>
      </p:sp>
      <p:sp>
        <p:nvSpPr>
          <p:cNvPr id="17" name="Picture Placeholder 7"/>
          <p:cNvSpPr>
            <a:spLocks noGrp="1"/>
          </p:cNvSpPr>
          <p:nvPr>
            <p:ph type="pic" sz="quarter" idx="21" hasCustomPrompt="1"/>
          </p:nvPr>
        </p:nvSpPr>
        <p:spPr>
          <a:xfrm>
            <a:off x="10617740" y="135554"/>
            <a:ext cx="1399032" cy="734396"/>
          </a:xfrm>
          <a:prstGeom prst="rect">
            <a:avLst/>
          </a:prstGeom>
        </p:spPr>
        <p:txBody>
          <a:bodyPr/>
          <a:lstStyle>
            <a:lvl1pPr>
              <a:defRPr sz="1600" baseline="0">
                <a:solidFill>
                  <a:schemeClr val="accent1">
                    <a:lumMod val="60000"/>
                    <a:lumOff val="40000"/>
                  </a:schemeClr>
                </a:solidFill>
              </a:defRPr>
            </a:lvl1pPr>
          </a:lstStyle>
          <a:p>
            <a:r>
              <a:rPr lang="en-US" dirty="0"/>
              <a:t>Place partner logo here</a:t>
            </a:r>
          </a:p>
        </p:txBody>
      </p:sp>
      <p:sp>
        <p:nvSpPr>
          <p:cNvPr id="5" name="Picture Placeholder 4"/>
          <p:cNvSpPr>
            <a:spLocks noGrp="1"/>
          </p:cNvSpPr>
          <p:nvPr>
            <p:ph type="pic" sz="quarter" idx="22"/>
          </p:nvPr>
        </p:nvSpPr>
        <p:spPr>
          <a:xfrm>
            <a:off x="0" y="1984376"/>
            <a:ext cx="3825240" cy="2463800"/>
          </a:xfrm>
          <a:prstGeom prst="rect">
            <a:avLst/>
          </a:prstGeom>
        </p:spPr>
        <p:txBody>
          <a:bodyPr/>
          <a:lstStyle/>
          <a:p>
            <a:endParaRPr lang="en-US" dirty="0"/>
          </a:p>
        </p:txBody>
      </p:sp>
      <p:sp>
        <p:nvSpPr>
          <p:cNvPr id="9" name="Text Placeholder 3"/>
          <p:cNvSpPr>
            <a:spLocks noGrp="1"/>
          </p:cNvSpPr>
          <p:nvPr>
            <p:ph type="body" sz="quarter" idx="23" hasCustomPrompt="1"/>
          </p:nvPr>
        </p:nvSpPr>
        <p:spPr>
          <a:xfrm>
            <a:off x="349616" y="1143000"/>
            <a:ext cx="10058400" cy="273050"/>
          </a:xfrm>
          <a:prstGeom prst="rect">
            <a:avLst/>
          </a:prstGeom>
        </p:spPr>
        <p:txBody>
          <a:bodyPr lIns="0" tIns="0" rIns="0" bIns="0">
            <a:noAutofit/>
          </a:bodyPr>
          <a:lstStyle>
            <a:lvl1pPr>
              <a:lnSpc>
                <a:spcPts val="2000"/>
              </a:lnSpc>
              <a:defRPr sz="1400">
                <a:solidFill>
                  <a:srgbClr val="505050"/>
                </a:solidFill>
                <a:latin typeface="+mj-lt"/>
              </a:defRPr>
            </a:lvl1pPr>
          </a:lstStyle>
          <a:p>
            <a:pPr lvl="0"/>
            <a:r>
              <a:rPr lang="en-US" dirty="0"/>
              <a:t>Sub-subtitle</a:t>
            </a:r>
          </a:p>
        </p:txBody>
      </p:sp>
    </p:spTree>
    <p:extLst>
      <p:ext uri="{BB962C8B-B14F-4D97-AF65-F5344CB8AC3E}">
        <p14:creationId xmlns:p14="http://schemas.microsoft.com/office/powerpoint/2010/main" val="2315824081"/>
      </p:ext>
    </p:extLst>
  </p:cSld>
  <p:clrMapOvr>
    <a:masterClrMapping/>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userDrawn="1">
  <p:cSld name="4_Five-tiles text">
    <p:spTree>
      <p:nvGrpSpPr>
        <p:cNvPr id="1" name=""/>
        <p:cNvGrpSpPr/>
        <p:nvPr/>
      </p:nvGrpSpPr>
      <p:grpSpPr>
        <a:xfrm>
          <a:off x="0" y="0"/>
          <a:ext cx="0" cy="0"/>
          <a:chOff x="0" y="0"/>
          <a:chExt cx="0" cy="0"/>
        </a:xfrm>
      </p:grpSpPr>
      <p:sp>
        <p:nvSpPr>
          <p:cNvPr id="15" name="Rectangle 14"/>
          <p:cNvSpPr/>
          <p:nvPr userDrawn="1"/>
        </p:nvSpPr>
        <p:spPr>
          <a:xfrm>
            <a:off x="4724043" y="3063880"/>
            <a:ext cx="2743914" cy="2651125"/>
          </a:xfrm>
          <a:prstGeom prst="rect">
            <a:avLst/>
          </a:prstGeom>
          <a:solidFill>
            <a:schemeClr val="accent3"/>
          </a:solidFill>
          <a:ln>
            <a:noFill/>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121868" tIns="60934" rIns="121868" bIns="60934" numCol="1" spcCol="0" rtlCol="0" fromWordArt="0" anchor="t" anchorCtr="0" forceAA="0" compatLnSpc="1">
            <a:prstTxWarp prst="textNoShape">
              <a:avLst/>
            </a:prstTxWarp>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ru-RU" sz="1900" b="0" i="0" u="none" strike="noStrike" kern="0" cap="none" spc="0" normalizeH="0" baseline="0" noProof="0" dirty="0">
                <a:ln>
                  <a:noFill/>
                </a:ln>
                <a:solidFill>
                  <a:srgbClr val="FFFFFF"/>
                </a:solidFill>
                <a:effectLst/>
                <a:uLnTx/>
                <a:uFillTx/>
              </a:rPr>
              <a:t>Решение</a:t>
            </a:r>
            <a:endParaRPr kumimoji="0" lang="en-US" sz="1900" b="0" i="0" u="none" strike="noStrike" kern="0" cap="none" spc="0" normalizeH="0" baseline="0" noProof="0" dirty="0">
              <a:ln>
                <a:noFill/>
              </a:ln>
              <a:solidFill>
                <a:srgbClr val="FFFFFF"/>
              </a:solidFill>
              <a:effectLst/>
              <a:uLnTx/>
              <a:uFillTx/>
            </a:endParaRPr>
          </a:p>
        </p:txBody>
      </p:sp>
      <p:sp>
        <p:nvSpPr>
          <p:cNvPr id="5" name="Rectangle 4"/>
          <p:cNvSpPr/>
          <p:nvPr userDrawn="1"/>
        </p:nvSpPr>
        <p:spPr>
          <a:xfrm>
            <a:off x="1980133" y="3063880"/>
            <a:ext cx="2743913" cy="2651125"/>
          </a:xfrm>
          <a:prstGeom prst="rect">
            <a:avLst/>
          </a:prstGeom>
          <a:solidFill>
            <a:srgbClr val="00188F"/>
          </a:solidFill>
          <a:ln w="952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28016" rIns="155448" bIns="128016"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ts val="300"/>
              </a:spcAft>
              <a:buClrTx/>
              <a:buSzTx/>
              <a:buFontTx/>
              <a:buNone/>
              <a:tabLst/>
              <a:defRPr/>
            </a:pPr>
            <a:r>
              <a:rPr kumimoji="0" lang="ru-RU" sz="1900" b="0" i="0" u="none" strike="noStrike" kern="0" cap="none" spc="0" normalizeH="0" baseline="0" noProof="0" dirty="0">
                <a:ln>
                  <a:noFill/>
                </a:ln>
                <a:solidFill>
                  <a:srgbClr val="FFFFFF"/>
                </a:solidFill>
                <a:effectLst/>
                <a:uLnTx/>
                <a:uFillTx/>
              </a:rPr>
              <a:t>Проблема</a:t>
            </a:r>
            <a:endParaRPr kumimoji="0" lang="en-US" sz="1900" b="0" i="0" u="none" strike="noStrike" kern="0" cap="none" spc="0" normalizeH="0" baseline="0" noProof="0" dirty="0">
              <a:ln>
                <a:noFill/>
              </a:ln>
              <a:solidFill>
                <a:srgbClr val="FFFFFF"/>
              </a:solidFill>
              <a:effectLst/>
              <a:uLnTx/>
              <a:uFillTx/>
            </a:endParaRPr>
          </a:p>
        </p:txBody>
      </p:sp>
      <p:sp>
        <p:nvSpPr>
          <p:cNvPr id="17" name="Rectangle 16"/>
          <p:cNvSpPr/>
          <p:nvPr userDrawn="1"/>
        </p:nvSpPr>
        <p:spPr>
          <a:xfrm>
            <a:off x="7467957" y="3063880"/>
            <a:ext cx="4573126" cy="2651125"/>
          </a:xfrm>
          <a:prstGeom prst="rect">
            <a:avLst/>
          </a:prstGeom>
          <a:solidFill>
            <a:srgbClr val="6DC2E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28016" rIns="155448" bIns="128016"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ts val="300"/>
              </a:spcAft>
              <a:buClrTx/>
              <a:buSzTx/>
              <a:buFontTx/>
              <a:buNone/>
              <a:tabLst/>
              <a:defRPr/>
            </a:pPr>
            <a:r>
              <a:rPr kumimoji="0" lang="ru-RU" sz="1900" b="0" i="0" u="none" strike="noStrike" kern="0" cap="none" spc="0" normalizeH="0" baseline="0" noProof="0" dirty="0">
                <a:ln>
                  <a:noFill/>
                </a:ln>
                <a:solidFill>
                  <a:schemeClr val="tx1"/>
                </a:solidFill>
                <a:effectLst/>
                <a:uLnTx/>
                <a:uFillTx/>
              </a:rPr>
              <a:t>Полученные результаты</a:t>
            </a:r>
            <a:endParaRPr kumimoji="0" lang="en-US" sz="1900" b="0" i="0" u="none" strike="noStrike" kern="0" cap="none" spc="0" normalizeH="0" baseline="0" noProof="0" dirty="0">
              <a:ln>
                <a:noFill/>
              </a:ln>
              <a:solidFill>
                <a:schemeClr val="tx1"/>
              </a:solidFill>
              <a:effectLst/>
              <a:uLnTx/>
              <a:uFillTx/>
            </a:endParaRPr>
          </a:p>
        </p:txBody>
      </p:sp>
      <p:sp>
        <p:nvSpPr>
          <p:cNvPr id="13" name="Text Placeholder 14"/>
          <p:cNvSpPr>
            <a:spLocks noGrp="1"/>
          </p:cNvSpPr>
          <p:nvPr>
            <p:ph type="body" sz="quarter" idx="15" hasCustomPrompt="1"/>
          </p:nvPr>
        </p:nvSpPr>
        <p:spPr>
          <a:xfrm>
            <a:off x="4815522" y="3520443"/>
            <a:ext cx="2652437" cy="2194561"/>
          </a:xfrm>
          <a:noFill/>
        </p:spPr>
        <p:txBody>
          <a:bodyPr vert="horz" wrap="square" lIns="60934" tIns="0" rIns="60934" bIns="60934" rtlCol="0">
            <a:normAutofit/>
          </a:bodyPr>
          <a:lstStyle>
            <a:lvl1pPr marL="0" indent="0">
              <a:buFontTx/>
              <a:buNone/>
              <a:defRPr lang="en-US" sz="1500" dirty="0" smtClean="0">
                <a:solidFill>
                  <a:schemeClr val="bg1"/>
                </a:solidFill>
              </a:defRPr>
            </a:lvl1pPr>
          </a:lstStyle>
          <a:p>
            <a:pPr marL="154452" lvl="0" indent="-154452">
              <a:lnSpc>
                <a:spcPct val="100000"/>
              </a:lnSpc>
              <a:spcAft>
                <a:spcPts val="800"/>
              </a:spcAft>
            </a:pPr>
            <a:r>
              <a:rPr lang="en-US" dirty="0"/>
              <a:t>Click to edit slide content</a:t>
            </a:r>
          </a:p>
        </p:txBody>
      </p:sp>
      <p:sp>
        <p:nvSpPr>
          <p:cNvPr id="2" name="Title 1"/>
          <p:cNvSpPr>
            <a:spLocks noGrp="1"/>
          </p:cNvSpPr>
          <p:nvPr>
            <p:ph type="title" hasCustomPrompt="1"/>
          </p:nvPr>
        </p:nvSpPr>
        <p:spPr>
          <a:xfrm>
            <a:off x="150854" y="1143005"/>
            <a:ext cx="7317105" cy="1920875"/>
          </a:xfr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5448" tIns="128016" rIns="155448" bIns="128016" numCol="1" spcCol="0" rtlCol="0" fromWordArt="0" anchor="t" anchorCtr="0" forceAA="0" compatLnSpc="1">
            <a:prstTxWarp prst="textNoShape">
              <a:avLst/>
            </a:prstTxWarp>
            <a:noAutofit/>
          </a:bodyPr>
          <a:lstStyle>
            <a:lvl1pPr>
              <a:defRPr lang="en-US" sz="3200" dirty="0" smtClean="0">
                <a:solidFill>
                  <a:schemeClr val="bg1"/>
                </a:solidFill>
                <a:latin typeface="+mn-lt"/>
                <a:cs typeface="+mn-cs"/>
              </a:defRPr>
            </a:lvl1pPr>
          </a:lstStyle>
          <a:p>
            <a:pPr marL="0" lvl="0" defTabSz="932472" fontAlgn="base">
              <a:spcAft>
                <a:spcPts val="300"/>
              </a:spcAft>
            </a:pPr>
            <a:r>
              <a:rPr lang="en-US" dirty="0"/>
              <a:t>Case Study Title</a:t>
            </a:r>
          </a:p>
        </p:txBody>
      </p:sp>
      <p:sp>
        <p:nvSpPr>
          <p:cNvPr id="11" name="Text Placeholder 14"/>
          <p:cNvSpPr>
            <a:spLocks noGrp="1"/>
          </p:cNvSpPr>
          <p:nvPr>
            <p:ph type="body" sz="quarter" idx="13" hasCustomPrompt="1"/>
          </p:nvPr>
        </p:nvSpPr>
        <p:spPr>
          <a:xfrm>
            <a:off x="2071637" y="3520443"/>
            <a:ext cx="2652408" cy="2194561"/>
          </a:xfrm>
          <a:noFill/>
        </p:spPr>
        <p:txBody>
          <a:bodyPr vert="horz" wrap="square" lIns="60934" tIns="0" rIns="60934" bIns="60934" rtlCol="0">
            <a:normAutofit/>
          </a:bodyPr>
          <a:lstStyle>
            <a:lvl1pPr>
              <a:defRPr lang="en-US" sz="1500" dirty="0" smtClean="0">
                <a:solidFill>
                  <a:schemeClr val="bg1"/>
                </a:solidFill>
              </a:defRPr>
            </a:lvl1pPr>
          </a:lstStyle>
          <a:p>
            <a:pPr marL="154452" lvl="0" indent="-154452">
              <a:lnSpc>
                <a:spcPct val="100000"/>
              </a:lnSpc>
              <a:spcAft>
                <a:spcPts val="800"/>
              </a:spcAft>
              <a:buFontTx/>
              <a:buNone/>
            </a:pPr>
            <a:r>
              <a:rPr lang="en-US" dirty="0"/>
              <a:t>Click to edit slide content</a:t>
            </a:r>
          </a:p>
        </p:txBody>
      </p:sp>
      <p:sp>
        <p:nvSpPr>
          <p:cNvPr id="12" name="Text Placeholder 14"/>
          <p:cNvSpPr>
            <a:spLocks noGrp="1"/>
          </p:cNvSpPr>
          <p:nvPr>
            <p:ph type="body" sz="quarter" idx="14" hasCustomPrompt="1"/>
          </p:nvPr>
        </p:nvSpPr>
        <p:spPr>
          <a:xfrm>
            <a:off x="7467957" y="1228561"/>
            <a:ext cx="4573126" cy="1828543"/>
          </a:xfrm>
          <a:noFill/>
        </p:spPr>
        <p:txBody>
          <a:bodyPr vert="horz" lIns="60934" tIns="0" rIns="60934" bIns="60934" rtlCol="0">
            <a:normAutofit/>
          </a:bodyPr>
          <a:lstStyle>
            <a:lvl1pPr marL="0" indent="0" algn="ctr" eaLnBrk="1" hangingPunct="1">
              <a:lnSpc>
                <a:spcPct val="120000"/>
              </a:lnSpc>
              <a:buNone/>
              <a:defRPr lang="en-US" sz="2000" kern="800" dirty="0" smtClean="0">
                <a:solidFill>
                  <a:schemeClr val="accent1"/>
                </a:solidFill>
                <a:latin typeface="+mn-lt"/>
                <a:cs typeface="Segoe UI Light"/>
              </a:defRPr>
            </a:lvl1pPr>
            <a:lvl2pPr marL="336111" indent="0" algn="ctr" eaLnBrk="1" hangingPunct="1">
              <a:lnSpc>
                <a:spcPct val="120000"/>
              </a:lnSpc>
              <a:buNone/>
              <a:defRPr lang="en-US" sz="1900" kern="800" dirty="0" smtClean="0">
                <a:solidFill>
                  <a:schemeClr val="accent3"/>
                </a:solidFill>
                <a:latin typeface="+mn-lt"/>
                <a:cs typeface="Segoe UI Light"/>
              </a:defRPr>
            </a:lvl2pPr>
          </a:lstStyle>
          <a:p>
            <a:pPr lvl="0"/>
            <a:r>
              <a:rPr lang="en-US" dirty="0"/>
              <a:t>“Insert Quote Here”</a:t>
            </a:r>
          </a:p>
          <a:p>
            <a:pPr lvl="0"/>
            <a:endParaRPr lang="en-US" dirty="0"/>
          </a:p>
        </p:txBody>
      </p:sp>
      <p:sp>
        <p:nvSpPr>
          <p:cNvPr id="16" name="Content Placeholder 5"/>
          <p:cNvSpPr>
            <a:spLocks noGrp="1"/>
          </p:cNvSpPr>
          <p:nvPr>
            <p:ph sz="quarter" idx="16" hasCustomPrompt="1"/>
          </p:nvPr>
        </p:nvSpPr>
        <p:spPr>
          <a:xfrm>
            <a:off x="7559407" y="3520443"/>
            <a:ext cx="4481678" cy="2194561"/>
          </a:xfrm>
          <a:noFill/>
        </p:spPr>
        <p:txBody>
          <a:bodyPr vert="horz" wrap="square" lIns="60934" tIns="0" rIns="60934" bIns="60934" rtlCol="0">
            <a:normAutofit/>
          </a:bodyPr>
          <a:lstStyle>
            <a:lvl1pPr marL="0" indent="0">
              <a:buFontTx/>
              <a:buNone/>
              <a:defRPr lang="en-US" sz="1500" dirty="0" smtClean="0">
                <a:solidFill>
                  <a:schemeClr val="bg1"/>
                </a:solidFill>
              </a:defRPr>
            </a:lvl1pPr>
            <a:lvl2pPr>
              <a:defRPr lang="en-US" dirty="0" smtClean="0"/>
            </a:lvl2pPr>
          </a:lstStyle>
          <a:p>
            <a:pPr marL="154452" lvl="0" indent="-154452">
              <a:lnSpc>
                <a:spcPct val="100000"/>
              </a:lnSpc>
              <a:spcAft>
                <a:spcPts val="800"/>
              </a:spcAft>
            </a:pPr>
            <a:r>
              <a:rPr lang="en-US" dirty="0"/>
              <a:t>Click to edit slide content</a:t>
            </a:r>
          </a:p>
        </p:txBody>
      </p:sp>
      <p:sp>
        <p:nvSpPr>
          <p:cNvPr id="7" name="Picture Placeholder 6"/>
          <p:cNvSpPr>
            <a:spLocks noGrp="1"/>
          </p:cNvSpPr>
          <p:nvPr>
            <p:ph type="pic" sz="quarter" idx="17" hasCustomPrompt="1"/>
          </p:nvPr>
        </p:nvSpPr>
        <p:spPr>
          <a:xfrm>
            <a:off x="150917" y="3627442"/>
            <a:ext cx="1727200" cy="458007"/>
          </a:xfrm>
        </p:spPr>
        <p:txBody>
          <a:bodyPr/>
          <a:lstStyle>
            <a:lvl1pPr marL="0" indent="0">
              <a:buNone/>
              <a:defRPr sz="2000">
                <a:solidFill>
                  <a:schemeClr val="accent1"/>
                </a:solidFill>
              </a:defRPr>
            </a:lvl1pPr>
          </a:lstStyle>
          <a:p>
            <a:r>
              <a:rPr lang="en-US" dirty="0"/>
              <a:t>Logo</a:t>
            </a:r>
          </a:p>
        </p:txBody>
      </p:sp>
      <p:pic>
        <p:nvPicPr>
          <p:cNvPr id="20" name="Picture Placeholder 2" descr="MSFT_logo_rgb_C-Gray.png"/>
          <p:cNvPicPr>
            <a:picLocks noChangeAspect="1"/>
          </p:cNvPicPr>
          <p:nvPr userDrawn="1"/>
        </p:nvPicPr>
        <p:blipFill>
          <a:blip r:embed="rId2" cstate="print">
            <a:extLst>
              <a:ext uri="{28A0092B-C50C-407E-A947-70E740481C1C}">
                <a14:useLocalDpi xmlns:a14="http://schemas.microsoft.com/office/drawing/2010/main" val="0"/>
              </a:ext>
            </a:extLst>
          </a:blip>
          <a:srcRect t="160" b="160"/>
          <a:stretch>
            <a:fillRect/>
          </a:stretch>
        </p:blipFill>
        <p:spPr>
          <a:xfrm>
            <a:off x="10324953" y="0"/>
            <a:ext cx="1867051" cy="685830"/>
          </a:xfrm>
          <a:prstGeom prst="rect">
            <a:avLst/>
          </a:prstGeom>
        </p:spPr>
      </p:pic>
      <p:sp>
        <p:nvSpPr>
          <p:cNvPr id="19" name="Text Placeholder 45"/>
          <p:cNvSpPr>
            <a:spLocks noGrp="1"/>
          </p:cNvSpPr>
          <p:nvPr>
            <p:ph type="body" sz="quarter" idx="20" hasCustomPrompt="1"/>
          </p:nvPr>
        </p:nvSpPr>
        <p:spPr>
          <a:xfrm>
            <a:off x="9752967" y="6296009"/>
            <a:ext cx="2265954" cy="333358"/>
          </a:xfrm>
        </p:spPr>
        <p:txBody>
          <a:bodyPr anchor="ctr"/>
          <a:lstStyle>
            <a:lvl1pPr marL="0" indent="0" algn="ctr">
              <a:buNone/>
              <a:defRPr sz="1100" cap="all" baseline="0">
                <a:solidFill>
                  <a:schemeClr val="tx1">
                    <a:lumMod val="95000"/>
                    <a:lumOff val="5000"/>
                  </a:schemeClr>
                </a:solidFill>
              </a:defRPr>
            </a:lvl1pPr>
            <a:lvl2pPr marL="346075" indent="0">
              <a:buNone/>
              <a:defRPr sz="1200">
                <a:solidFill>
                  <a:schemeClr val="bg1"/>
                </a:solidFill>
              </a:defRPr>
            </a:lvl2pPr>
            <a:lvl3pPr marL="630237" indent="0">
              <a:buNone/>
              <a:defRPr sz="1200">
                <a:solidFill>
                  <a:schemeClr val="bg1"/>
                </a:solidFill>
              </a:defRPr>
            </a:lvl3pPr>
            <a:lvl4pPr marL="1258887" indent="0">
              <a:buNone/>
              <a:defRPr sz="1200">
                <a:solidFill>
                  <a:schemeClr val="bg1"/>
                </a:solidFill>
              </a:defRPr>
            </a:lvl4pPr>
            <a:lvl5pPr marL="1482725" indent="0">
              <a:buNone/>
              <a:defRPr sz="1200">
                <a:solidFill>
                  <a:schemeClr val="bg1"/>
                </a:solidFill>
              </a:defRPr>
            </a:lvl5pPr>
          </a:lstStyle>
          <a:p>
            <a:pPr lvl="0"/>
            <a:r>
              <a:rPr lang="en-US" dirty="0"/>
              <a:t>READ THE FULL CASE STUDY</a:t>
            </a:r>
          </a:p>
        </p:txBody>
      </p:sp>
      <p:sp>
        <p:nvSpPr>
          <p:cNvPr id="21" name="Text Placeholder 45"/>
          <p:cNvSpPr>
            <a:spLocks noGrp="1"/>
          </p:cNvSpPr>
          <p:nvPr>
            <p:ph type="body" sz="quarter" idx="21" hasCustomPrompt="1"/>
          </p:nvPr>
        </p:nvSpPr>
        <p:spPr>
          <a:xfrm>
            <a:off x="7315203" y="6296007"/>
            <a:ext cx="2265954" cy="333358"/>
          </a:xfrm>
        </p:spPr>
        <p:txBody>
          <a:bodyPr anchor="ctr"/>
          <a:lstStyle>
            <a:lvl1pPr marL="0" indent="0" algn="ctr">
              <a:buNone/>
              <a:defRPr sz="1100" cap="all" baseline="0">
                <a:solidFill>
                  <a:schemeClr val="tx1">
                    <a:lumMod val="95000"/>
                    <a:lumOff val="5000"/>
                  </a:schemeClr>
                </a:solidFill>
              </a:defRPr>
            </a:lvl1pPr>
            <a:lvl2pPr marL="346075" indent="0">
              <a:buNone/>
              <a:defRPr sz="1200">
                <a:solidFill>
                  <a:schemeClr val="bg1"/>
                </a:solidFill>
              </a:defRPr>
            </a:lvl2pPr>
            <a:lvl3pPr marL="630237" indent="0">
              <a:buNone/>
              <a:defRPr sz="1200">
                <a:solidFill>
                  <a:schemeClr val="bg1"/>
                </a:solidFill>
              </a:defRPr>
            </a:lvl3pPr>
            <a:lvl4pPr marL="1258887" indent="0">
              <a:buNone/>
              <a:defRPr sz="1200">
                <a:solidFill>
                  <a:schemeClr val="bg1"/>
                </a:solidFill>
              </a:defRPr>
            </a:lvl4pPr>
            <a:lvl5pPr marL="1482725" indent="0">
              <a:buNone/>
              <a:defRPr sz="1200">
                <a:solidFill>
                  <a:schemeClr val="bg1"/>
                </a:solidFill>
              </a:defRPr>
            </a:lvl5pPr>
          </a:lstStyle>
          <a:p>
            <a:pPr lvl="0"/>
            <a:r>
              <a:rPr lang="en-US" dirty="0"/>
              <a:t>home</a:t>
            </a:r>
          </a:p>
        </p:txBody>
      </p:sp>
    </p:spTree>
    <p:extLst>
      <p:ext uri="{BB962C8B-B14F-4D97-AF65-F5344CB8AC3E}">
        <p14:creationId xmlns:p14="http://schemas.microsoft.com/office/powerpoint/2010/main" val="3688884588"/>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Title_&amp;_Subtitl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a:xfrm>
            <a:off x="349617" y="135554"/>
            <a:ext cx="11387524" cy="727715"/>
          </a:xfrm>
          <a:prstGeom prst="rect">
            <a:avLst/>
          </a:prstGeom>
        </p:spPr>
        <p:txBody>
          <a:bodyPr vert="horz" lIns="0" tIns="0" rIns="0" bIns="0" rtlCol="0" anchor="ctr">
            <a:normAutofit/>
          </a:bodyPr>
          <a:lstStyle>
            <a:lvl1pPr>
              <a:defRPr sz="4000">
                <a:solidFill>
                  <a:schemeClr val="bg2"/>
                </a:solidFill>
              </a:defRPr>
            </a:lvl1pPr>
          </a:lstStyle>
          <a:p>
            <a:r>
              <a:rPr lang="en-US" dirty="0"/>
              <a:t>Title</a:t>
            </a:r>
          </a:p>
        </p:txBody>
      </p:sp>
      <p:sp>
        <p:nvSpPr>
          <p:cNvPr id="4" name="Text Placeholder 3"/>
          <p:cNvSpPr>
            <a:spLocks noGrp="1"/>
          </p:cNvSpPr>
          <p:nvPr>
            <p:ph type="body" sz="quarter" idx="12" hasCustomPrompt="1"/>
          </p:nvPr>
        </p:nvSpPr>
        <p:spPr>
          <a:xfrm>
            <a:off x="349616" y="869950"/>
            <a:ext cx="11386771" cy="399984"/>
          </a:xfrm>
          <a:prstGeom prst="rect">
            <a:avLst/>
          </a:prstGeom>
        </p:spPr>
        <p:txBody>
          <a:bodyPr lIns="0" tIns="0" rIns="0" bIns="0">
            <a:noAutofit/>
          </a:bodyPr>
          <a:lstStyle>
            <a:lvl1pPr>
              <a:lnSpc>
                <a:spcPts val="2000"/>
              </a:lnSpc>
              <a:defRPr sz="2000">
                <a:solidFill>
                  <a:schemeClr val="bg2"/>
                </a:solidFill>
                <a:latin typeface="+mj-lt"/>
              </a:defRPr>
            </a:lvl1pPr>
          </a:lstStyle>
          <a:p>
            <a:pPr lvl="0"/>
            <a:r>
              <a:rPr lang="en-US" dirty="0"/>
              <a:t>Subtitle</a:t>
            </a:r>
          </a:p>
        </p:txBody>
      </p:sp>
    </p:spTree>
    <p:extLst>
      <p:ext uri="{BB962C8B-B14F-4D97-AF65-F5344CB8AC3E}">
        <p14:creationId xmlns:p14="http://schemas.microsoft.com/office/powerpoint/2010/main" val="577912089"/>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319602" y="1428402"/>
            <a:ext cx="5768774" cy="879910"/>
          </a:xfrm>
          <a:prstGeom prst="rect">
            <a:avLst/>
          </a:prstGeom>
        </p:spPr>
        <p:txBody>
          <a:bodyPr>
            <a:noAutofit/>
          </a:bodyPr>
          <a:lstStyle>
            <a:lvl1pPr>
              <a:defRPr sz="5000" baseline="0">
                <a:solidFill>
                  <a:schemeClr val="bg2"/>
                </a:solidFill>
              </a:defRPr>
            </a:lvl1pPr>
          </a:lstStyle>
          <a:p>
            <a:r>
              <a:rPr lang="en-US" dirty="0"/>
              <a:t>Headline here, second line here</a:t>
            </a:r>
          </a:p>
        </p:txBody>
      </p:sp>
      <p:sp>
        <p:nvSpPr>
          <p:cNvPr id="4" name="Subtitle 2"/>
          <p:cNvSpPr>
            <a:spLocks noGrp="1"/>
          </p:cNvSpPr>
          <p:nvPr>
            <p:ph type="subTitle" idx="1" hasCustomPrompt="1"/>
          </p:nvPr>
        </p:nvSpPr>
        <p:spPr>
          <a:xfrm>
            <a:off x="319661" y="4353453"/>
            <a:ext cx="5768707" cy="1034782"/>
          </a:xfrm>
          <a:prstGeom prst="rect">
            <a:avLst/>
          </a:prstGeom>
        </p:spPr>
        <p:txBody>
          <a:bodyPr>
            <a:normAutofit/>
          </a:bodyPr>
          <a:lstStyle>
            <a:lvl1pPr marL="0" indent="0" algn="l">
              <a:lnSpc>
                <a:spcPts val="2200"/>
              </a:lnSpc>
              <a:buNone/>
              <a:defRPr sz="1800">
                <a:solidFill>
                  <a:schemeClr val="bg2"/>
                </a:solidFill>
                <a:latin typeface="+mj-lt"/>
              </a:defRPr>
            </a:lvl1pPr>
            <a:lvl2pPr marL="448107" indent="0" algn="ctr">
              <a:buNone/>
              <a:defRPr>
                <a:solidFill>
                  <a:schemeClr val="tx1">
                    <a:tint val="75000"/>
                  </a:schemeClr>
                </a:solidFill>
              </a:defRPr>
            </a:lvl2pPr>
            <a:lvl3pPr marL="896214" indent="0" algn="ctr">
              <a:buNone/>
              <a:defRPr>
                <a:solidFill>
                  <a:schemeClr val="tx1">
                    <a:tint val="75000"/>
                  </a:schemeClr>
                </a:solidFill>
              </a:defRPr>
            </a:lvl3pPr>
            <a:lvl4pPr marL="1344321" indent="0" algn="ctr">
              <a:buNone/>
              <a:defRPr>
                <a:solidFill>
                  <a:schemeClr val="tx1">
                    <a:tint val="75000"/>
                  </a:schemeClr>
                </a:solidFill>
              </a:defRPr>
            </a:lvl4pPr>
            <a:lvl5pPr marL="1792429" indent="0" algn="ctr">
              <a:buNone/>
              <a:defRPr>
                <a:solidFill>
                  <a:schemeClr val="tx1">
                    <a:tint val="75000"/>
                  </a:schemeClr>
                </a:solidFill>
              </a:defRPr>
            </a:lvl5pPr>
            <a:lvl6pPr marL="2240535" indent="0" algn="ctr">
              <a:buNone/>
              <a:defRPr>
                <a:solidFill>
                  <a:schemeClr val="tx1">
                    <a:tint val="75000"/>
                  </a:schemeClr>
                </a:solidFill>
              </a:defRPr>
            </a:lvl6pPr>
            <a:lvl7pPr marL="2688642" indent="0" algn="ctr">
              <a:buNone/>
              <a:defRPr>
                <a:solidFill>
                  <a:schemeClr val="tx1">
                    <a:tint val="75000"/>
                  </a:schemeClr>
                </a:solidFill>
              </a:defRPr>
            </a:lvl7pPr>
            <a:lvl8pPr marL="3136749" indent="0" algn="ctr">
              <a:buNone/>
              <a:defRPr>
                <a:solidFill>
                  <a:schemeClr val="tx1">
                    <a:tint val="75000"/>
                  </a:schemeClr>
                </a:solidFill>
              </a:defRPr>
            </a:lvl8pPr>
            <a:lvl9pPr marL="3584856" indent="0" algn="ctr">
              <a:buNone/>
              <a:defRPr>
                <a:solidFill>
                  <a:schemeClr val="tx1">
                    <a:tint val="75000"/>
                  </a:schemeClr>
                </a:solidFill>
              </a:defRPr>
            </a:lvl9pPr>
          </a:lstStyle>
          <a:p>
            <a:r>
              <a:rPr lang="en-US" dirty="0"/>
              <a:t>Speaker Name</a:t>
            </a:r>
            <a:br>
              <a:rPr lang="en-US" dirty="0"/>
            </a:br>
            <a:r>
              <a:rPr lang="en-US" dirty="0"/>
              <a:t>Date</a:t>
            </a:r>
          </a:p>
        </p:txBody>
      </p:sp>
      <p:sp>
        <p:nvSpPr>
          <p:cNvPr id="5" name="Text Placeholder 7"/>
          <p:cNvSpPr>
            <a:spLocks noGrp="1"/>
          </p:cNvSpPr>
          <p:nvPr>
            <p:ph type="body" sz="quarter" idx="10" hasCustomPrompt="1"/>
          </p:nvPr>
        </p:nvSpPr>
        <p:spPr>
          <a:xfrm>
            <a:off x="322713" y="2997067"/>
            <a:ext cx="5783797" cy="863866"/>
          </a:xfrm>
          <a:prstGeom prst="rect">
            <a:avLst/>
          </a:prstGeom>
        </p:spPr>
        <p:txBody>
          <a:bodyPr>
            <a:normAutofit/>
          </a:bodyPr>
          <a:lstStyle>
            <a:lvl1pPr marL="0" indent="0">
              <a:buNone/>
              <a:defRPr sz="2800" baseline="0">
                <a:solidFill>
                  <a:schemeClr val="bg2"/>
                </a:solidFill>
                <a:latin typeface="+mj-lt"/>
              </a:defRPr>
            </a:lvl1pPr>
            <a:lvl2pPr marL="336080" indent="0">
              <a:buNone/>
              <a:defRPr sz="1567">
                <a:solidFill>
                  <a:schemeClr val="bg1"/>
                </a:solidFill>
                <a:latin typeface="+mj-lt"/>
              </a:defRPr>
            </a:lvl2pPr>
            <a:lvl3pPr marL="560134" indent="0">
              <a:buNone/>
              <a:defRPr sz="1371">
                <a:solidFill>
                  <a:schemeClr val="bg1"/>
                </a:solidFill>
                <a:latin typeface="+mj-lt"/>
              </a:defRPr>
            </a:lvl3pPr>
            <a:lvl4pPr marL="784187" indent="0">
              <a:buNone/>
              <a:defRPr sz="1175">
                <a:solidFill>
                  <a:schemeClr val="bg1"/>
                </a:solidFill>
                <a:latin typeface="+mj-lt"/>
              </a:defRPr>
            </a:lvl4pPr>
            <a:lvl5pPr marL="1008241" indent="0">
              <a:buNone/>
              <a:defRPr sz="1175">
                <a:solidFill>
                  <a:schemeClr val="bg1"/>
                </a:solidFill>
                <a:latin typeface="+mj-lt"/>
              </a:defRPr>
            </a:lvl5pPr>
          </a:lstStyle>
          <a:p>
            <a:pPr lvl="0"/>
            <a:r>
              <a:rPr lang="en-US" dirty="0"/>
              <a:t>Sub header here</a:t>
            </a:r>
          </a:p>
        </p:txBody>
      </p:sp>
    </p:spTree>
    <p:extLst>
      <p:ext uri="{BB962C8B-B14F-4D97-AF65-F5344CB8AC3E}">
        <p14:creationId xmlns:p14="http://schemas.microsoft.com/office/powerpoint/2010/main" val="1985214861"/>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6_Title with photo">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Rectangle 1"/>
          <p:cNvSpPr/>
          <p:nvPr/>
        </p:nvSpPr>
        <p:spPr>
          <a:xfrm>
            <a:off x="0" y="4206240"/>
            <a:ext cx="12192000" cy="2651759"/>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 name="Picture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53748" y="6071612"/>
            <a:ext cx="1740540" cy="640080"/>
          </a:xfrm>
          <a:prstGeom prst="rect">
            <a:avLst/>
          </a:prstGeom>
        </p:spPr>
      </p:pic>
      <p:sp>
        <p:nvSpPr>
          <p:cNvPr id="9" name="Title 1"/>
          <p:cNvSpPr>
            <a:spLocks noGrp="1"/>
          </p:cNvSpPr>
          <p:nvPr>
            <p:ph type="title" hasCustomPrompt="1"/>
          </p:nvPr>
        </p:nvSpPr>
        <p:spPr bwMode="ltGray">
          <a:xfrm>
            <a:off x="228600" y="4206238"/>
            <a:ext cx="11696700" cy="935917"/>
          </a:xfrm>
          <a:noFill/>
        </p:spPr>
        <p:txBody>
          <a:bodyPr vert="horz" lIns="137160" tIns="137160" rIns="137160" bIns="0" rtlCol="0" anchor="b" anchorCtr="0">
            <a:noAutofit/>
          </a:bodyPr>
          <a:lstStyle>
            <a:lvl1pPr algn="ctr">
              <a:defRPr lang="en-US" sz="4800" b="1" spc="-100" baseline="0" dirty="0">
                <a:solidFill>
                  <a:schemeClr val="tx2"/>
                </a:solidFill>
                <a:latin typeface="+mn-lt"/>
                <a:cs typeface="Segoe UI" panose="020B0502040204020203" pitchFamily="34" charset="0"/>
              </a:defRPr>
            </a:lvl1pPr>
          </a:lstStyle>
          <a:p>
            <a:pPr lvl="0"/>
            <a:r>
              <a:rPr lang="en-US" dirty="0"/>
              <a:t>Presentation title</a:t>
            </a:r>
          </a:p>
        </p:txBody>
      </p:sp>
      <p:sp>
        <p:nvSpPr>
          <p:cNvPr id="4" name="Text Placeholder 3"/>
          <p:cNvSpPr>
            <a:spLocks noGrp="1"/>
          </p:cNvSpPr>
          <p:nvPr>
            <p:ph type="body" sz="quarter" idx="10" hasCustomPrompt="1"/>
          </p:nvPr>
        </p:nvSpPr>
        <p:spPr>
          <a:xfrm>
            <a:off x="2933700" y="5742424"/>
            <a:ext cx="6286499" cy="658376"/>
          </a:xfrm>
        </p:spPr>
        <p:txBody>
          <a:bodyPr lIns="137160" tIns="137160" rIns="137160" bIns="137160" anchor="b">
            <a:noAutofit/>
          </a:bodyPr>
          <a:lstStyle>
            <a:lvl1pPr marL="0" indent="0" algn="ctr">
              <a:spcBef>
                <a:spcPts val="0"/>
              </a:spcBef>
              <a:buNone/>
              <a:defRPr sz="1600">
                <a:solidFill>
                  <a:schemeClr val="tx1"/>
                </a:solidFill>
              </a:defRPr>
            </a:lvl1pPr>
            <a:lvl2pPr marL="281668" indent="0">
              <a:buNone/>
              <a:defRPr sz="2000">
                <a:solidFill>
                  <a:schemeClr val="bg1"/>
                </a:solidFill>
              </a:defRPr>
            </a:lvl2pPr>
            <a:lvl3pPr marL="588461" indent="0">
              <a:buNone/>
              <a:defRPr sz="2000">
                <a:solidFill>
                  <a:schemeClr val="bg1"/>
                </a:solidFill>
              </a:defRPr>
            </a:lvl3pPr>
            <a:lvl4pPr marL="870129" indent="0">
              <a:buNone/>
              <a:defRPr sz="2000">
                <a:solidFill>
                  <a:schemeClr val="bg1"/>
                </a:solidFill>
              </a:defRPr>
            </a:lvl4pPr>
            <a:lvl5pPr marL="1105512" indent="0">
              <a:buNone/>
              <a:defRPr sz="2000">
                <a:solidFill>
                  <a:schemeClr val="bg1"/>
                </a:solidFill>
              </a:defRPr>
            </a:lvl5pPr>
          </a:lstStyle>
          <a:p>
            <a:pPr lvl="0"/>
            <a:r>
              <a:rPr lang="en-US" dirty="0"/>
              <a:t>Speaker Name</a:t>
            </a:r>
          </a:p>
          <a:p>
            <a:pPr lvl="0"/>
            <a:r>
              <a:rPr lang="en-US" dirty="0"/>
              <a:t>Date</a:t>
            </a:r>
          </a:p>
        </p:txBody>
      </p:sp>
      <p:cxnSp>
        <p:nvCxnSpPr>
          <p:cNvPr id="6" name="Straight Connector 5"/>
          <p:cNvCxnSpPr/>
          <p:nvPr/>
        </p:nvCxnSpPr>
        <p:spPr>
          <a:xfrm>
            <a:off x="3848100" y="5668199"/>
            <a:ext cx="4495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4"/>
          <p:cNvSpPr>
            <a:spLocks noGrp="1"/>
          </p:cNvSpPr>
          <p:nvPr>
            <p:ph type="body" sz="quarter" idx="11"/>
          </p:nvPr>
        </p:nvSpPr>
        <p:spPr>
          <a:xfrm>
            <a:off x="228600" y="5142155"/>
            <a:ext cx="11696700" cy="534745"/>
          </a:xfrm>
        </p:spPr>
        <p:txBody>
          <a:bodyPr tIns="0" anchor="t"/>
          <a:lstStyle>
            <a:lvl1pPr algn="ctr">
              <a:spcBef>
                <a:spcPts val="0"/>
              </a:spcBef>
              <a:buFontTx/>
              <a:buNone/>
              <a:defRPr spc="-80" baseline="0">
                <a:solidFill>
                  <a:schemeClr val="tx1"/>
                </a:solidFill>
              </a:defRPr>
            </a:lvl1pPr>
            <a:lvl2pPr marL="281668" indent="0" algn="ctr">
              <a:buFontTx/>
              <a:buNone/>
              <a:defRPr/>
            </a:lvl2pPr>
            <a:lvl3pPr marL="588461" indent="0" algn="ctr">
              <a:buFontTx/>
              <a:buNone/>
              <a:defRPr/>
            </a:lvl3pPr>
            <a:lvl4pPr marL="870128" indent="0" algn="ctr">
              <a:buFontTx/>
              <a:buNone/>
              <a:defRPr/>
            </a:lvl4pPr>
            <a:lvl5pPr marL="1105512" indent="0" algn="ctr">
              <a:buFontTx/>
              <a:buNone/>
              <a:defRPr/>
            </a:lvl5pPr>
          </a:lstStyle>
          <a:p>
            <a:pPr lvl="0"/>
            <a:r>
              <a:rPr lang="en-US"/>
              <a:t>Click to edit Master text styles</a:t>
            </a:r>
          </a:p>
        </p:txBody>
      </p:sp>
    </p:spTree>
    <p:extLst>
      <p:ext uri="{BB962C8B-B14F-4D97-AF65-F5344CB8AC3E}">
        <p14:creationId xmlns:p14="http://schemas.microsoft.com/office/powerpoint/2010/main" val="788582000"/>
      </p:ext>
    </p:extLst>
  </p:cSld>
  <p:clrMapOvr>
    <a:masterClrMapping/>
  </p:clrMapOvr>
  <p:transition>
    <p:fade/>
  </p:transition>
  <p:extLst mod="1">
    <p:ext uri="{DCECCB84-F9BA-43D5-87BE-67443E8EF086}">
      <p15:sldGuideLst xmlns:p15="http://schemas.microsoft.com/office/powerpoint/2012/main">
        <p15:guide id="1" pos="2975">
          <p15:clr>
            <a:srgbClr val="5ACBF0"/>
          </p15:clr>
        </p15:guide>
        <p15:guide id="2" pos="3551">
          <p15:clr>
            <a:srgbClr val="5ACBF0"/>
          </p15:clr>
        </p15:guide>
        <p15:guide id="3" pos="4127">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Microsoft logo">
    <p:bg>
      <p:bgPr>
        <a:solidFill>
          <a:srgbClr val="000000"/>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39839613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2_Microsoft logo">
    <p:bg>
      <p:bgPr>
        <a:solidFill>
          <a:schemeClr val="tx2"/>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90683" y="2899239"/>
            <a:ext cx="2881117" cy="1059525"/>
          </a:xfrm>
          <a:prstGeom prst="rect">
            <a:avLst/>
          </a:prstGeom>
        </p:spPr>
      </p:pic>
    </p:spTree>
    <p:extLst>
      <p:ext uri="{BB962C8B-B14F-4D97-AF65-F5344CB8AC3E}">
        <p14:creationId xmlns:p14="http://schemas.microsoft.com/office/powerpoint/2010/main" val="2932623931"/>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3B64231D-FF45-428F-B0D7-B7B9FFB7202A}" type="datetimeFigureOut">
              <a:rPr lang="en-US" smtClean="0"/>
              <a:t>10/13/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7AD9173-C745-46BA-9042-CD7714A275BD}" type="slidenum">
              <a:rPr lang="en-US" smtClean="0"/>
              <a:t>‹#›</a:t>
            </a:fld>
            <a:endParaRPr lang="en-US"/>
          </a:p>
        </p:txBody>
      </p:sp>
    </p:spTree>
    <p:extLst>
      <p:ext uri="{BB962C8B-B14F-4D97-AF65-F5344CB8AC3E}">
        <p14:creationId xmlns:p14="http://schemas.microsoft.com/office/powerpoint/2010/main" val="252816243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tx2"/>
        </a:solidFill>
        <a:effectLst/>
      </p:bgPr>
    </p:bg>
    <p:spTree>
      <p:nvGrpSpPr>
        <p:cNvPr id="1" name=""/>
        <p:cNvGrpSpPr/>
        <p:nvPr/>
      </p:nvGrpSpPr>
      <p:grpSpPr>
        <a:xfrm>
          <a:off x="0" y="0"/>
          <a:ext cx="0" cy="0"/>
          <a:chOff x="0" y="0"/>
          <a:chExt cx="0" cy="0"/>
        </a:xfrm>
      </p:grpSpPr>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37160" rIns="137160" bIns="13716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0852" y="4800600"/>
            <a:ext cx="5487829" cy="914400"/>
          </a:xfrm>
        </p:spPr>
        <p:txBody>
          <a:bodyPr lIns="137160" tIns="137160" rIns="137160" bIns="13716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a:t>Speaker Name</a:t>
            </a:r>
          </a:p>
        </p:txBody>
      </p:sp>
      <p:pic>
        <p:nvPicPr>
          <p:cNvPr id="14" name="Picture 1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2421032" y="274206"/>
            <a:ext cx="1947103" cy="716043"/>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91940" y="200779"/>
            <a:ext cx="1947100" cy="716042"/>
          </a:xfrm>
          <a:prstGeom prst="rect">
            <a:avLst/>
          </a:prstGeom>
        </p:spPr>
      </p:pic>
    </p:spTree>
    <p:extLst>
      <p:ext uri="{BB962C8B-B14F-4D97-AF65-F5344CB8AC3E}">
        <p14:creationId xmlns:p14="http://schemas.microsoft.com/office/powerpoint/2010/main" val="373671081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150853" y="1600200"/>
            <a:ext cx="11890296" cy="4495800"/>
          </a:xfrm>
          <a:prstGeom prst="rect">
            <a:avLst/>
          </a:prstGeom>
        </p:spPr>
        <p:txBody>
          <a:bodyPr/>
          <a:lstStyle>
            <a:lvl1pPr marL="0" indent="0">
              <a:buNone/>
              <a:defRPr>
                <a:solidFill>
                  <a:schemeClr val="tx1"/>
                </a:solidFill>
                <a:latin typeface="Courier New" pitchFamily="49" charset="0"/>
                <a:cs typeface="Courier New" pitchFamily="49" charset="0"/>
              </a:defRPr>
            </a:lvl1pPr>
            <a:lvl2pPr marL="281674" indent="0">
              <a:buNone/>
              <a:defRPr>
                <a:solidFill>
                  <a:schemeClr val="tx1"/>
                </a:solidFill>
                <a:latin typeface="Courier New" pitchFamily="49" charset="0"/>
                <a:cs typeface="Courier New" pitchFamily="49" charset="0"/>
              </a:defRPr>
            </a:lvl2pPr>
            <a:lvl3pPr marL="588476" indent="0">
              <a:buNone/>
              <a:defRPr>
                <a:solidFill>
                  <a:schemeClr val="tx1"/>
                </a:solidFill>
                <a:latin typeface="Courier New" pitchFamily="49" charset="0"/>
                <a:cs typeface="Courier New" pitchFamily="49" charset="0"/>
              </a:defRPr>
            </a:lvl3pPr>
            <a:lvl4pPr marL="870150" indent="0">
              <a:buNone/>
              <a:defRPr>
                <a:solidFill>
                  <a:schemeClr val="tx1"/>
                </a:solidFill>
                <a:latin typeface="Courier New" pitchFamily="49" charset="0"/>
                <a:cs typeface="Courier New" pitchFamily="49" charset="0"/>
              </a:defRPr>
            </a:lvl4pPr>
            <a:lvl5pPr marL="1105540"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5"/>
          <p:cNvSpPr>
            <a:spLocks noGrp="1"/>
          </p:cNvSpPr>
          <p:nvPr>
            <p:ph type="body" sz="quarter" idx="12"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6" name="Footer Placeholder 5"/>
          <p:cNvSpPr>
            <a:spLocks noGrp="1"/>
          </p:cNvSpPr>
          <p:nvPr>
            <p:ph type="ftr" sz="quarter" idx="16"/>
          </p:nvPr>
        </p:nvSpPr>
        <p:spPr/>
        <p:txBody>
          <a:bodyPr/>
          <a:lstStyle/>
          <a:p>
            <a:endParaRPr lang="en-US" dirty="0">
              <a:solidFill>
                <a:srgbClr val="505050"/>
              </a:solidFill>
            </a:endParaRPr>
          </a:p>
        </p:txBody>
      </p:sp>
      <p:sp>
        <p:nvSpPr>
          <p:cNvPr id="10" name="Slide Number Placeholder 9"/>
          <p:cNvSpPr>
            <a:spLocks noGrp="1"/>
          </p:cNvSpPr>
          <p:nvPr>
            <p:ph type="sldNum" sz="quarter" idx="17"/>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034633074"/>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p:txBody>
          <a:bodyPr/>
          <a:lstStyle/>
          <a:p>
            <a:endParaRPr lang="en-US" dirty="0">
              <a:solidFill>
                <a:srgbClr val="505050"/>
              </a:solidFill>
            </a:endParaRPr>
          </a:p>
        </p:txBody>
      </p:sp>
      <p:sp>
        <p:nvSpPr>
          <p:cNvPr id="3" name="Slide Number Placeholder 2"/>
          <p:cNvSpPr>
            <a:spLocks noGrp="1"/>
          </p:cNvSpPr>
          <p:nvPr>
            <p:ph type="sldNum" sz="quarter" idx="16"/>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199787722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emo slide">
    <p:spTree>
      <p:nvGrpSpPr>
        <p:cNvPr id="1" name=""/>
        <p:cNvGrpSpPr/>
        <p:nvPr/>
      </p:nvGrpSpPr>
      <p:grpSpPr>
        <a:xfrm>
          <a:off x="0" y="0"/>
          <a:ext cx="0" cy="0"/>
          <a:chOff x="0" y="0"/>
          <a:chExt cx="0" cy="0"/>
        </a:xfrm>
      </p:grpSpPr>
      <p:sp>
        <p:nvSpPr>
          <p:cNvPr id="6" name="Rectangle 5"/>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1"/>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150851" y="3877277"/>
            <a:ext cx="10061021" cy="1837723"/>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2" y="1143000"/>
            <a:ext cx="10061020" cy="2734276"/>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15694646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Video slide">
    <p:spTree>
      <p:nvGrpSpPr>
        <p:cNvPr id="1" name=""/>
        <p:cNvGrpSpPr/>
        <p:nvPr/>
      </p:nvGrpSpPr>
      <p:grpSpPr>
        <a:xfrm>
          <a:off x="0" y="0"/>
          <a:ext cx="0" cy="0"/>
          <a:chOff x="0" y="0"/>
          <a:chExt cx="0" cy="0"/>
        </a:xfrm>
      </p:grpSpPr>
      <p:sp>
        <p:nvSpPr>
          <p:cNvPr id="6" name="Rectangle 5"/>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150853" y="1143000"/>
            <a:ext cx="10061019" cy="2734277"/>
          </a:xfrm>
          <a:noFill/>
        </p:spPr>
        <p:txBody>
          <a:bodyPr lIns="137160" tIns="137160" rIns="137160" bIns="137160" anchor="t" anchorCtr="0"/>
          <a:lstStyle>
            <a:lvl1pPr>
              <a:defRPr sz="7100" spc="-98" baseline="0">
                <a:gradFill>
                  <a:gsLst>
                    <a:gs pos="5833">
                      <a:srgbClr val="FFFFFF"/>
                    </a:gs>
                    <a:gs pos="18000">
                      <a:srgbClr val="FFFFFF"/>
                    </a:gs>
                  </a:gsLst>
                  <a:lin ang="5400000" scaled="0"/>
                </a:gradFill>
              </a:defRPr>
            </a:lvl1pPr>
          </a:lstStyle>
          <a:p>
            <a:r>
              <a:rPr lang="en-US" dirty="0"/>
              <a:t>Video title</a:t>
            </a:r>
          </a:p>
        </p:txBody>
      </p:sp>
      <p:sp>
        <p:nvSpPr>
          <p:cNvPr id="5" name="Text Placeholder 4"/>
          <p:cNvSpPr>
            <a:spLocks noGrp="1"/>
          </p:cNvSpPr>
          <p:nvPr>
            <p:ph type="body" sz="quarter" idx="12" hasCustomPrompt="1"/>
          </p:nvPr>
        </p:nvSpPr>
        <p:spPr>
          <a:xfrm>
            <a:off x="150852" y="3886200"/>
            <a:ext cx="10061020" cy="1828800"/>
          </a:xfrm>
          <a:noFill/>
        </p:spPr>
        <p:txBody>
          <a:bodyPr lIns="137160" tIns="137160" rIns="137160" bIns="137160">
            <a:noAutofit/>
          </a:bodyPr>
          <a:lstStyle>
            <a:lvl1pPr marL="0" indent="0">
              <a:spcBef>
                <a:spcPts val="0"/>
              </a:spcBef>
              <a:buNone/>
              <a:defRPr sz="2800" spc="0" baseline="0">
                <a:gradFill>
                  <a:gsLst>
                    <a:gs pos="0">
                      <a:schemeClr val="tx1">
                        <a:lumMod val="75000"/>
                        <a:lumOff val="25000"/>
                      </a:schemeClr>
                    </a:gs>
                    <a:gs pos="100000">
                      <a:schemeClr val="tx1">
                        <a:lumMod val="75000"/>
                        <a:lumOff val="25000"/>
                      </a:schemeClr>
                    </a:gs>
                  </a:gsLst>
                  <a:lin ang="5400000" scaled="0"/>
                </a:gradFill>
                <a:latin typeface="+mn-lt"/>
              </a:defRPr>
            </a:lvl1pPr>
          </a:lstStyle>
          <a:p>
            <a:pPr lvl="0"/>
            <a:r>
              <a:rPr lang="en-US" dirty="0"/>
              <a:t>Speaker Name</a:t>
            </a:r>
          </a:p>
        </p:txBody>
      </p:sp>
      <p:sp>
        <p:nvSpPr>
          <p:cNvPr id="7" name="Rectangle 6"/>
          <p:cNvSpPr/>
          <p:nvPr userDrawn="1"/>
        </p:nvSpPr>
        <p:spPr bwMode="auto">
          <a:xfrm>
            <a:off x="150853" y="1143000"/>
            <a:ext cx="10061019" cy="27432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7287736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930852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gradFill>
                  <a:gsLst>
                    <a:gs pos="100000">
                      <a:schemeClr val="tx1"/>
                    </a:gs>
                    <a:gs pos="0">
                      <a:schemeClr val="tx1"/>
                    </a:gs>
                  </a:gsLst>
                  <a:lin ang="5400000" scaled="0"/>
                </a:gra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FFFFFF"/>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0629901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left,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228600" y="266700"/>
            <a:ext cx="5865813" cy="1333500"/>
          </a:xfrm>
        </p:spPr>
        <p:txBody>
          <a:bodyPr rIns="137160" anchor="t" anchorCtr="0"/>
          <a:lstStyle/>
          <a:p>
            <a:r>
              <a:rPr lang="en-US"/>
              <a:t>Click to edit Master title style</a:t>
            </a:r>
            <a:endParaRPr lang="en-US" dirty="0"/>
          </a:p>
        </p:txBody>
      </p:sp>
      <p:sp>
        <p:nvSpPr>
          <p:cNvPr id="3" name="Footer Placeholder 2"/>
          <p:cNvSpPr>
            <a:spLocks noGrp="1"/>
          </p:cNvSpPr>
          <p:nvPr>
            <p:ph type="ftr" sz="quarter" idx="10"/>
          </p:nvPr>
        </p:nvSpPr>
        <p:spPr>
          <a:xfrm>
            <a:off x="228600" y="6553201"/>
            <a:ext cx="5865814" cy="304800"/>
          </a:xfrm>
        </p:spPr>
        <p:txBody>
          <a:bodyPr/>
          <a:lstStyle/>
          <a:p>
            <a:endParaRPr lang="en-US"/>
          </a:p>
        </p:txBody>
      </p:sp>
      <p:sp>
        <p:nvSpPr>
          <p:cNvPr id="4" name="Slide Number Placeholder 3"/>
          <p:cNvSpPr>
            <a:spLocks noGrp="1"/>
          </p:cNvSpPr>
          <p:nvPr>
            <p:ph type="sldNum" sz="quarter" idx="11"/>
          </p:nvPr>
        </p:nvSpPr>
        <p:spPr/>
        <p:txBody>
          <a:bodyPr/>
          <a:lstStyle/>
          <a:p>
            <a:fld id="{07AD9173-C745-46BA-9042-CD7714A275BD}" type="slidenum">
              <a:rPr lang="en-US" smtClean="0"/>
              <a:t>‹#›</a:t>
            </a:fld>
            <a:endParaRPr lang="en-US"/>
          </a:p>
        </p:txBody>
      </p:sp>
      <p:sp>
        <p:nvSpPr>
          <p:cNvPr id="6" name="Picture Placeholder 5"/>
          <p:cNvSpPr>
            <a:spLocks noGrp="1"/>
          </p:cNvSpPr>
          <p:nvPr>
            <p:ph type="pic" sz="quarter" idx="12"/>
          </p:nvPr>
        </p:nvSpPr>
        <p:spPr>
          <a:xfrm>
            <a:off x="6094413" y="0"/>
            <a:ext cx="6097587" cy="6858000"/>
          </a:xfrm>
        </p:spPr>
        <p:txBody>
          <a:bodyPr/>
          <a:lstStyle/>
          <a:p>
            <a:r>
              <a:rPr lang="en-US"/>
              <a:t>Click icon to add picture</a:t>
            </a:r>
            <a:endParaRPr lang="en-US" dirty="0"/>
          </a:p>
        </p:txBody>
      </p:sp>
      <p:sp>
        <p:nvSpPr>
          <p:cNvPr id="8" name="Text Placeholder 7"/>
          <p:cNvSpPr>
            <a:spLocks noGrp="1"/>
          </p:cNvSpPr>
          <p:nvPr>
            <p:ph type="body" sz="quarter" idx="13"/>
          </p:nvPr>
        </p:nvSpPr>
        <p:spPr>
          <a:xfrm>
            <a:off x="228599" y="1600200"/>
            <a:ext cx="5408613" cy="4876800"/>
          </a:xfrm>
        </p:spPr>
        <p:txBody>
          <a:bodyPr r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51688186"/>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3813529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3_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5097402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4_Section Title Accent Color 1">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2703076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5_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0853" y="2057401"/>
            <a:ext cx="11890296" cy="1822988"/>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3" name="Text Placeholder 10"/>
          <p:cNvSpPr>
            <a:spLocks noGrp="1"/>
          </p:cNvSpPr>
          <p:nvPr>
            <p:ph type="body" sz="quarter" idx="14"/>
          </p:nvPr>
        </p:nvSpPr>
        <p:spPr>
          <a:xfrm>
            <a:off x="150852" y="3886200"/>
            <a:ext cx="6402467"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8398229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a:t>Click to add title</a:t>
            </a:r>
          </a:p>
        </p:txBody>
      </p:sp>
      <p:sp>
        <p:nvSpPr>
          <p:cNvPr id="5" name="Text Placeholder 15"/>
          <p:cNvSpPr>
            <a:spLocks noGrp="1"/>
          </p:cNvSpPr>
          <p:nvPr>
            <p:ph type="body" sz="quarter" idx="14" hasCustomPrompt="1"/>
          </p:nvPr>
        </p:nvSpPr>
        <p:spPr>
          <a:xfrm>
            <a:off x="227071" y="1600200"/>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Click to add speaker not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6"/>
          <p:cNvSpPr>
            <a:spLocks noGrp="1"/>
          </p:cNvSpPr>
          <p:nvPr>
            <p:ph type="body" sz="quarter" idx="11" hasCustomPrompt="1"/>
          </p:nvPr>
        </p:nvSpPr>
        <p:spPr>
          <a:xfrm>
            <a:off x="1" y="6238877"/>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700" spc="-60"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a:t>Next slide topic</a:t>
            </a:r>
          </a:p>
        </p:txBody>
      </p:sp>
    </p:spTree>
    <p:extLst>
      <p:ext uri="{BB962C8B-B14F-4D97-AF65-F5344CB8AC3E}">
        <p14:creationId xmlns:p14="http://schemas.microsoft.com/office/powerpoint/2010/main" val="1336450961"/>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Microsoft logo 4">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4" name="Rectangle 3"/>
          <p:cNvSpPr/>
          <p:nvPr/>
        </p:nvSpPr>
        <p:spPr>
          <a:xfrm>
            <a:off x="1"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sp>
        <p:nvSpPr>
          <p:cNvPr id="8" name="Rectangle 7"/>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0" name="Picture 9"/>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6" name="Rectangle 5"/>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7" name="Picture 6"/>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
        <p:nvSpPr>
          <p:cNvPr id="9" name="Rectangle 8"/>
          <p:cNvSpPr/>
          <p:nvPr userDrawn="1"/>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a:solidFill>
                <a:prstClr val="white"/>
              </a:solidFill>
            </a:endParaRPr>
          </a:p>
        </p:txBody>
      </p:sp>
      <p:pic>
        <p:nvPicPr>
          <p:cNvPr id="11" name="Picture 1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355449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00"/>
            </a:lvl1pPr>
          </a:lstStyle>
          <a:p>
            <a:r>
              <a:rPr lang="en-US" dirty="0"/>
              <a:t>Click to edit Master title style</a:t>
            </a:r>
          </a:p>
        </p:txBody>
      </p:sp>
    </p:spTree>
    <p:extLst>
      <p:ext uri="{BB962C8B-B14F-4D97-AF65-F5344CB8AC3E}">
        <p14:creationId xmlns:p14="http://schemas.microsoft.com/office/powerpoint/2010/main" val="1167567782"/>
      </p:ext>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1"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1"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pPr defTabSz="1088105"/>
            <a:fld id="{892EB253-3FC4-4203-AD7C-9269DC536D04}" type="datetimeFigureOut">
              <a:rPr lang="en-US" sz="2200" smtClean="0">
                <a:solidFill>
                  <a:srgbClr val="505050"/>
                </a:solidFill>
              </a:rPr>
              <a:pPr defTabSz="1088105"/>
              <a:t>10/13/2016</a:t>
            </a:fld>
            <a:endParaRPr lang="en-US" sz="2200">
              <a:solidFill>
                <a:srgbClr val="505050"/>
              </a:solidFill>
            </a:endParaRPr>
          </a:p>
        </p:txBody>
      </p:sp>
      <p:sp>
        <p:nvSpPr>
          <p:cNvPr id="5" name="Footer Placeholder 4"/>
          <p:cNvSpPr>
            <a:spLocks noGrp="1"/>
          </p:cNvSpPr>
          <p:nvPr>
            <p:ph type="ftr" sz="quarter" idx="11"/>
          </p:nvPr>
        </p:nvSpPr>
        <p:spPr/>
        <p:txBody>
          <a:bodyPr/>
          <a:lstStyle/>
          <a:p>
            <a:endParaRPr lang="en-US">
              <a:solidFill>
                <a:srgbClr val="505050"/>
              </a:solidFill>
            </a:endParaRPr>
          </a:p>
        </p:txBody>
      </p:sp>
      <p:sp>
        <p:nvSpPr>
          <p:cNvPr id="6" name="Slide Number Placeholder 5"/>
          <p:cNvSpPr>
            <a:spLocks noGrp="1"/>
          </p:cNvSpPr>
          <p:nvPr>
            <p:ph type="sldNum" sz="quarter" idx="12"/>
          </p:nvPr>
        </p:nvSpPr>
        <p:spPr/>
        <p:txBody>
          <a:bodyPr/>
          <a:lstStyle/>
          <a:p>
            <a:fld id="{E208AED9-49BE-4EE3-9E3A-90092807F4F3}"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228992166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2052030"/>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sz="1961"/>
            </a:lvl3pPr>
            <a:lvl4pPr marL="448193" indent="0">
              <a:buNone/>
              <a:defRPr sz="1765"/>
            </a:lvl4pPr>
            <a:lvl5pPr marL="672290" indent="0">
              <a:buNone/>
              <a:defRPr sz="1765"/>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68365034"/>
      </p:ext>
    </p:extLst>
  </p:cSld>
  <p:clrMapOvr>
    <a:masterClrMapping/>
  </p:clrMapOvr>
  <p:transition spd="med">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5"/>
            <a:ext cx="11151917" cy="747897"/>
          </a:xfrm>
          <a:prstGeom prst="rect">
            <a:avLst/>
          </a:prstGeom>
        </p:spPr>
        <p:txBody>
          <a:bodyPr/>
          <a:lstStyle/>
          <a:p>
            <a:r>
              <a:rPr lang="en-US"/>
              <a:t>Click to edit Master title style</a:t>
            </a:r>
            <a:endParaRPr lang="en-US" dirty="0"/>
          </a:p>
        </p:txBody>
      </p:sp>
      <p:sp>
        <p:nvSpPr>
          <p:cNvPr id="3" name="Content Placeholder 2"/>
          <p:cNvSpPr>
            <a:spLocks noGrp="1"/>
          </p:cNvSpPr>
          <p:nvPr>
            <p:ph idx="1"/>
          </p:nvPr>
        </p:nvSpPr>
        <p:spPr>
          <a:xfrm>
            <a:off x="519249" y="1447800"/>
            <a:ext cx="11151917" cy="2000548"/>
          </a:xfrm>
          <a:prstGeom prst="rect">
            <a:avLst/>
          </a:prstGeo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5578366"/>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Image left, content right">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07AD9173-C745-46BA-9042-CD7714A275BD}" type="slidenum">
              <a:rPr lang="en-US" smtClean="0"/>
              <a:t>‹#›</a:t>
            </a:fld>
            <a:endParaRPr lang="en-US"/>
          </a:p>
        </p:txBody>
      </p:sp>
      <p:sp>
        <p:nvSpPr>
          <p:cNvPr id="3" name="Footer Placeholder 2"/>
          <p:cNvSpPr>
            <a:spLocks noGrp="1"/>
          </p:cNvSpPr>
          <p:nvPr>
            <p:ph type="ftr" sz="quarter" idx="10"/>
          </p:nvPr>
        </p:nvSpPr>
        <p:spPr>
          <a:xfrm>
            <a:off x="228600" y="6553200"/>
            <a:ext cx="5865814" cy="304801"/>
          </a:xfrm>
        </p:spPr>
        <p:txBody>
          <a:bodyPr/>
          <a:lstStyle/>
          <a:p>
            <a:endParaRPr lang="en-US"/>
          </a:p>
        </p:txBody>
      </p:sp>
      <p:sp>
        <p:nvSpPr>
          <p:cNvPr id="6" name="Picture Placeholder 5"/>
          <p:cNvSpPr>
            <a:spLocks noGrp="1"/>
          </p:cNvSpPr>
          <p:nvPr>
            <p:ph type="pic" sz="quarter" idx="12"/>
          </p:nvPr>
        </p:nvSpPr>
        <p:spPr>
          <a:xfrm>
            <a:off x="0" y="0"/>
            <a:ext cx="6097587" cy="6858000"/>
          </a:xfrm>
        </p:spPr>
        <p:txBody>
          <a:bodyPr/>
          <a:lstStyle/>
          <a:p>
            <a:r>
              <a:rPr lang="en-US"/>
              <a:t>Click icon to add picture</a:t>
            </a:r>
            <a:endParaRPr lang="en-US" dirty="0"/>
          </a:p>
        </p:txBody>
      </p:sp>
      <p:sp>
        <p:nvSpPr>
          <p:cNvPr id="2" name="Title 1"/>
          <p:cNvSpPr>
            <a:spLocks noGrp="1"/>
          </p:cNvSpPr>
          <p:nvPr>
            <p:ph type="title"/>
          </p:nvPr>
        </p:nvSpPr>
        <p:spPr>
          <a:xfrm>
            <a:off x="6556633" y="266700"/>
            <a:ext cx="5368668" cy="1333500"/>
          </a:xfrm>
        </p:spPr>
        <p:txBody>
          <a:bodyPr anchor="t" anchorCtr="0"/>
          <a:lstStyle/>
          <a:p>
            <a:r>
              <a:rPr lang="en-US"/>
              <a:t>Click to edit Master title style</a:t>
            </a:r>
            <a:endParaRPr lang="en-US" dirty="0"/>
          </a:p>
        </p:txBody>
      </p:sp>
      <p:sp>
        <p:nvSpPr>
          <p:cNvPr id="8" name="Text Placeholder 7"/>
          <p:cNvSpPr>
            <a:spLocks noGrp="1"/>
          </p:cNvSpPr>
          <p:nvPr>
            <p:ph type="body" sz="quarter" idx="13"/>
          </p:nvPr>
        </p:nvSpPr>
        <p:spPr>
          <a:xfrm>
            <a:off x="6551613" y="1600200"/>
            <a:ext cx="5373688" cy="4953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97787586"/>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only1">
    <p:bg>
      <p:bgPr>
        <a:gradFill flip="none" rotWithShape="1">
          <a:gsLst>
            <a:gs pos="0">
              <a:schemeClr val="bg1"/>
            </a:gs>
            <a:gs pos="99167">
              <a:schemeClr val="bg1">
                <a:lumMod val="85000"/>
              </a:schemeClr>
            </a:gs>
            <a:gs pos="49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243871" y="114201"/>
            <a:ext cx="11252802" cy="836431"/>
          </a:xfrm>
          <a:prstGeom prst="rect">
            <a:avLst/>
          </a:prstGeom>
          <a:noFill/>
        </p:spPr>
        <p:txBody>
          <a:bodyPr tIns="93232" bIns="93232" anchor="t" anchorCtr="0"/>
          <a:lstStyle>
            <a:lvl1pPr algn="l" defTabSz="913860" rtl="0" eaLnBrk="1" latinLnBrk="0" hangingPunct="1">
              <a:lnSpc>
                <a:spcPct val="90000"/>
              </a:lnSpc>
              <a:spcBef>
                <a:spcPct val="0"/>
              </a:spcBef>
              <a:buNone/>
              <a:defRPr lang="en-US" sz="4704" b="0" kern="1200" cap="none" spc="0" baseline="0" dirty="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dirty="0"/>
              <a:t>Section title</a:t>
            </a:r>
          </a:p>
        </p:txBody>
      </p:sp>
      <p:sp>
        <p:nvSpPr>
          <p:cNvPr id="4" name="Rectangle 3"/>
          <p:cNvSpPr/>
          <p:nvPr userDrawn="1"/>
        </p:nvSpPr>
        <p:spPr bwMode="auto">
          <a:xfrm>
            <a:off x="1" y="1187622"/>
            <a:ext cx="12192000" cy="4836585"/>
          </a:xfrm>
          <a:prstGeom prst="rect">
            <a:avLst/>
          </a:prstGeom>
          <a:solidFill>
            <a:schemeClr val="bg1"/>
          </a:solidFill>
          <a:ln>
            <a:noFill/>
            <a:headEnd type="none" w="med" len="med"/>
            <a:tailEnd type="none" w="med" len="med"/>
          </a:ln>
        </p:spPr>
        <p:style>
          <a:lnRef idx="2">
            <a:schemeClr val="accent2">
              <a:shade val="50000"/>
            </a:schemeClr>
          </a:lnRef>
          <a:fillRef idx="1">
            <a:schemeClr val="accent2"/>
          </a:fillRef>
          <a:effectRef idx="0">
            <a:schemeClr val="accent2"/>
          </a:effectRef>
          <a:fontRef idx="minor">
            <a:schemeClr val="lt1"/>
          </a:fontRef>
        </p:style>
        <p:txBody>
          <a:bodyPr vert="horz" wrap="square" lIns="89615" tIns="44808" rIns="89615" bIns="44808" numCol="1" rtlCol="0" anchor="ctr" anchorCtr="0" compatLnSpc="1">
            <a:prstTxWarp prst="textNoShape">
              <a:avLst/>
            </a:prstTxWarp>
          </a:bodyPr>
          <a:lstStyle/>
          <a:p>
            <a:pPr defTabSz="895908" fontAlgn="base">
              <a:spcBef>
                <a:spcPct val="0"/>
              </a:spcBef>
              <a:spcAft>
                <a:spcPct val="0"/>
              </a:spcAft>
            </a:pPr>
            <a:endParaRPr lang="en-US" sz="196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19021993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526" y="0"/>
            <a:ext cx="6023274"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08" tIns="45708" rIns="45708" bIns="45708" numCol="1" spcCol="0" rtlCol="0" fromWordArt="0" anchor="ctr" anchorCtr="0" forceAA="0" compatLnSpc="1">
            <a:prstTxWarp prst="textNoShape">
              <a:avLst/>
            </a:prstTxWarp>
            <a:noAutofit/>
          </a:bodyPr>
          <a:lstStyle/>
          <a:p>
            <a:pPr algn="ctr" defTabSz="913825" fontAlgn="base">
              <a:spcBef>
                <a:spcPct val="0"/>
              </a:spcBef>
              <a:spcAft>
                <a:spcPct val="0"/>
              </a:spcAft>
            </a:pPr>
            <a:endParaRPr lang="en-US" sz="2199"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20835" y="1447803"/>
            <a:ext cx="5233764" cy="1661993"/>
          </a:xfrm>
          <a:prstGeom prst="rect">
            <a:avLst/>
          </a:prstGeom>
        </p:spPr>
        <p:txBody>
          <a:bodyPr>
            <a:noAutofit/>
          </a:bodyPr>
          <a:lstStyle>
            <a:lvl1pPr marL="0" indent="0">
              <a:buNone/>
              <a:defRPr sz="3999" b="0" cap="none" baseline="0">
                <a:gradFill>
                  <a:gsLst>
                    <a:gs pos="100000">
                      <a:schemeClr val="bg1"/>
                    </a:gs>
                    <a:gs pos="0">
                      <a:schemeClr val="bg1"/>
                    </a:gs>
                  </a:gsLst>
                  <a:lin ang="5400000" scaled="0"/>
                </a:gradFill>
                <a:latin typeface="+mj-lt"/>
              </a:defRPr>
            </a:lvl1pPr>
            <a:lvl2pPr marL="609310" indent="0">
              <a:buNone/>
              <a:defRPr sz="2699" b="1"/>
            </a:lvl2pPr>
            <a:lvl3pPr marL="1218621" indent="0">
              <a:buNone/>
              <a:defRPr sz="2399" b="1"/>
            </a:lvl3pPr>
            <a:lvl4pPr marL="1827931" indent="0">
              <a:buNone/>
              <a:defRPr sz="2099" b="1"/>
            </a:lvl4pPr>
            <a:lvl5pPr marL="2437242" indent="0">
              <a:buNone/>
              <a:defRPr sz="2099" b="1"/>
            </a:lvl5pPr>
            <a:lvl6pPr marL="3046553" indent="0">
              <a:buNone/>
              <a:defRPr sz="2099" b="1"/>
            </a:lvl6pPr>
            <a:lvl7pPr marL="3655863" indent="0">
              <a:buNone/>
              <a:defRPr sz="2099" b="1"/>
            </a:lvl7pPr>
            <a:lvl8pPr marL="4265173" indent="0">
              <a:buNone/>
              <a:defRPr sz="2099" b="1"/>
            </a:lvl8pPr>
            <a:lvl9pPr marL="4874484" indent="0">
              <a:buNone/>
              <a:defRPr sz="2099" b="1"/>
            </a:lvl9pPr>
          </a:lstStyle>
          <a:p>
            <a:pPr lvl="0"/>
            <a:r>
              <a:rPr lang="en-US" dirty="0"/>
              <a:t>Click to edit Master text styles.</a:t>
            </a:r>
          </a:p>
        </p:txBody>
      </p:sp>
      <p:sp>
        <p:nvSpPr>
          <p:cNvPr id="6" name="Content Placeholder 5"/>
          <p:cNvSpPr>
            <a:spLocks noGrp="1"/>
          </p:cNvSpPr>
          <p:nvPr>
            <p:ph sz="quarter" idx="4"/>
          </p:nvPr>
        </p:nvSpPr>
        <p:spPr>
          <a:xfrm>
            <a:off x="6189762" y="1681907"/>
            <a:ext cx="5486169" cy="332399"/>
          </a:xfrm>
          <a:prstGeom prst="rect">
            <a:avLst/>
          </a:prstGeom>
        </p:spPr>
        <p:txBody>
          <a:bodyPr>
            <a:noAutofit/>
          </a:bodyPr>
          <a:lstStyle>
            <a:lvl1pPr marL="0" indent="0">
              <a:spcBef>
                <a:spcPts val="1200"/>
              </a:spcBef>
              <a:buNone/>
              <a:defRPr lang="en-US" sz="1999" kern="1200" spc="0" dirty="0" smtClean="0">
                <a:gradFill>
                  <a:gsLst>
                    <a:gs pos="100000">
                      <a:schemeClr val="bg2"/>
                    </a:gs>
                    <a:gs pos="0">
                      <a:schemeClr val="bg2"/>
                    </a:gs>
                  </a:gsLst>
                  <a:lin ang="5400000" scaled="0"/>
                </a:gradFill>
                <a:latin typeface="+mn-lt"/>
                <a:ea typeface="+mn-ea"/>
                <a:cs typeface="Segoe UI" pitchFamily="34" charset="0"/>
              </a:defRPr>
            </a:lvl1pPr>
            <a:lvl2pPr marL="913966" indent="-380819">
              <a:defRPr lang="en-US" sz="2099" kern="1200" dirty="0" smtClean="0">
                <a:solidFill>
                  <a:schemeClr val="bg2">
                    <a:lumMod val="50000"/>
                  </a:schemeClr>
                </a:solidFill>
                <a:latin typeface="+mn-lt"/>
                <a:ea typeface="+mn-ea"/>
                <a:cs typeface="Arial" pitchFamily="34" charset="0"/>
              </a:defRPr>
            </a:lvl2pPr>
            <a:lvl3pPr marL="913966" indent="-228491">
              <a:defRPr lang="en-US" sz="1899" kern="1200" dirty="0" smtClean="0">
                <a:solidFill>
                  <a:schemeClr val="bg2">
                    <a:lumMod val="50000"/>
                  </a:schemeClr>
                </a:solidFill>
                <a:latin typeface="+mn-lt"/>
                <a:ea typeface="+mn-ea"/>
                <a:cs typeface="Arial" pitchFamily="34" charset="0"/>
              </a:defRPr>
            </a:lvl3pPr>
            <a:lvl4pPr marL="1218621" indent="-228491">
              <a:defRPr lang="en-US" sz="1600" kern="1200" dirty="0" smtClean="0">
                <a:solidFill>
                  <a:schemeClr val="bg2">
                    <a:lumMod val="50000"/>
                  </a:schemeClr>
                </a:solidFill>
                <a:latin typeface="+mn-lt"/>
                <a:ea typeface="+mn-ea"/>
                <a:cs typeface="Arial" pitchFamily="34" charset="0"/>
              </a:defRPr>
            </a:lvl4pPr>
            <a:lvl5pPr marL="1447113" indent="-228491">
              <a:defRPr lang="en-US" sz="1600" kern="1200" dirty="0">
                <a:solidFill>
                  <a:schemeClr val="bg2">
                    <a:lumMod val="50000"/>
                  </a:schemeClr>
                </a:solidFill>
                <a:latin typeface="+mn-lt"/>
                <a:ea typeface="+mn-ea"/>
                <a:cs typeface="Arial" pitchFamily="34" charset="0"/>
              </a:defRPr>
            </a:lvl5pPr>
            <a:lvl6pPr>
              <a:defRPr sz="2099"/>
            </a:lvl6pPr>
            <a:lvl7pPr>
              <a:defRPr sz="2099"/>
            </a:lvl7pPr>
            <a:lvl8pPr>
              <a:defRPr sz="2099"/>
            </a:lvl8pPr>
            <a:lvl9pPr>
              <a:defRPr sz="2099"/>
            </a:lvl9pPr>
          </a:lstStyle>
          <a:p>
            <a:pPr lvl="0"/>
            <a:r>
              <a:rPr lang="en-US"/>
              <a:t>Click to edit Master text styles</a:t>
            </a:r>
          </a:p>
        </p:txBody>
      </p:sp>
      <p:sp>
        <p:nvSpPr>
          <p:cNvPr id="9" name="Rectangle 8"/>
          <p:cNvSpPr/>
          <p:nvPr userDrawn="1"/>
        </p:nvSpPr>
        <p:spPr>
          <a:xfrm>
            <a:off x="-10636" y="6596390"/>
            <a:ext cx="12202636" cy="253916"/>
          </a:xfrm>
          <a:prstGeom prst="rect">
            <a:avLst/>
          </a:prstGeom>
        </p:spPr>
        <p:txBody>
          <a:bodyPr wrap="square">
            <a:spAutoFit/>
          </a:bodyPr>
          <a:lstStyle/>
          <a:p>
            <a:pPr defTabSz="914363"/>
            <a:r>
              <a:rPr lang="en-US" sz="1050" dirty="0">
                <a:solidFill>
                  <a:srgbClr val="FFFFFF"/>
                </a:solidFill>
                <a:ea typeface="Segoe UI" pitchFamily="34" charset="0"/>
                <a:cs typeface="Segoe UI" pitchFamily="34" charset="0"/>
              </a:rPr>
              <a:t>©2012 Microsoft Corporation. All rights reserved. Content based on SharePoint Server 2013 released</a:t>
            </a:r>
          </a:p>
        </p:txBody>
      </p:sp>
    </p:spTree>
    <p:extLst>
      <p:ext uri="{BB962C8B-B14F-4D97-AF65-F5344CB8AC3E}">
        <p14:creationId xmlns:p14="http://schemas.microsoft.com/office/powerpoint/2010/main" val="16956637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8" y="2819604"/>
            <a:ext cx="11151917" cy="1218795"/>
          </a:xfrm>
          <a:prstGeom prst="rect">
            <a:avLst/>
          </a:prstGeom>
        </p:spPr>
        <p:txBody>
          <a:bodyPr anchor="b" anchorCtr="0"/>
          <a:lstStyle>
            <a:lvl1pPr>
              <a:defRPr sz="8800" spc="-300" baseline="0">
                <a:gradFill>
                  <a:gsLst>
                    <a:gs pos="100000">
                      <a:schemeClr val="bg1"/>
                    </a:gs>
                    <a:gs pos="0">
                      <a:schemeClr val="bg1"/>
                    </a:gs>
                  </a:gsLst>
                  <a:lin ang="5400000" scaled="0"/>
                </a:gradFill>
              </a:defRPr>
            </a:lvl1pPr>
          </a:lstStyle>
          <a:p>
            <a:r>
              <a:rPr lang="en-US" dirty="0"/>
              <a:t>Click to edit title style</a:t>
            </a:r>
          </a:p>
        </p:txBody>
      </p:sp>
      <p:pic>
        <p:nvPicPr>
          <p:cNvPr id="4" name="Picture 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10397568" y="6199261"/>
            <a:ext cx="1517264" cy="399979"/>
          </a:xfrm>
          <a:prstGeom prst="rect">
            <a:avLst/>
          </a:prstGeom>
        </p:spPr>
      </p:pic>
    </p:spTree>
    <p:extLst>
      <p:ext uri="{BB962C8B-B14F-4D97-AF65-F5344CB8AC3E}">
        <p14:creationId xmlns:p14="http://schemas.microsoft.com/office/powerpoint/2010/main" val="4269606385"/>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6076" y="387366"/>
            <a:ext cx="11161444" cy="609399"/>
          </a:xfrm>
          <a:prstGeom prst="rect">
            <a:avLst/>
          </a:prstGeom>
        </p:spPr>
        <p:txBody>
          <a:bodyPr/>
          <a:lstStyle>
            <a:lvl1pPr>
              <a:defRPr sz="3199"/>
            </a:lvl1pPr>
          </a:lstStyle>
          <a:p>
            <a:r>
              <a:rPr lang="en-US" dirty="0"/>
              <a:t>Click to edit Master title style</a:t>
            </a:r>
          </a:p>
        </p:txBody>
      </p:sp>
      <p:sp>
        <p:nvSpPr>
          <p:cNvPr id="3" name="Footer Placeholder 2"/>
          <p:cNvSpPr>
            <a:spLocks noGrp="1"/>
          </p:cNvSpPr>
          <p:nvPr>
            <p:ph type="ftr" sz="quarter" idx="10"/>
          </p:nvPr>
        </p:nvSpPr>
        <p:spPr>
          <a:xfrm>
            <a:off x="150867" y="6581262"/>
            <a:ext cx="3861807" cy="184666"/>
          </a:xfrm>
          <a:prstGeom prst="rect">
            <a:avLst/>
          </a:prstGeom>
        </p:spPr>
        <p:txBody>
          <a:bodyPr/>
          <a:lstStyle/>
          <a:p>
            <a:pPr defTabSz="914126"/>
            <a:r>
              <a:rPr lang="en-US">
                <a:solidFill>
                  <a:srgbClr val="292929"/>
                </a:solidFill>
              </a:rPr>
              <a:t>Microsoft Confidential</a:t>
            </a:r>
            <a:endParaRPr lang="en-US" dirty="0">
              <a:solidFill>
                <a:srgbClr val="292929"/>
              </a:solidFill>
            </a:endParaRPr>
          </a:p>
        </p:txBody>
      </p:sp>
      <p:sp>
        <p:nvSpPr>
          <p:cNvPr id="4" name="Slide Number Placeholder 3"/>
          <p:cNvSpPr>
            <a:spLocks noGrp="1"/>
          </p:cNvSpPr>
          <p:nvPr>
            <p:ph type="sldNum" sz="quarter" idx="11"/>
          </p:nvPr>
        </p:nvSpPr>
        <p:spPr>
          <a:xfrm>
            <a:off x="11220197" y="6581262"/>
            <a:ext cx="820952" cy="184666"/>
          </a:xfrm>
          <a:prstGeom prst="rect">
            <a:avLst/>
          </a:prstGeom>
        </p:spPr>
        <p:txBody>
          <a:bodyPr/>
          <a:lstStyle/>
          <a:p>
            <a:pPr defTabSz="914126"/>
            <a:fld id="{71F47D9D-8D60-4698-A495-89D102E182A2}" type="slidenum">
              <a:rPr lang="en-US" sz="1799" smtClean="0">
                <a:solidFill>
                  <a:srgbClr val="292929"/>
                </a:solidFill>
              </a:rPr>
              <a:pPr defTabSz="914126"/>
              <a:t>‹#›</a:t>
            </a:fld>
            <a:endParaRPr lang="en-US" sz="1799" dirty="0">
              <a:solidFill>
                <a:srgbClr val="292929"/>
              </a:solidFill>
            </a:endParaRPr>
          </a:p>
        </p:txBody>
      </p:sp>
    </p:spTree>
    <p:extLst>
      <p:ext uri="{BB962C8B-B14F-4D97-AF65-F5344CB8AC3E}">
        <p14:creationId xmlns:p14="http://schemas.microsoft.com/office/powerpoint/2010/main" val="629950585"/>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emplate main">
    <p:spTree>
      <p:nvGrpSpPr>
        <p:cNvPr id="1" name=""/>
        <p:cNvGrpSpPr/>
        <p:nvPr/>
      </p:nvGrpSpPr>
      <p:grpSpPr>
        <a:xfrm>
          <a:off x="0" y="0"/>
          <a:ext cx="0" cy="0"/>
          <a:chOff x="0" y="0"/>
          <a:chExt cx="0" cy="0"/>
        </a:xfrm>
      </p:grpSpPr>
      <p:sp>
        <p:nvSpPr>
          <p:cNvPr id="9" name="Rectangle 13"/>
          <p:cNvSpPr/>
          <p:nvPr userDrawn="1"/>
        </p:nvSpPr>
        <p:spPr>
          <a:xfrm>
            <a:off x="203200" y="5765800"/>
            <a:ext cx="2844800" cy="406400"/>
          </a:xfrm>
          <a:prstGeom prst="rect">
            <a:avLst/>
          </a:prstGeom>
          <a:solidFill>
            <a:srgbClr val="EB3C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804">
              <a:defRPr/>
            </a:pPr>
            <a:endParaRPr lang="en-US" sz="2399" dirty="0">
              <a:solidFill>
                <a:prstClr val="white"/>
              </a:solidFill>
              <a:ea typeface="Segoe UI" pitchFamily="34" charset="0"/>
              <a:cs typeface="Segoe UI" pitchFamily="34" charset="0"/>
            </a:endParaRPr>
          </a:p>
        </p:txBody>
      </p:sp>
      <p:sp>
        <p:nvSpPr>
          <p:cNvPr id="11" name="Rectangle 14"/>
          <p:cNvSpPr/>
          <p:nvPr userDrawn="1"/>
        </p:nvSpPr>
        <p:spPr>
          <a:xfrm>
            <a:off x="9254067" y="2209801"/>
            <a:ext cx="2753784" cy="698500"/>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804">
              <a:defRPr/>
            </a:pPr>
            <a:endParaRPr lang="en-US" sz="2399" dirty="0">
              <a:solidFill>
                <a:prstClr val="white"/>
              </a:solidFill>
              <a:ea typeface="Segoe UI" pitchFamily="34" charset="0"/>
              <a:cs typeface="Segoe UI" pitchFamily="34" charset="0"/>
            </a:endParaRPr>
          </a:p>
        </p:txBody>
      </p:sp>
      <p:sp>
        <p:nvSpPr>
          <p:cNvPr id="12" name="Rectangle 15"/>
          <p:cNvSpPr/>
          <p:nvPr userDrawn="1"/>
        </p:nvSpPr>
        <p:spPr>
          <a:xfrm>
            <a:off x="6299200" y="2209801"/>
            <a:ext cx="2751667" cy="698500"/>
          </a:xfrm>
          <a:prstGeom prst="rect">
            <a:avLst/>
          </a:prstGeom>
          <a:solidFill>
            <a:srgbClr val="00188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804">
              <a:defRPr/>
            </a:pPr>
            <a:endParaRPr lang="en-US" sz="2399" dirty="0">
              <a:solidFill>
                <a:prstClr val="white"/>
              </a:solidFill>
              <a:ea typeface="Segoe UI" pitchFamily="34" charset="0"/>
              <a:cs typeface="Segoe UI" pitchFamily="34" charset="0"/>
            </a:endParaRPr>
          </a:p>
        </p:txBody>
      </p:sp>
      <p:sp>
        <p:nvSpPr>
          <p:cNvPr id="13" name="Rectangle 17"/>
          <p:cNvSpPr/>
          <p:nvPr userDrawn="1"/>
        </p:nvSpPr>
        <p:spPr>
          <a:xfrm>
            <a:off x="3344334" y="2209801"/>
            <a:ext cx="2751667" cy="698500"/>
          </a:xfrm>
          <a:prstGeom prst="rect">
            <a:avLst/>
          </a:pr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8804">
              <a:defRPr/>
            </a:pPr>
            <a:endParaRPr lang="en-US" sz="2399" dirty="0">
              <a:solidFill>
                <a:prstClr val="white"/>
              </a:solidFill>
              <a:ea typeface="Segoe UI" pitchFamily="34" charset="0"/>
              <a:cs typeface="Segoe UI" pitchFamily="34" charset="0"/>
            </a:endParaRPr>
          </a:p>
        </p:txBody>
      </p:sp>
      <p:sp>
        <p:nvSpPr>
          <p:cNvPr id="14" name="TextBox 21"/>
          <p:cNvSpPr txBox="1">
            <a:spLocks noChangeArrowheads="1"/>
          </p:cNvSpPr>
          <p:nvPr userDrawn="1"/>
        </p:nvSpPr>
        <p:spPr bwMode="auto">
          <a:xfrm>
            <a:off x="3437467" y="2209802"/>
            <a:ext cx="2455333"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218804" fontAlgn="base">
              <a:spcBef>
                <a:spcPct val="0"/>
              </a:spcBef>
              <a:spcAft>
                <a:spcPct val="0"/>
              </a:spcAft>
              <a:defRPr/>
            </a:pPr>
            <a:r>
              <a:rPr lang="en-US" sz="3199" dirty="0">
                <a:solidFill>
                  <a:prstClr val="white"/>
                </a:solidFill>
                <a:latin typeface="Segoe UI" panose="020B0502040204020203" pitchFamily="34" charset="0"/>
                <a:cs typeface="Segoe UI" panose="020B0502040204020203" pitchFamily="34" charset="0"/>
              </a:rPr>
              <a:t>Challenge</a:t>
            </a:r>
          </a:p>
        </p:txBody>
      </p:sp>
      <p:sp>
        <p:nvSpPr>
          <p:cNvPr id="15" name="TextBox 22"/>
          <p:cNvSpPr txBox="1">
            <a:spLocks noChangeArrowheads="1"/>
          </p:cNvSpPr>
          <p:nvPr userDrawn="1"/>
        </p:nvSpPr>
        <p:spPr bwMode="auto">
          <a:xfrm>
            <a:off x="9448801" y="2209803"/>
            <a:ext cx="23368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218804" fontAlgn="base">
              <a:spcBef>
                <a:spcPct val="0"/>
              </a:spcBef>
              <a:spcAft>
                <a:spcPct val="0"/>
              </a:spcAft>
              <a:defRPr/>
            </a:pPr>
            <a:r>
              <a:rPr lang="en-US" sz="3199" dirty="0">
                <a:solidFill>
                  <a:prstClr val="white"/>
                </a:solidFill>
                <a:latin typeface="Segoe UI" panose="020B0502040204020203" pitchFamily="34" charset="0"/>
                <a:cs typeface="Segoe UI" panose="020B0502040204020203" pitchFamily="34" charset="0"/>
              </a:rPr>
              <a:t>Benefits</a:t>
            </a:r>
          </a:p>
        </p:txBody>
      </p:sp>
      <p:sp>
        <p:nvSpPr>
          <p:cNvPr id="16" name="TextBox 23"/>
          <p:cNvSpPr txBox="1">
            <a:spLocks noChangeArrowheads="1"/>
          </p:cNvSpPr>
          <p:nvPr userDrawn="1"/>
        </p:nvSpPr>
        <p:spPr bwMode="auto">
          <a:xfrm>
            <a:off x="6502401" y="2209802"/>
            <a:ext cx="2438400"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1218804" fontAlgn="base">
              <a:spcBef>
                <a:spcPct val="0"/>
              </a:spcBef>
              <a:spcAft>
                <a:spcPct val="0"/>
              </a:spcAft>
              <a:defRPr/>
            </a:pPr>
            <a:r>
              <a:rPr lang="en-US" sz="3199" dirty="0">
                <a:solidFill>
                  <a:prstClr val="white"/>
                </a:solidFill>
                <a:latin typeface="Segoe UI" panose="020B0502040204020203" pitchFamily="34" charset="0"/>
                <a:cs typeface="Segoe UI" panose="020B0502040204020203" pitchFamily="34" charset="0"/>
              </a:rPr>
              <a:t>Solutions</a:t>
            </a:r>
          </a:p>
        </p:txBody>
      </p:sp>
      <p:pic>
        <p:nvPicPr>
          <p:cNvPr id="17" name="Picture 2" descr="C:\Users\v-rebwar\Documents\O365_FY12\Logos\Ofc365_Wht_D_rgb.png"/>
          <p:cNvPicPr>
            <a:picLocks noChangeAspect="1" noChangeArrowheads="1"/>
          </p:cNvPicPr>
          <p:nvPr userDrawn="1"/>
        </p:nvPicPr>
        <p:blipFill>
          <a:blip r:embed="rId2" cstate="email">
            <a:extLst>
              <a:ext uri="{28A0092B-C50C-407E-A947-70E740481C1C}">
                <a14:useLocalDpi xmlns:a14="http://schemas.microsoft.com/office/drawing/2010/main" val="0"/>
              </a:ext>
            </a:extLst>
          </a:blip>
          <a:srcRect/>
          <a:stretch>
            <a:fillRect/>
          </a:stretch>
        </p:blipFill>
        <p:spPr bwMode="auto">
          <a:xfrm>
            <a:off x="9630835" y="52919"/>
            <a:ext cx="2366433" cy="8191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Subtitle 2"/>
          <p:cNvSpPr>
            <a:spLocks noGrp="1"/>
          </p:cNvSpPr>
          <p:nvPr>
            <p:ph type="subTitle" idx="1"/>
          </p:nvPr>
        </p:nvSpPr>
        <p:spPr>
          <a:xfrm>
            <a:off x="203200" y="2209800"/>
            <a:ext cx="2844800" cy="3454400"/>
          </a:xfrm>
          <a:prstGeom prst="rect">
            <a:avLst/>
          </a:prstGeom>
          <a:ln>
            <a:solidFill>
              <a:srgbClr val="EB3C00"/>
            </a:solidFill>
          </a:ln>
        </p:spPr>
        <p:txBody>
          <a:bodyPr/>
          <a:lstStyle>
            <a:lvl1pPr marL="0" indent="0" algn="l">
              <a:buNone/>
              <a:defRPr sz="1732">
                <a:solidFill>
                  <a:schemeClr val="tx1"/>
                </a:solidFill>
                <a:latin typeface="Segoe UI" pitchFamily="34" charset="0"/>
                <a:ea typeface="Segoe UI" pitchFamily="34" charset="0"/>
                <a:cs typeface="Segoe UI" pitchFamily="34" charset="0"/>
              </a:defRPr>
            </a:lvl1pPr>
            <a:lvl2pPr marL="609402" indent="0" algn="ctr">
              <a:buNone/>
              <a:defRPr>
                <a:solidFill>
                  <a:schemeClr val="tx1">
                    <a:tint val="75000"/>
                  </a:schemeClr>
                </a:solidFill>
              </a:defRPr>
            </a:lvl2pPr>
            <a:lvl3pPr marL="1218804" indent="0" algn="ctr">
              <a:buNone/>
              <a:defRPr>
                <a:solidFill>
                  <a:schemeClr val="tx1">
                    <a:tint val="75000"/>
                  </a:schemeClr>
                </a:solidFill>
              </a:defRPr>
            </a:lvl3pPr>
            <a:lvl4pPr marL="1828205" indent="0" algn="ctr">
              <a:buNone/>
              <a:defRPr>
                <a:solidFill>
                  <a:schemeClr val="tx1">
                    <a:tint val="75000"/>
                  </a:schemeClr>
                </a:solidFill>
              </a:defRPr>
            </a:lvl4pPr>
            <a:lvl5pPr marL="2437607" indent="0" algn="ctr">
              <a:buNone/>
              <a:defRPr>
                <a:solidFill>
                  <a:schemeClr val="tx1">
                    <a:tint val="75000"/>
                  </a:schemeClr>
                </a:solidFill>
              </a:defRPr>
            </a:lvl5pPr>
            <a:lvl6pPr marL="3047010" indent="0" algn="ctr">
              <a:buNone/>
              <a:defRPr>
                <a:solidFill>
                  <a:schemeClr val="tx1">
                    <a:tint val="75000"/>
                  </a:schemeClr>
                </a:solidFill>
              </a:defRPr>
            </a:lvl6pPr>
            <a:lvl7pPr marL="3656412" indent="0" algn="ctr">
              <a:buNone/>
              <a:defRPr>
                <a:solidFill>
                  <a:schemeClr val="tx1">
                    <a:tint val="75000"/>
                  </a:schemeClr>
                </a:solidFill>
              </a:defRPr>
            </a:lvl7pPr>
            <a:lvl8pPr marL="4265813" indent="0" algn="ctr">
              <a:buNone/>
              <a:defRPr>
                <a:solidFill>
                  <a:schemeClr val="tx1">
                    <a:tint val="75000"/>
                  </a:schemeClr>
                </a:solidFill>
              </a:defRPr>
            </a:lvl8pPr>
            <a:lvl9pPr marL="4875215" indent="0" algn="ctr">
              <a:buNone/>
              <a:defRPr>
                <a:solidFill>
                  <a:schemeClr val="tx1">
                    <a:tint val="75000"/>
                  </a:schemeClr>
                </a:solidFill>
              </a:defRPr>
            </a:lvl9pPr>
          </a:lstStyle>
          <a:p>
            <a:r>
              <a:rPr lang="en-US" dirty="0"/>
              <a:t>Click to edit Master subtitle style</a:t>
            </a:r>
          </a:p>
        </p:txBody>
      </p:sp>
      <p:sp>
        <p:nvSpPr>
          <p:cNvPr id="31" name="Title 30"/>
          <p:cNvSpPr>
            <a:spLocks noGrp="1"/>
          </p:cNvSpPr>
          <p:nvPr>
            <p:ph type="title"/>
          </p:nvPr>
        </p:nvSpPr>
        <p:spPr>
          <a:xfrm>
            <a:off x="203202" y="889000"/>
            <a:ext cx="8848271" cy="1143000"/>
          </a:xfrm>
          <a:prstGeom prst="rect">
            <a:avLst/>
          </a:prstGeom>
          <a:ln>
            <a:noFill/>
          </a:ln>
        </p:spPr>
        <p:txBody>
          <a:bodyPr/>
          <a:lstStyle>
            <a:lvl1pPr algn="l">
              <a:defRPr sz="3199" baseline="0">
                <a:solidFill>
                  <a:schemeClr val="tx1">
                    <a:lumMod val="75000"/>
                    <a:lumOff val="25000"/>
                  </a:schemeClr>
                </a:solidFill>
                <a:latin typeface="Segoe UI" pitchFamily="34" charset="0"/>
                <a:ea typeface="Segoe UI" pitchFamily="34" charset="0"/>
                <a:cs typeface="Segoe UI" pitchFamily="34" charset="0"/>
              </a:defRPr>
            </a:lvl1pPr>
          </a:lstStyle>
          <a:p>
            <a:r>
              <a:rPr lang="en-US" dirty="0"/>
              <a:t>Click to edit Master title style</a:t>
            </a:r>
          </a:p>
        </p:txBody>
      </p:sp>
      <p:sp>
        <p:nvSpPr>
          <p:cNvPr id="19" name="Text Placeholder 3"/>
          <p:cNvSpPr>
            <a:spLocks noGrp="1"/>
          </p:cNvSpPr>
          <p:nvPr>
            <p:ph type="body" sz="quarter" idx="10"/>
          </p:nvPr>
        </p:nvSpPr>
        <p:spPr>
          <a:xfrm>
            <a:off x="3318330" y="3022600"/>
            <a:ext cx="2751667" cy="3251200"/>
          </a:xfrm>
          <a:prstGeom prst="rect">
            <a:avLst/>
          </a:prstGeom>
        </p:spPr>
        <p:txBody>
          <a:bodyPr/>
          <a:lstStyle>
            <a:lvl1pPr marL="228525" marR="0" indent="-228525" algn="l" defTabSz="1218804" rtl="0" eaLnBrk="1" fontAlgn="auto" latinLnBrk="0" hangingPunct="1">
              <a:lnSpc>
                <a:spcPct val="100000"/>
              </a:lnSpc>
              <a:spcBef>
                <a:spcPct val="20000"/>
              </a:spcBef>
              <a:spcAft>
                <a:spcPts val="0"/>
              </a:spcAft>
              <a:buClr>
                <a:srgbClr val="EB3C00"/>
              </a:buClr>
              <a:buSzTx/>
              <a:buFont typeface="Wingdings" pitchFamily="2" charset="2"/>
              <a:buChar char="§"/>
              <a:tabLst/>
              <a:defRPr sz="1866">
                <a:latin typeface="Segoe UI" pitchFamily="34" charset="0"/>
                <a:ea typeface="Segoe UI" pitchFamily="34" charset="0"/>
                <a:cs typeface="Segoe UI" pitchFamily="34" charset="0"/>
              </a:defRPr>
            </a:lvl1pPr>
          </a:lstStyle>
          <a:p>
            <a:pPr lvl="0"/>
            <a:r>
              <a:rPr lang="en-US" dirty="0" err="1"/>
              <a:t>Click to edit Master text styles</a:t>
            </a:r>
          </a:p>
          <a:p>
            <a:pPr lvl="1"/>
            <a:r>
              <a:rPr lang="en-US" dirty="0" err="1"/>
              <a:t>Second level</a:t>
            </a:r>
          </a:p>
          <a:p>
            <a:pPr lvl="2"/>
            <a:r>
              <a:rPr lang="en-US" dirty="0" err="1"/>
              <a:t>Third level</a:t>
            </a:r>
          </a:p>
          <a:p>
            <a:pPr lvl="3"/>
            <a:r>
              <a:rPr lang="en-US" dirty="0" err="1"/>
              <a:t>Fourth level</a:t>
            </a:r>
          </a:p>
        </p:txBody>
      </p:sp>
      <p:sp>
        <p:nvSpPr>
          <p:cNvPr id="20" name="Text Placeholder 5"/>
          <p:cNvSpPr>
            <a:spLocks noGrp="1"/>
          </p:cNvSpPr>
          <p:nvPr>
            <p:ph type="body" sz="quarter" idx="11"/>
          </p:nvPr>
        </p:nvSpPr>
        <p:spPr>
          <a:xfrm>
            <a:off x="6299200" y="3022600"/>
            <a:ext cx="2751667" cy="3251200"/>
          </a:xfrm>
          <a:prstGeom prst="rect">
            <a:avLst/>
          </a:prstGeom>
        </p:spPr>
        <p:txBody>
          <a:bodyPr/>
          <a:lstStyle>
            <a:lvl1pPr>
              <a:defRPr sz="1866">
                <a:latin typeface="Segoe UI" pitchFamily="34" charset="0"/>
                <a:ea typeface="Segoe UI" pitchFamily="34" charset="0"/>
                <a:cs typeface="Segoe UI" pitchFamily="34" charset="0"/>
              </a:defRPr>
            </a:lvl1pPr>
          </a:lstStyle>
          <a:p>
            <a:pPr lvl="0"/>
            <a:r>
              <a:rPr lang="en-US" dirty="0" err="1"/>
              <a:t>Click to edit Master text styles</a:t>
            </a:r>
          </a:p>
          <a:p>
            <a:pPr lvl="1"/>
            <a:r>
              <a:rPr lang="en-US" dirty="0" err="1"/>
              <a:t>Second level</a:t>
            </a:r>
          </a:p>
          <a:p>
            <a:pPr lvl="2"/>
            <a:r>
              <a:rPr lang="en-US" dirty="0" err="1"/>
              <a:t>Third level</a:t>
            </a:r>
          </a:p>
          <a:p>
            <a:pPr lvl="3"/>
            <a:r>
              <a:rPr lang="en-US" dirty="0" err="1"/>
              <a:t>Fourth level</a:t>
            </a:r>
          </a:p>
        </p:txBody>
      </p:sp>
      <p:sp>
        <p:nvSpPr>
          <p:cNvPr id="21" name="Text Placeholder 8"/>
          <p:cNvSpPr>
            <a:spLocks noGrp="1"/>
          </p:cNvSpPr>
          <p:nvPr>
            <p:ph type="body" sz="quarter" idx="12"/>
          </p:nvPr>
        </p:nvSpPr>
        <p:spPr>
          <a:xfrm>
            <a:off x="9254067" y="3022600"/>
            <a:ext cx="2753784" cy="3251200"/>
          </a:xfrm>
          <a:prstGeom prst="rect">
            <a:avLst/>
          </a:prstGeom>
        </p:spPr>
        <p:txBody>
          <a:bodyPr/>
          <a:lstStyle>
            <a:lvl1pPr>
              <a:defRPr sz="1866">
                <a:latin typeface="Segoe UI" pitchFamily="34" charset="0"/>
                <a:ea typeface="Segoe UI" pitchFamily="34" charset="0"/>
                <a:cs typeface="Segoe UI" pitchFamily="34" charset="0"/>
              </a:defRPr>
            </a:lvl1pPr>
          </a:lstStyle>
          <a:p>
            <a:pPr lvl="0"/>
            <a:r>
              <a:rPr lang="en-US" dirty="0" err="1"/>
              <a:t>Click to edit Master text styles</a:t>
            </a:r>
          </a:p>
          <a:p>
            <a:pPr lvl="1"/>
            <a:r>
              <a:rPr lang="en-US" dirty="0" err="1"/>
              <a:t>Second level</a:t>
            </a:r>
          </a:p>
          <a:p>
            <a:pPr lvl="2"/>
            <a:r>
              <a:rPr lang="en-US" dirty="0" err="1"/>
              <a:t>Third level</a:t>
            </a:r>
          </a:p>
          <a:p>
            <a:pPr lvl="3"/>
            <a:r>
              <a:rPr lang="en-US" dirty="0" err="1"/>
              <a:t>Fourth level</a:t>
            </a:r>
          </a:p>
        </p:txBody>
      </p:sp>
      <p:sp>
        <p:nvSpPr>
          <p:cNvPr id="28" name="Text Placeholder 4"/>
          <p:cNvSpPr>
            <a:spLocks noGrp="1"/>
          </p:cNvSpPr>
          <p:nvPr>
            <p:ph type="body" sz="quarter" idx="13"/>
          </p:nvPr>
        </p:nvSpPr>
        <p:spPr>
          <a:xfrm>
            <a:off x="304800" y="5765800"/>
            <a:ext cx="2641600" cy="406400"/>
          </a:xfrm>
          <a:prstGeom prst="rect">
            <a:avLst/>
          </a:prstGeom>
        </p:spPr>
        <p:txBody>
          <a:bodyPr/>
          <a:lstStyle>
            <a:lvl1pPr marL="0" indent="0" algn="ctr">
              <a:buNone/>
              <a:defRPr sz="1999" baseline="0">
                <a:solidFill>
                  <a:schemeClr val="bg1"/>
                </a:solidFill>
                <a:latin typeface="Segoe UI" pitchFamily="34" charset="0"/>
                <a:ea typeface="Segoe UI" pitchFamily="34" charset="0"/>
                <a:cs typeface="Segoe UI" pitchFamily="34" charset="0"/>
              </a:defRPr>
            </a:lvl1pPr>
            <a:lvl2pPr marL="609402" indent="0" algn="l">
              <a:buFont typeface="Arial" pitchFamily="34" charset="0"/>
              <a:buNone/>
              <a:defRPr sz="1866" baseline="0">
                <a:solidFill>
                  <a:schemeClr val="bg1"/>
                </a:solidFill>
                <a:latin typeface="Segoe UI Light" pitchFamily="34" charset="0"/>
              </a:defRPr>
            </a:lvl2pPr>
          </a:lstStyle>
          <a:p>
            <a:pPr lvl="0"/>
            <a:r>
              <a:rPr lang="en-US" dirty="0"/>
              <a:t>Click to edit Master text styles</a:t>
            </a:r>
          </a:p>
        </p:txBody>
      </p:sp>
      <p:sp>
        <p:nvSpPr>
          <p:cNvPr id="10" name="Text Placeholder 9"/>
          <p:cNvSpPr>
            <a:spLocks noGrp="1"/>
          </p:cNvSpPr>
          <p:nvPr>
            <p:ph type="body" sz="quarter" idx="15"/>
          </p:nvPr>
        </p:nvSpPr>
        <p:spPr>
          <a:xfrm>
            <a:off x="9254068" y="1092200"/>
            <a:ext cx="2752875" cy="914400"/>
          </a:xfrm>
          <a:prstGeom prst="rect">
            <a:avLst/>
          </a:prstGeom>
        </p:spPr>
        <p:txBody>
          <a:bodyPr/>
          <a:lstStyle>
            <a:lvl1pPr marL="0" indent="0">
              <a:buNone/>
              <a:defRPr sz="1866" baseline="0">
                <a:latin typeface="Segoe UI Light" pitchFamily="34" charset="0"/>
              </a:defRPr>
            </a:lvl1pPr>
            <a:lvl2pPr>
              <a:defRPr sz="1866">
                <a:latin typeface="Segoe UI Light" pitchFamily="34" charset="0"/>
              </a:defRPr>
            </a:lvl2pPr>
            <a:lvl3pPr>
              <a:defRPr sz="1866">
                <a:latin typeface="Segoe UI Light" pitchFamily="34" charset="0"/>
              </a:defRPr>
            </a:lvl3pPr>
            <a:lvl4pPr>
              <a:defRPr sz="1866">
                <a:latin typeface="Segoe UI Light" pitchFamily="34" charset="0"/>
              </a:defRPr>
            </a:lvl4pPr>
            <a:lvl5pPr>
              <a:defRPr sz="1866">
                <a:latin typeface="Segoe UI Light" pitchFamily="34" charset="0"/>
              </a:defRPr>
            </a:lvl5pPr>
          </a:lstStyle>
          <a:p>
            <a:pPr lvl="0"/>
            <a:r>
              <a:rPr lang="en-US" dirty="0"/>
              <a:t>Click to edit Master text styles</a:t>
            </a:r>
          </a:p>
        </p:txBody>
      </p:sp>
    </p:spTree>
    <p:extLst>
      <p:ext uri="{BB962C8B-B14F-4D97-AF65-F5344CB8AC3E}">
        <p14:creationId xmlns:p14="http://schemas.microsoft.com/office/powerpoint/2010/main" val="243616996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1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a:xfrm>
            <a:off x="838200" y="6356352"/>
            <a:ext cx="2743200" cy="365125"/>
          </a:xfrm>
          <a:prstGeom prst="rect">
            <a:avLst/>
          </a:prstGeom>
        </p:spPr>
        <p:txBody>
          <a:bodyPr/>
          <a:lstStyle/>
          <a:p>
            <a:pPr defTabSz="914363"/>
            <a:fld id="{9FA92E1B-0AF7-4A0B-8B46-4DC19EFC8DCC}" type="datetimeFigureOut">
              <a:rPr lang="en-US" smtClean="0">
                <a:solidFill>
                  <a:srgbClr val="505050"/>
                </a:solidFill>
              </a:rPr>
              <a:pPr defTabSz="914363"/>
              <a:t>10/13/2016</a:t>
            </a:fld>
            <a:endParaRPr lang="en-US">
              <a:solidFill>
                <a:srgbClr val="505050"/>
              </a:solidFill>
            </a:endParaRPr>
          </a:p>
        </p:txBody>
      </p:sp>
      <p:sp>
        <p:nvSpPr>
          <p:cNvPr id="4" name="Footer Placeholder 3"/>
          <p:cNvSpPr>
            <a:spLocks noGrp="1"/>
          </p:cNvSpPr>
          <p:nvPr>
            <p:ph type="ftr" sz="quarter" idx="11"/>
          </p:nvPr>
        </p:nvSpPr>
        <p:spPr/>
        <p:txBody>
          <a:bodyPr/>
          <a:lstStyle/>
          <a:p>
            <a:endParaRPr lang="en-US">
              <a:solidFill>
                <a:srgbClr val="505050"/>
              </a:solidFill>
            </a:endParaRPr>
          </a:p>
        </p:txBody>
      </p:sp>
      <p:sp>
        <p:nvSpPr>
          <p:cNvPr id="5" name="Slide Number Placeholder 4"/>
          <p:cNvSpPr>
            <a:spLocks noGrp="1"/>
          </p:cNvSpPr>
          <p:nvPr>
            <p:ph type="sldNum" sz="quarter" idx="12"/>
          </p:nvPr>
        </p:nvSpPr>
        <p:spPr/>
        <p:txBody>
          <a:bodyPr/>
          <a:lstStyle/>
          <a:p>
            <a:fld id="{13124039-3A56-43CE-BF71-214EEB9B176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18944364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2"/>
            <a:ext cx="2743200" cy="365125"/>
          </a:xfrm>
          <a:prstGeom prst="rect">
            <a:avLst/>
          </a:prstGeom>
        </p:spPr>
        <p:txBody>
          <a:bodyPr/>
          <a:lstStyle/>
          <a:p>
            <a:pPr defTabSz="914363"/>
            <a:fld id="{9FA92E1B-0AF7-4A0B-8B46-4DC19EFC8DCC}" type="datetimeFigureOut">
              <a:rPr lang="en-US" smtClean="0">
                <a:solidFill>
                  <a:srgbClr val="505050"/>
                </a:solidFill>
              </a:rPr>
              <a:pPr defTabSz="914363"/>
              <a:t>10/13/2016</a:t>
            </a:fld>
            <a:endParaRPr lang="en-US">
              <a:solidFill>
                <a:srgbClr val="505050"/>
              </a:solidFill>
            </a:endParaRPr>
          </a:p>
        </p:txBody>
      </p:sp>
      <p:sp>
        <p:nvSpPr>
          <p:cNvPr id="3" name="Footer Placeholder 2"/>
          <p:cNvSpPr>
            <a:spLocks noGrp="1"/>
          </p:cNvSpPr>
          <p:nvPr>
            <p:ph type="ftr" sz="quarter" idx="11"/>
          </p:nvPr>
        </p:nvSpPr>
        <p:spPr/>
        <p:txBody>
          <a:bodyPr/>
          <a:lstStyle/>
          <a:p>
            <a:endParaRPr lang="en-US">
              <a:solidFill>
                <a:srgbClr val="505050"/>
              </a:solidFill>
            </a:endParaRPr>
          </a:p>
        </p:txBody>
      </p:sp>
      <p:sp>
        <p:nvSpPr>
          <p:cNvPr id="4" name="Slide Number Placeholder 3"/>
          <p:cNvSpPr>
            <a:spLocks noGrp="1"/>
          </p:cNvSpPr>
          <p:nvPr>
            <p:ph type="sldNum" sz="quarter" idx="12"/>
          </p:nvPr>
        </p:nvSpPr>
        <p:spPr/>
        <p:txBody>
          <a:bodyPr/>
          <a:lstStyle/>
          <a:p>
            <a:fld id="{13124039-3A56-43CE-BF71-214EEB9B1769}" type="slidenum">
              <a:rPr lang="en-US" smtClean="0">
                <a:solidFill>
                  <a:srgbClr val="505050"/>
                </a:solidFill>
              </a:rPr>
              <a:pPr/>
              <a:t>‹#›</a:t>
            </a:fld>
            <a:endParaRPr lang="en-US">
              <a:solidFill>
                <a:srgbClr val="505050"/>
              </a:solidFill>
            </a:endParaRPr>
          </a:p>
        </p:txBody>
      </p:sp>
    </p:spTree>
    <p:extLst>
      <p:ext uri="{BB962C8B-B14F-4D97-AF65-F5344CB8AC3E}">
        <p14:creationId xmlns:p14="http://schemas.microsoft.com/office/powerpoint/2010/main" val="390756250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780873" y="2899240"/>
            <a:ext cx="2881117" cy="1059525"/>
          </a:xfrm>
          <a:prstGeom prst="rect">
            <a:avLst/>
          </a:prstGeom>
        </p:spPr>
      </p:pic>
    </p:spTree>
    <p:extLst>
      <p:ext uri="{BB962C8B-B14F-4D97-AF65-F5344CB8AC3E}">
        <p14:creationId xmlns:p14="http://schemas.microsoft.com/office/powerpoint/2010/main" val="235644114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91474136"/>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p:nvPr>
        </p:nvSpPr>
        <p:spPr>
          <a:xfrm>
            <a:off x="79418" y="267869"/>
            <a:ext cx="12195176" cy="646042"/>
          </a:xfrm>
        </p:spPr>
        <p:txBody>
          <a:bodyPr>
            <a:noAutofit/>
          </a:bodyPr>
          <a:lstStyle>
            <a:lvl1pPr>
              <a:defRPr sz="4000"/>
            </a:lvl1pPr>
          </a:lstStyle>
          <a:p>
            <a:r>
              <a:rPr lang="en-US" dirty="0"/>
              <a:t>Click to edit Master title style</a:t>
            </a:r>
          </a:p>
        </p:txBody>
      </p:sp>
      <p:sp>
        <p:nvSpPr>
          <p:cNvPr id="8" name="Text Placeholder 5"/>
          <p:cNvSpPr>
            <a:spLocks noGrp="1"/>
          </p:cNvSpPr>
          <p:nvPr>
            <p:ph type="body" sz="quarter" idx="13" hasCustomPrompt="1"/>
          </p:nvPr>
        </p:nvSpPr>
        <p:spPr>
          <a:xfrm>
            <a:off x="111002" y="913913"/>
            <a:ext cx="12195176"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3356815790"/>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6" name="Text Placeholder 15"/>
          <p:cNvSpPr>
            <a:spLocks noGrp="1"/>
          </p:cNvSpPr>
          <p:nvPr>
            <p:ph type="body" sz="quarter" idx="14"/>
          </p:nvPr>
        </p:nvSpPr>
        <p:spPr>
          <a:xfrm>
            <a:off x="228600" y="1600200"/>
            <a:ext cx="11812548" cy="4577051"/>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07AD9173-C745-46BA-9042-CD7714A275BD}" type="slidenum">
              <a:rPr lang="en-US" smtClean="0"/>
              <a:t>‹#›</a:t>
            </a:fld>
            <a:endParaRPr lang="en-US"/>
          </a:p>
        </p:txBody>
      </p:sp>
      <p:sp>
        <p:nvSpPr>
          <p:cNvPr id="20" name="Footer Placeholder 19"/>
          <p:cNvSpPr>
            <a:spLocks noGrp="1"/>
          </p:cNvSpPr>
          <p:nvPr>
            <p:ph type="ftr" sz="quarter" idx="16"/>
          </p:nvPr>
        </p:nvSpPr>
        <p:spPr>
          <a:xfrm>
            <a:off x="228601" y="6553200"/>
            <a:ext cx="11201400" cy="304801"/>
          </a:xfrm>
        </p:spPr>
        <p:txBody>
          <a:bodyPr/>
          <a:lstStyle/>
          <a:p>
            <a:endParaRPr lang="en-US"/>
          </a:p>
        </p:txBody>
      </p:sp>
    </p:spTree>
    <p:extLst>
      <p:ext uri="{BB962C8B-B14F-4D97-AF65-F5344CB8AC3E}">
        <p14:creationId xmlns:p14="http://schemas.microsoft.com/office/powerpoint/2010/main" val="4220053386"/>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6" name="Rectangle 5"/>
          <p:cNvSpPr/>
          <p:nvPr userDrawn="1"/>
        </p:nvSpPr>
        <p:spPr bwMode="auto">
          <a:xfrm>
            <a:off x="865" y="-7257"/>
            <a:ext cx="12190271" cy="2972775"/>
          </a:xfrm>
          <a:prstGeom prst="rect">
            <a:avLst/>
          </a:prstGeom>
          <a:gradFill flip="none" rotWithShape="1">
            <a:gsLst>
              <a:gs pos="17000">
                <a:srgbClr val="000000">
                  <a:alpha val="61000"/>
                </a:srgbClr>
              </a:gs>
              <a:gs pos="100000">
                <a:srgbClr val="000000">
                  <a:alpha val="0"/>
                </a:srgb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3" tIns="143370" rIns="179213" bIns="143370" numCol="1" spcCol="0" rtlCol="0" fromWordArt="0" anchor="t" anchorCtr="0" forceAA="0" compatLnSpc="1">
            <a:prstTxWarp prst="textNoShape">
              <a:avLst/>
            </a:prstTxWarp>
            <a:noAutofit/>
          </a:bodyPr>
          <a:lstStyle/>
          <a:p>
            <a:pPr algn="ctr" defTabSz="913740" fontAlgn="base">
              <a:lnSpc>
                <a:spcPct val="90000"/>
              </a:lnSpc>
              <a:spcBef>
                <a:spcPct val="0"/>
              </a:spcBef>
              <a:spcAft>
                <a:spcPct val="0"/>
              </a:spcAft>
            </a:pPr>
            <a:endParaRPr lang="en-US" sz="2352"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a:xfrm>
            <a:off x="2453" y="5181601"/>
            <a:ext cx="12187097" cy="1676400"/>
          </a:xfrm>
          <a:prstGeom prst="rect">
            <a:avLst/>
          </a:prstGeom>
          <a:solidFill>
            <a:schemeClr val="bg1">
              <a:alpha val="8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03" tIns="91403" rIns="91403" bIns="91403" numCol="1" spcCol="0" rtlCol="0" fromWordArt="0" anchor="b" anchorCtr="0" forceAA="0" compatLnSpc="1">
            <a:prstTxWarp prst="textNoShape">
              <a:avLst/>
            </a:prstTxWarp>
            <a:noAutofit/>
          </a:bodyPr>
          <a:lstStyle/>
          <a:p>
            <a:pPr algn="r" defTabSz="913849"/>
            <a:endParaRPr lang="en-US" sz="1200" dirty="0" err="1">
              <a:solidFill>
                <a:prstClr val="white"/>
              </a:solidFill>
            </a:endParaRPr>
          </a:p>
        </p:txBody>
      </p:sp>
      <p:sp>
        <p:nvSpPr>
          <p:cNvPr id="9" name="Pentagon 8"/>
          <p:cNvSpPr/>
          <p:nvPr userDrawn="1"/>
        </p:nvSpPr>
        <p:spPr>
          <a:xfrm>
            <a:off x="4115081" y="1981200"/>
            <a:ext cx="2468530" cy="2820888"/>
          </a:xfrm>
          <a:prstGeom prst="homePlate">
            <a:avLst>
              <a:gd name="adj" fmla="val 8333"/>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05" tIns="137105" rIns="137105" bIns="137105" rtlCol="0" anchor="t"/>
          <a:lstStyle/>
          <a:p>
            <a:pPr defTabSz="913849" fontAlgn="base">
              <a:spcBef>
                <a:spcPct val="0"/>
              </a:spcBef>
              <a:spcAft>
                <a:spcPts val="300"/>
              </a:spcAft>
              <a:buClr>
                <a:prstClr val="white"/>
              </a:buClr>
              <a:buSzPct val="100000"/>
            </a:pPr>
            <a:endParaRPr lang="en-US" sz="2799" dirty="0">
              <a:solidFill>
                <a:prstClr val="white"/>
              </a:solidFill>
              <a:latin typeface="Segoe UI Light"/>
              <a:ea typeface="Segoe UI" pitchFamily="34" charset="0"/>
              <a:cs typeface="Segoe UI" pitchFamily="34" charset="0"/>
            </a:endParaRPr>
          </a:p>
        </p:txBody>
      </p:sp>
      <p:sp>
        <p:nvSpPr>
          <p:cNvPr id="10" name="Chevron 9"/>
          <p:cNvSpPr/>
          <p:nvPr userDrawn="1"/>
        </p:nvSpPr>
        <p:spPr>
          <a:xfrm>
            <a:off x="6442661" y="1981200"/>
            <a:ext cx="2537100" cy="2820888"/>
          </a:xfrm>
          <a:prstGeom prst="chevron">
            <a:avLst>
              <a:gd name="adj" fmla="val 8450"/>
            </a:avLst>
          </a:prstGeom>
          <a:solidFill>
            <a:schemeClr val="bg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05" tIns="137105" rIns="137105" bIns="137105" rtlCol="0" anchor="t"/>
          <a:lstStyle/>
          <a:p>
            <a:pPr defTabSz="913849" fontAlgn="base">
              <a:spcBef>
                <a:spcPct val="0"/>
              </a:spcBef>
              <a:spcAft>
                <a:spcPts val="300"/>
              </a:spcAft>
              <a:buClr>
                <a:prstClr val="white"/>
              </a:buClr>
              <a:buSzPct val="100000"/>
            </a:pPr>
            <a:r>
              <a:rPr lang="en-US" sz="2799" dirty="0">
                <a:solidFill>
                  <a:prstClr val="white"/>
                </a:solidFill>
                <a:latin typeface="Segoe UI Light"/>
                <a:ea typeface="Segoe UI" pitchFamily="34" charset="0"/>
                <a:cs typeface="Segoe UI" pitchFamily="34" charset="0"/>
              </a:rPr>
              <a:t>Solution</a:t>
            </a:r>
            <a:endParaRPr lang="en-US" sz="1600" dirty="0">
              <a:solidFill>
                <a:prstClr val="white"/>
              </a:solidFill>
              <a:ea typeface="Segoe UI" pitchFamily="34" charset="0"/>
              <a:cs typeface="Segoe UI" pitchFamily="34" charset="0"/>
            </a:endParaRPr>
          </a:p>
        </p:txBody>
      </p:sp>
      <p:sp>
        <p:nvSpPr>
          <p:cNvPr id="11" name="Chevron 25"/>
          <p:cNvSpPr/>
          <p:nvPr userDrawn="1"/>
        </p:nvSpPr>
        <p:spPr>
          <a:xfrm>
            <a:off x="8837224" y="1981200"/>
            <a:ext cx="3352326" cy="2820888"/>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5613" tIns="137105" rIns="137105" bIns="137105" rtlCol="0" anchor="t"/>
          <a:lstStyle/>
          <a:p>
            <a:pPr defTabSz="913849" fontAlgn="base">
              <a:spcBef>
                <a:spcPct val="0"/>
              </a:spcBef>
              <a:spcAft>
                <a:spcPts val="300"/>
              </a:spcAft>
              <a:buClr>
                <a:prstClr val="white"/>
              </a:buClr>
              <a:buSzPct val="100000"/>
            </a:pPr>
            <a:r>
              <a:rPr lang="en-US" sz="2799" dirty="0">
                <a:solidFill>
                  <a:prstClr val="white"/>
                </a:solidFill>
                <a:latin typeface="Segoe UI Light"/>
                <a:ea typeface="Segoe UI" pitchFamily="34" charset="0"/>
                <a:cs typeface="Segoe UI" pitchFamily="34" charset="0"/>
              </a:rPr>
              <a:t>Results</a:t>
            </a:r>
          </a:p>
        </p:txBody>
      </p:sp>
      <p:sp>
        <p:nvSpPr>
          <p:cNvPr id="13" name="Rectangle 12"/>
          <p:cNvSpPr/>
          <p:nvPr userDrawn="1"/>
        </p:nvSpPr>
        <p:spPr bwMode="auto">
          <a:xfrm>
            <a:off x="1252634" y="5627567"/>
            <a:ext cx="736863" cy="7369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68" tIns="60919" rIns="24368" bIns="24368" numCol="1" spcCol="0" rtlCol="0" fromWordArt="0" anchor="b" anchorCtr="0" forceAA="0" compatLnSpc="1">
            <a:prstTxWarp prst="textNoShape">
              <a:avLst/>
            </a:prstTxWarp>
            <a:noAutofit/>
          </a:bodyPr>
          <a:lstStyle/>
          <a:p>
            <a:pPr defTabSz="1217727" fontAlgn="base">
              <a:spcBef>
                <a:spcPct val="0"/>
              </a:spcBef>
              <a:spcAft>
                <a:spcPct val="0"/>
              </a:spcAft>
            </a:pPr>
            <a:endParaRPr lang="en-US" sz="800" dirty="0">
              <a:solidFill>
                <a:prstClr val="white"/>
              </a:solidFill>
              <a:ea typeface="Segoe UI" pitchFamily="34" charset="0"/>
              <a:cs typeface="Segoe UI" pitchFamily="34" charset="0"/>
            </a:endParaRPr>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308327" y="5757935"/>
            <a:ext cx="610505" cy="472770"/>
          </a:xfrm>
          <a:prstGeom prst="rect">
            <a:avLst/>
          </a:prstGeom>
        </p:spPr>
      </p:pic>
      <p:sp>
        <p:nvSpPr>
          <p:cNvPr id="15" name="Rectangle 14"/>
          <p:cNvSpPr/>
          <p:nvPr userDrawn="1"/>
        </p:nvSpPr>
        <p:spPr bwMode="auto">
          <a:xfrm>
            <a:off x="2057005" y="5627567"/>
            <a:ext cx="736863" cy="7369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68" tIns="60919" rIns="24368" bIns="24368" numCol="1" spcCol="0" rtlCol="0" fromWordArt="0" anchor="b" anchorCtr="0" forceAA="0" compatLnSpc="1">
            <a:prstTxWarp prst="textNoShape">
              <a:avLst/>
            </a:prstTxWarp>
            <a:noAutofit/>
          </a:bodyPr>
          <a:lstStyle/>
          <a:p>
            <a:pPr defTabSz="1217727" fontAlgn="base">
              <a:spcBef>
                <a:spcPct val="0"/>
              </a:spcBef>
              <a:spcAft>
                <a:spcPct val="0"/>
              </a:spcAft>
            </a:pPr>
            <a:endParaRPr lang="en-US" sz="800" dirty="0">
              <a:solidFill>
                <a:prstClr val="white"/>
              </a:solidFill>
              <a:ea typeface="Segoe UI" pitchFamily="34" charset="0"/>
              <a:cs typeface="Segoe UI" pitchFamily="34" charset="0"/>
            </a:endParaRPr>
          </a:p>
        </p:txBody>
      </p:sp>
      <p:pic>
        <p:nvPicPr>
          <p:cNvPr id="16" name="Picture 1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36331" y="5789500"/>
            <a:ext cx="572485" cy="338427"/>
          </a:xfrm>
          <a:prstGeom prst="rect">
            <a:avLst/>
          </a:prstGeom>
        </p:spPr>
      </p:pic>
      <p:sp>
        <p:nvSpPr>
          <p:cNvPr id="17" name="Rectangle 16"/>
          <p:cNvSpPr/>
          <p:nvPr userDrawn="1"/>
        </p:nvSpPr>
        <p:spPr bwMode="auto">
          <a:xfrm>
            <a:off x="2861377" y="5627567"/>
            <a:ext cx="736863" cy="73697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68" tIns="60919" rIns="24368" bIns="24368" numCol="1" spcCol="0" rtlCol="0" fromWordArt="0" anchor="b" anchorCtr="0" forceAA="0" compatLnSpc="1">
            <a:prstTxWarp prst="textNoShape">
              <a:avLst/>
            </a:prstTxWarp>
            <a:noAutofit/>
          </a:bodyPr>
          <a:lstStyle/>
          <a:p>
            <a:pPr defTabSz="1217727" fontAlgn="base">
              <a:spcBef>
                <a:spcPct val="0"/>
              </a:spcBef>
              <a:spcAft>
                <a:spcPct val="0"/>
              </a:spcAft>
            </a:pPr>
            <a:endParaRPr lang="en-US" sz="800" dirty="0">
              <a:solidFill>
                <a:prstClr val="white"/>
              </a:solidFill>
              <a:ea typeface="Segoe UI" pitchFamily="34" charset="0"/>
              <a:cs typeface="Segoe UI" pitchFamily="34" charset="0"/>
            </a:endParaRPr>
          </a:p>
        </p:txBody>
      </p:sp>
      <p:pic>
        <p:nvPicPr>
          <p:cNvPr id="18" name="Picture 17"/>
          <p:cNvPicPr>
            <a:picLocks noChangeAspect="1"/>
          </p:cNvPicPr>
          <p:nvPr userDrawn="1"/>
        </p:nvPicPr>
        <p:blipFill>
          <a:blip r:embed="rId4" cstate="screen">
            <a:extLst>
              <a:ext uri="{28A0092B-C50C-407E-A947-70E740481C1C}">
                <a14:useLocalDpi xmlns:a14="http://schemas.microsoft.com/office/drawing/2010/main" val="0"/>
              </a:ext>
            </a:extLst>
          </a:blip>
          <a:stretch>
            <a:fillRect/>
          </a:stretch>
        </p:blipFill>
        <p:spPr>
          <a:xfrm>
            <a:off x="3000698" y="5800036"/>
            <a:ext cx="458217" cy="332664"/>
          </a:xfrm>
          <a:prstGeom prst="rect">
            <a:avLst/>
          </a:prstGeom>
        </p:spPr>
      </p:pic>
      <p:sp>
        <p:nvSpPr>
          <p:cNvPr id="19" name="Rectangle 18"/>
          <p:cNvSpPr/>
          <p:nvPr userDrawn="1"/>
        </p:nvSpPr>
        <p:spPr bwMode="auto">
          <a:xfrm>
            <a:off x="448261" y="5627567"/>
            <a:ext cx="736863" cy="73697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68" tIns="60919" rIns="24368" bIns="24368" numCol="1" spcCol="0" rtlCol="0" fromWordArt="0" anchor="b" anchorCtr="0" forceAA="0" compatLnSpc="1">
            <a:prstTxWarp prst="textNoShape">
              <a:avLst/>
            </a:prstTxWarp>
            <a:noAutofit/>
          </a:bodyPr>
          <a:lstStyle/>
          <a:p>
            <a:pPr defTabSz="1217727" fontAlgn="base">
              <a:spcBef>
                <a:spcPct val="0"/>
              </a:spcBef>
              <a:spcAft>
                <a:spcPct val="0"/>
              </a:spcAft>
            </a:pPr>
            <a:endParaRPr lang="en-US" sz="800" dirty="0">
              <a:solidFill>
                <a:prstClr val="white"/>
              </a:solidFill>
              <a:ea typeface="Segoe UI" pitchFamily="34" charset="0"/>
              <a:cs typeface="Segoe UI" pitchFamily="34" charset="0"/>
            </a:endParaRPr>
          </a:p>
        </p:txBody>
      </p:sp>
      <p:pic>
        <p:nvPicPr>
          <p:cNvPr id="20" name="Picture 19"/>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639928" y="5757936"/>
            <a:ext cx="345143" cy="427707"/>
          </a:xfrm>
          <a:prstGeom prst="rect">
            <a:avLst/>
          </a:prstGeom>
        </p:spPr>
      </p:pic>
      <p:sp>
        <p:nvSpPr>
          <p:cNvPr id="22" name="Text Placeholder 21"/>
          <p:cNvSpPr>
            <a:spLocks noGrp="1"/>
          </p:cNvSpPr>
          <p:nvPr>
            <p:ph type="body" sz="quarter" idx="10"/>
          </p:nvPr>
        </p:nvSpPr>
        <p:spPr>
          <a:xfrm>
            <a:off x="4262002" y="2616768"/>
            <a:ext cx="2100397" cy="2103013"/>
          </a:xfrm>
        </p:spPr>
        <p:txBody>
          <a:bodyPr>
            <a:normAutofit/>
          </a:bodyPr>
          <a:lstStyle>
            <a:lvl1pPr>
              <a:defRPr lang="en-US" sz="1400" kern="1200" dirty="0" smtClean="0">
                <a:solidFill>
                  <a:prstClr val="white"/>
                </a:solidFill>
                <a:latin typeface="Segoe UI" pitchFamily="34" charset="0"/>
                <a:ea typeface="Segoe UI" pitchFamily="34" charset="0"/>
                <a:cs typeface="Segoe UI" pitchFamily="34" charset="0"/>
              </a:defRPr>
            </a:lvl1pPr>
            <a:lvl2pPr marL="281563" indent="0">
              <a:buNone/>
              <a:defRPr lang="en-US" sz="1400" kern="1200" dirty="0" smtClean="0">
                <a:solidFill>
                  <a:prstClr val="white"/>
                </a:solidFill>
                <a:latin typeface="Segoe UI" pitchFamily="34" charset="0"/>
                <a:ea typeface="Segoe UI" pitchFamily="34" charset="0"/>
                <a:cs typeface="Segoe UI" pitchFamily="34" charset="0"/>
              </a:defRPr>
            </a:lvl2pPr>
          </a:lstStyle>
          <a:p>
            <a:pPr lvl="0"/>
            <a:r>
              <a:rPr lang="en-US" dirty="0"/>
              <a:t>Click to edit Master text styles</a:t>
            </a:r>
          </a:p>
        </p:txBody>
      </p:sp>
      <p:sp>
        <p:nvSpPr>
          <p:cNvPr id="23" name="Text Placeholder 21"/>
          <p:cNvSpPr>
            <a:spLocks noGrp="1"/>
          </p:cNvSpPr>
          <p:nvPr>
            <p:ph type="body" sz="quarter" idx="11"/>
          </p:nvPr>
        </p:nvSpPr>
        <p:spPr>
          <a:xfrm>
            <a:off x="6696696" y="2616765"/>
            <a:ext cx="2100397" cy="2103014"/>
          </a:xfrm>
        </p:spPr>
        <p:txBody>
          <a:bodyPr>
            <a:normAutofit/>
          </a:bodyPr>
          <a:lstStyle>
            <a:lvl1pPr>
              <a:defRPr lang="en-US" sz="1400" kern="1200" dirty="0" smtClean="0">
                <a:solidFill>
                  <a:prstClr val="white"/>
                </a:solidFill>
                <a:latin typeface="Segoe UI" pitchFamily="34" charset="0"/>
                <a:ea typeface="Segoe UI" pitchFamily="34" charset="0"/>
                <a:cs typeface="Segoe UI" pitchFamily="34" charset="0"/>
              </a:defRPr>
            </a:lvl1pPr>
            <a:lvl2pPr marL="281563" indent="0">
              <a:buNone/>
              <a:defRPr lang="en-US" sz="1400" kern="1200" dirty="0" smtClean="0">
                <a:solidFill>
                  <a:prstClr val="white"/>
                </a:solidFill>
                <a:latin typeface="Segoe UI" pitchFamily="34" charset="0"/>
                <a:ea typeface="Segoe UI" pitchFamily="34" charset="0"/>
                <a:cs typeface="Segoe UI" pitchFamily="34" charset="0"/>
              </a:defRPr>
            </a:lvl2pPr>
          </a:lstStyle>
          <a:p>
            <a:pPr lvl="0"/>
            <a:r>
              <a:rPr lang="en-US" dirty="0"/>
              <a:t>Click to edit Master text styles</a:t>
            </a:r>
          </a:p>
        </p:txBody>
      </p:sp>
      <p:sp>
        <p:nvSpPr>
          <p:cNvPr id="24" name="Text Placeholder 21"/>
          <p:cNvSpPr>
            <a:spLocks noGrp="1"/>
          </p:cNvSpPr>
          <p:nvPr>
            <p:ph type="body" sz="quarter" idx="12"/>
          </p:nvPr>
        </p:nvSpPr>
        <p:spPr>
          <a:xfrm>
            <a:off x="9132977" y="2616767"/>
            <a:ext cx="2778139" cy="2103013"/>
          </a:xfrm>
        </p:spPr>
        <p:txBody>
          <a:bodyPr>
            <a:normAutofit/>
          </a:bodyPr>
          <a:lstStyle>
            <a:lvl1pPr marL="173615" indent="-173615" algn="l" defTabSz="1087348" rtl="0" eaLnBrk="1" fontAlgn="base" latinLnBrk="0" hangingPunct="1">
              <a:lnSpc>
                <a:spcPct val="95000"/>
              </a:lnSpc>
              <a:spcBef>
                <a:spcPts val="588"/>
              </a:spcBef>
              <a:buClr>
                <a:prstClr val="white"/>
              </a:buClr>
              <a:buSzPct val="100000"/>
              <a:buFont typeface="Arial" panose="020B0604020202020204" pitchFamily="34" charset="0"/>
              <a:buChar char="•"/>
              <a:defRPr lang="en-US" sz="1400" kern="1200" dirty="0" smtClean="0">
                <a:solidFill>
                  <a:prstClr val="white"/>
                </a:solidFill>
                <a:latin typeface="+mn-lt"/>
                <a:ea typeface="Segoe UI" pitchFamily="34" charset="0"/>
                <a:cs typeface="Segoe UI" pitchFamily="34" charset="0"/>
              </a:defRPr>
            </a:lvl1pPr>
            <a:lvl2pPr marL="281563" indent="0">
              <a:buNone/>
              <a:defRPr lang="en-US" sz="1400" kern="1200" dirty="0" smtClean="0">
                <a:solidFill>
                  <a:prstClr val="white"/>
                </a:solidFill>
                <a:latin typeface="Segoe UI" pitchFamily="34" charset="0"/>
                <a:ea typeface="Segoe UI" pitchFamily="34" charset="0"/>
                <a:cs typeface="Segoe UI" pitchFamily="34" charset="0"/>
              </a:defRPr>
            </a:lvl2pPr>
          </a:lstStyle>
          <a:p>
            <a:pPr lvl="0"/>
            <a:r>
              <a:rPr lang="en-US" dirty="0"/>
              <a:t>Click to edit Master text styles</a:t>
            </a:r>
          </a:p>
        </p:txBody>
      </p:sp>
      <p:sp>
        <p:nvSpPr>
          <p:cNvPr id="26" name="Text Placeholder 25"/>
          <p:cNvSpPr>
            <a:spLocks noGrp="1"/>
          </p:cNvSpPr>
          <p:nvPr>
            <p:ph type="body" sz="quarter" idx="13" hasCustomPrompt="1"/>
          </p:nvPr>
        </p:nvSpPr>
        <p:spPr>
          <a:xfrm>
            <a:off x="4016882" y="5396460"/>
            <a:ext cx="7754026" cy="1050646"/>
          </a:xfrm>
        </p:spPr>
        <p:txBody>
          <a:bodyPr/>
          <a:lstStyle>
            <a:lvl1pPr algn="r">
              <a:defRPr lang="en-US" sz="1568" kern="1200" dirty="0" smtClean="0">
                <a:solidFill>
                  <a:schemeClr val="bg2"/>
                </a:solidFill>
                <a:latin typeface="+mn-lt"/>
                <a:ea typeface="Segoe UI" pitchFamily="34" charset="0"/>
                <a:cs typeface="Segoe UI" pitchFamily="34" charset="0"/>
              </a:defRPr>
            </a:lvl1pPr>
            <a:lvl2pPr marL="281563" indent="0">
              <a:buNone/>
              <a:defRPr lang="en-US" sz="1400" kern="1200" dirty="0" smtClean="0">
                <a:solidFill>
                  <a:schemeClr val="bg2"/>
                </a:solidFill>
                <a:latin typeface="+mn-lt"/>
                <a:ea typeface="Segoe UI" pitchFamily="34" charset="0"/>
                <a:cs typeface="Segoe UI" pitchFamily="34" charset="0"/>
              </a:defRPr>
            </a:lvl2pPr>
            <a:lvl3pPr>
              <a:defRPr lang="en-US" sz="1400" kern="1200" dirty="0" smtClean="0">
                <a:solidFill>
                  <a:schemeClr val="bg2"/>
                </a:solidFill>
                <a:latin typeface="+mn-lt"/>
                <a:ea typeface="Segoe UI" pitchFamily="34" charset="0"/>
                <a:cs typeface="Segoe UI" pitchFamily="34" charset="0"/>
              </a:defRPr>
            </a:lvl3pPr>
            <a:lvl4pPr>
              <a:defRPr lang="en-US" sz="1400" kern="1200" dirty="0" smtClean="0">
                <a:solidFill>
                  <a:schemeClr val="bg2"/>
                </a:solidFill>
                <a:latin typeface="+mn-lt"/>
                <a:ea typeface="Segoe UI" pitchFamily="34" charset="0"/>
                <a:cs typeface="Segoe UI" pitchFamily="34" charset="0"/>
              </a:defRPr>
            </a:lvl4pPr>
            <a:lvl5pPr>
              <a:defRPr lang="en-US" sz="1400" kern="1200" dirty="0">
                <a:solidFill>
                  <a:schemeClr val="bg2"/>
                </a:solidFill>
                <a:latin typeface="+mn-lt"/>
                <a:ea typeface="Segoe UI" pitchFamily="34" charset="0"/>
                <a:cs typeface="Segoe UI" pitchFamily="34" charset="0"/>
              </a:defRPr>
            </a:lvl5pPr>
          </a:lstStyle>
          <a:p>
            <a:pPr lvl="0"/>
            <a:r>
              <a:rPr lang="en-US" dirty="0"/>
              <a:t>“Click to edit Master text styles”</a:t>
            </a:r>
          </a:p>
          <a:p>
            <a:pPr lvl="0"/>
            <a:r>
              <a:rPr lang="en-US" dirty="0"/>
              <a:t>Second level</a:t>
            </a:r>
          </a:p>
        </p:txBody>
      </p:sp>
      <p:sp>
        <p:nvSpPr>
          <p:cNvPr id="27" name="Title 26"/>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28" name="Text Placeholder 21"/>
          <p:cNvSpPr>
            <a:spLocks noGrp="1"/>
          </p:cNvSpPr>
          <p:nvPr>
            <p:ph type="body" sz="quarter" idx="14" hasCustomPrompt="1"/>
          </p:nvPr>
        </p:nvSpPr>
        <p:spPr>
          <a:xfrm>
            <a:off x="4212801" y="2078489"/>
            <a:ext cx="2100397" cy="2103013"/>
          </a:xfrm>
        </p:spPr>
        <p:txBody>
          <a:bodyPr>
            <a:normAutofit/>
          </a:bodyPr>
          <a:lstStyle>
            <a:lvl1pPr>
              <a:defRPr lang="en-US" sz="1568" kern="1200" dirty="0" smtClean="0">
                <a:solidFill>
                  <a:prstClr val="white"/>
                </a:solidFill>
                <a:latin typeface="Segoe UI" pitchFamily="34" charset="0"/>
                <a:ea typeface="Segoe UI" pitchFamily="34" charset="0"/>
                <a:cs typeface="Segoe UI" pitchFamily="34" charset="0"/>
              </a:defRPr>
            </a:lvl1pPr>
            <a:lvl2pPr marL="281563" indent="0">
              <a:buNone/>
              <a:defRPr lang="en-US" sz="1400" kern="1200" dirty="0" smtClean="0">
                <a:solidFill>
                  <a:prstClr val="white"/>
                </a:solidFill>
                <a:latin typeface="Segoe UI" pitchFamily="34" charset="0"/>
                <a:ea typeface="Segoe UI" pitchFamily="34" charset="0"/>
                <a:cs typeface="Segoe UI" pitchFamily="34" charset="0"/>
              </a:defRPr>
            </a:lvl2pPr>
          </a:lstStyle>
          <a:p>
            <a:pPr lvl="0"/>
            <a:r>
              <a:rPr lang="en-US" sz="2799" dirty="0">
                <a:solidFill>
                  <a:prstClr val="white"/>
                </a:solidFill>
                <a:latin typeface="Segoe UI Light"/>
                <a:ea typeface="Segoe UI" pitchFamily="34" charset="0"/>
                <a:cs typeface="Segoe UI" pitchFamily="34" charset="0"/>
              </a:rPr>
              <a:t>Challenge</a:t>
            </a:r>
            <a:endParaRPr lang="en-US" dirty="0"/>
          </a:p>
        </p:txBody>
      </p:sp>
    </p:spTree>
    <p:extLst>
      <p:ext uri="{BB962C8B-B14F-4D97-AF65-F5344CB8AC3E}">
        <p14:creationId xmlns:p14="http://schemas.microsoft.com/office/powerpoint/2010/main" val="298269106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16" name="Text Placeholder 15"/>
          <p:cNvSpPr>
            <a:spLocks noGrp="1"/>
          </p:cNvSpPr>
          <p:nvPr>
            <p:ph type="body" sz="quarter" idx="14"/>
          </p:nvPr>
        </p:nvSpPr>
        <p:spPr>
          <a:xfrm>
            <a:off x="150853" y="1600202"/>
            <a:ext cx="11890297" cy="20217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11430002" y="6477875"/>
            <a:ext cx="761998" cy="380126"/>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3048001" y="6477875"/>
            <a:ext cx="8381999" cy="380127"/>
          </a:xfrm>
          <a:prstGeom prst="rect">
            <a:avLst/>
          </a:prstGeom>
        </p:spPr>
        <p:txBody>
          <a:bodyPr/>
          <a:lstStyle/>
          <a:p>
            <a:endParaRPr lang="en-US" dirty="0">
              <a:solidFill>
                <a:srgbClr val="505050"/>
              </a:solidFill>
            </a:endParaRPr>
          </a:p>
        </p:txBody>
      </p:sp>
      <p:sp>
        <p:nvSpPr>
          <p:cNvPr id="7" name="Title 1"/>
          <p:cNvSpPr>
            <a:spLocks noGrp="1"/>
          </p:cNvSpPr>
          <p:nvPr>
            <p:ph type="title"/>
          </p:nvPr>
        </p:nvSpPr>
        <p:spPr>
          <a:xfrm>
            <a:off x="79418" y="267869"/>
            <a:ext cx="12195176" cy="646042"/>
          </a:xfrm>
        </p:spPr>
        <p:txBody>
          <a:bodyPr>
            <a:noAutofit/>
          </a:bodyPr>
          <a:lstStyle>
            <a:lvl1pPr>
              <a:defRPr sz="4000"/>
            </a:lvl1pPr>
          </a:lstStyle>
          <a:p>
            <a:r>
              <a:rPr lang="en-US" dirty="0"/>
              <a:t>Click to edit Master title style</a:t>
            </a:r>
          </a:p>
        </p:txBody>
      </p:sp>
      <p:sp>
        <p:nvSpPr>
          <p:cNvPr id="8" name="Text Placeholder 5"/>
          <p:cNvSpPr>
            <a:spLocks noGrp="1"/>
          </p:cNvSpPr>
          <p:nvPr>
            <p:ph type="body" sz="quarter" idx="13" hasCustomPrompt="1"/>
          </p:nvPr>
        </p:nvSpPr>
        <p:spPr>
          <a:xfrm>
            <a:off x="111002" y="913913"/>
            <a:ext cx="12195176"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223987754"/>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6359310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3" y="791867"/>
            <a:ext cx="12192000" cy="373063"/>
          </a:xfrm>
          <a:prstGeom prst="rect">
            <a:avLst/>
          </a:prstGeom>
        </p:spPr>
        <p:txBody>
          <a:bodyPr lIns="320040" tIns="53325" rIns="53325" bIns="53325">
            <a:noAutofit/>
          </a:bodyPr>
          <a:lstStyle>
            <a:lvl1pPr marL="0" indent="0">
              <a:buNone/>
              <a:defRPr sz="2799">
                <a:solidFill>
                  <a:schemeClr val="bg2"/>
                </a:solidFill>
                <a:latin typeface="Segoe UI Light" pitchFamily="34" charset="0"/>
              </a:defRPr>
            </a:lvl1pPr>
            <a:lvl2pPr marL="281562" indent="0">
              <a:buNone/>
              <a:defRPr/>
            </a:lvl2pPr>
            <a:lvl3pPr marL="588243" indent="0">
              <a:buNone/>
              <a:defRPr/>
            </a:lvl3pPr>
            <a:lvl4pPr marL="869805" indent="0">
              <a:buNone/>
              <a:defRPr/>
            </a:lvl4pPr>
            <a:lvl5pPr marL="1105102" indent="0">
              <a:buNone/>
              <a:defRPr/>
            </a:lvl5pPr>
          </a:lstStyle>
          <a:p>
            <a:pPr lvl="0"/>
            <a:r>
              <a:rPr lang="en-US" dirty="0"/>
              <a:t>Click to add subtitle</a:t>
            </a:r>
          </a:p>
        </p:txBody>
      </p:sp>
    </p:spTree>
    <p:extLst>
      <p:ext uri="{BB962C8B-B14F-4D97-AF65-F5344CB8AC3E}">
        <p14:creationId xmlns:p14="http://schemas.microsoft.com/office/powerpoint/2010/main" val="302624091"/>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1_Title Only">
    <p:bg>
      <p:bgPr>
        <a:blipFill dpi="0" rotWithShape="1">
          <a:blip r:embed="rId2" cstate="screen">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281236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27557441"/>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ivider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9249" y="2819605"/>
            <a:ext cx="11151917" cy="1218795"/>
          </a:xfrm>
        </p:spPr>
        <p:txBody>
          <a:bodyPr anchor="b" anchorCtr="0"/>
          <a:lstStyle>
            <a:lvl1pPr>
              <a:defRPr sz="8798" spc="-300" baseline="0">
                <a:solidFill>
                  <a:srgbClr val="FFFFFF"/>
                </a:solidFill>
              </a:defRPr>
            </a:lvl1pPr>
          </a:lstStyle>
          <a:p>
            <a:r>
              <a:rPr lang="en-US" dirty="0"/>
              <a:t>Click to edit title style</a:t>
            </a:r>
          </a:p>
        </p:txBody>
      </p:sp>
    </p:spTree>
    <p:extLst>
      <p:ext uri="{BB962C8B-B14F-4D97-AF65-F5344CB8AC3E}">
        <p14:creationId xmlns:p14="http://schemas.microsoft.com/office/powerpoint/2010/main" val="1439910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8950" y="2109543"/>
            <a:ext cx="10240454" cy="997196"/>
          </a:xfrm>
        </p:spPr>
        <p:txBody>
          <a:bodyPr anchor="b" anchorCtr="0"/>
          <a:lstStyle>
            <a:lvl1pPr>
              <a:defRPr sz="7198" spc="-151" baseline="0">
                <a:solidFill>
                  <a:srgbClr val="FFFFFF"/>
                </a:solidFill>
              </a:defRPr>
            </a:lvl1pPr>
          </a:lstStyle>
          <a:p>
            <a:r>
              <a:rPr lang="en-US" dirty="0"/>
              <a:t>Click to edit title style</a:t>
            </a:r>
          </a:p>
        </p:txBody>
      </p:sp>
      <p:sp>
        <p:nvSpPr>
          <p:cNvPr id="5" name="Text Placeholder 4"/>
          <p:cNvSpPr>
            <a:spLocks noGrp="1"/>
          </p:cNvSpPr>
          <p:nvPr>
            <p:ph type="body" sz="quarter" idx="12" hasCustomPrompt="1"/>
          </p:nvPr>
        </p:nvSpPr>
        <p:spPr>
          <a:xfrm>
            <a:off x="978950" y="3425827"/>
            <a:ext cx="10240454" cy="498599"/>
          </a:xfrm>
        </p:spPr>
        <p:txBody>
          <a:bodyPr>
            <a:noAutofit/>
          </a:bodyPr>
          <a:lstStyle>
            <a:lvl1pPr marL="0" indent="0">
              <a:spcBef>
                <a:spcPts val="0"/>
              </a:spcBef>
              <a:buNone/>
              <a:defRPr spc="-71" baseline="0">
                <a:solidFill>
                  <a:srgbClr val="FFFFFF"/>
                </a:solidFill>
                <a:latin typeface="+mj-lt"/>
              </a:defRPr>
            </a:lvl1pPr>
          </a:lstStyle>
          <a:p>
            <a:pPr lvl="0"/>
            <a:r>
              <a:rPr lang="en-US" dirty="0"/>
              <a:t>Speaker 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9448801" y="5359402"/>
            <a:ext cx="2096049" cy="983241"/>
          </a:xfrm>
          <a:prstGeom prst="rect">
            <a:avLst/>
          </a:prstGeom>
        </p:spPr>
      </p:pic>
    </p:spTree>
    <p:extLst>
      <p:ext uri="{BB962C8B-B14F-4D97-AF65-F5344CB8AC3E}">
        <p14:creationId xmlns:p14="http://schemas.microsoft.com/office/powerpoint/2010/main" val="5209410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249" y="228601"/>
            <a:ext cx="11151917" cy="747897"/>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783476958"/>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3264030"/>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chor="t">
            <a:noAutofit/>
          </a:bodyPr>
          <a:lstStyle>
            <a:lvl1pPr>
              <a:defRPr/>
            </a:lvl1pPr>
          </a:lstStyle>
          <a:p>
            <a:r>
              <a:rPr lang="en-US"/>
              <a:t>Click to edit Master title style</a:t>
            </a:r>
            <a:endParaRPr lang="en-US" dirty="0"/>
          </a:p>
        </p:txBody>
      </p:sp>
      <p:sp>
        <p:nvSpPr>
          <p:cNvPr id="19" name="Slide Number Placeholder 18"/>
          <p:cNvSpPr>
            <a:spLocks noGrp="1"/>
          </p:cNvSpPr>
          <p:nvPr>
            <p:ph type="sldNum" sz="quarter" idx="15"/>
          </p:nvPr>
        </p:nvSpPr>
        <p:spPr/>
        <p:txBody>
          <a:bodyPr/>
          <a:lstStyle/>
          <a:p>
            <a:fld id="{07AD9173-C745-46BA-9042-CD7714A275BD}" type="slidenum">
              <a:rPr lang="en-US" smtClean="0"/>
              <a:t>‹#›</a:t>
            </a:fld>
            <a:endParaRPr lang="en-US"/>
          </a:p>
        </p:txBody>
      </p:sp>
      <p:sp>
        <p:nvSpPr>
          <p:cNvPr id="20" name="Footer Placeholder 19"/>
          <p:cNvSpPr>
            <a:spLocks noGrp="1"/>
          </p:cNvSpPr>
          <p:nvPr>
            <p:ph type="ftr" sz="quarter" idx="16"/>
          </p:nvPr>
        </p:nvSpPr>
        <p:spPr>
          <a:xfrm>
            <a:off x="228601" y="6553200"/>
            <a:ext cx="11201400" cy="304801"/>
          </a:xfrm>
        </p:spPr>
        <p:txBody>
          <a:bodyPr/>
          <a:lstStyle/>
          <a:p>
            <a:endParaRPr lang="en-US"/>
          </a:p>
        </p:txBody>
      </p:sp>
    </p:spTree>
    <p:extLst>
      <p:ext uri="{BB962C8B-B14F-4D97-AF65-F5344CB8AC3E}">
        <p14:creationId xmlns:p14="http://schemas.microsoft.com/office/powerpoint/2010/main" val="3446487865"/>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8" name="Rectangle 7"/>
          <p:cNvSpPr/>
          <p:nvPr/>
        </p:nvSpPr>
        <p:spPr bwMode="gray">
          <a:xfrm>
            <a:off x="190550" y="2622898"/>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7"/>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9" y="274207"/>
            <a:ext cx="1947103" cy="71604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197059" y="234377"/>
            <a:ext cx="1947103" cy="716042"/>
          </a:xfrm>
          <a:prstGeom prst="rect">
            <a:avLst/>
          </a:prstGeom>
        </p:spPr>
      </p:pic>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3"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p:nvSpPr>
        <p:spPr>
          <a:xfrm>
            <a:off x="409461" y="5735992"/>
            <a:ext cx="4850552" cy="342654"/>
          </a:xfrm>
          <a:prstGeom prst="rect">
            <a:avLst/>
          </a:prstGeom>
        </p:spPr>
        <p:txBody>
          <a:bodyPr vert="horz" wrap="square" lIns="0" tIns="0" rIns="0" bIns="0" rtlCol="0" anchor="t">
            <a:noAutofit/>
          </a:bodyPr>
          <a:lstStyle/>
          <a:p>
            <a:pPr>
              <a:buClr>
                <a:srgbClr val="00188F"/>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
        <p:nvSpPr>
          <p:cNvPr id="13" name="Rectangle 12"/>
          <p:cNvSpPr/>
          <p:nvPr userDrawn="1"/>
        </p:nvSpPr>
        <p:spPr bwMode="gray">
          <a:xfrm>
            <a:off x="190550" y="2622898"/>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9" y="274207"/>
            <a:ext cx="1947103" cy="716043"/>
          </a:xfrm>
          <a:prstGeom prst="rect">
            <a:avLst/>
          </a:prstGeom>
        </p:spPr>
      </p:pic>
      <p:pic>
        <p:nvPicPr>
          <p:cNvPr id="16" name="Picture 1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97059" y="234377"/>
            <a:ext cx="1947103" cy="716042"/>
          </a:xfrm>
          <a:prstGeom prst="rect">
            <a:avLst/>
          </a:prstGeom>
        </p:spPr>
      </p:pic>
      <p:sp>
        <p:nvSpPr>
          <p:cNvPr id="17" name="TextBox 16"/>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18" name="TextBox 17"/>
          <p:cNvSpPr txBox="1"/>
          <p:nvPr userDrawn="1"/>
        </p:nvSpPr>
        <p:spPr>
          <a:xfrm>
            <a:off x="409461" y="5735992"/>
            <a:ext cx="4850552" cy="342654"/>
          </a:xfrm>
          <a:prstGeom prst="rect">
            <a:avLst/>
          </a:prstGeom>
        </p:spPr>
        <p:txBody>
          <a:bodyPr vert="horz" wrap="square" lIns="0" tIns="0" rIns="0" bIns="0" rtlCol="0" anchor="t">
            <a:noAutofit/>
          </a:bodyPr>
          <a:lstStyle/>
          <a:p>
            <a:pPr>
              <a:buClr>
                <a:srgbClr val="00188F"/>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12352265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9" y="224438"/>
            <a:ext cx="1947103" cy="716042"/>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671610" y="274207"/>
            <a:ext cx="1947103" cy="716043"/>
          </a:xfrm>
          <a:prstGeom prst="rect">
            <a:avLst/>
          </a:prstGeom>
        </p:spPr>
      </p:pic>
      <p:sp>
        <p:nvSpPr>
          <p:cNvPr id="7" name="Rectangle 6"/>
          <p:cNvSpPr/>
          <p:nvPr/>
        </p:nvSpPr>
        <p:spPr bwMode="gray">
          <a:xfrm>
            <a:off x="190550" y="2622898"/>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7"/>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8"/>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p:nvSpPr>
        <p:spPr>
          <a:xfrm>
            <a:off x="409461" y="5735992"/>
            <a:ext cx="4850552" cy="342654"/>
          </a:xfrm>
          <a:prstGeom prst="rect">
            <a:avLst/>
          </a:prstGeom>
        </p:spPr>
        <p:txBody>
          <a:bodyPr vert="horz" wrap="square" lIns="0" tIns="0" rIns="0" bIns="0" rtlCol="0" anchor="t">
            <a:noAutofit/>
          </a:bodyPr>
          <a:lstStyle/>
          <a:p>
            <a:pPr>
              <a:buClr>
                <a:srgbClr val="00188F"/>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9" y="224438"/>
            <a:ext cx="1947103" cy="716042"/>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71610" y="274207"/>
            <a:ext cx="1947103" cy="716043"/>
          </a:xfrm>
          <a:prstGeom prst="rect">
            <a:avLst/>
          </a:prstGeom>
        </p:spPr>
      </p:pic>
      <p:sp>
        <p:nvSpPr>
          <p:cNvPr id="14" name="Rectangle 13"/>
          <p:cNvSpPr/>
          <p:nvPr userDrawn="1"/>
        </p:nvSpPr>
        <p:spPr bwMode="gray">
          <a:xfrm>
            <a:off x="190550" y="2622898"/>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15" name="TextBox 14"/>
          <p:cNvSpPr txBox="1"/>
          <p:nvPr userDrawn="1"/>
        </p:nvSpPr>
        <p:spPr>
          <a:xfrm>
            <a:off x="409461" y="5735992"/>
            <a:ext cx="4850552" cy="342654"/>
          </a:xfrm>
          <a:prstGeom prst="rect">
            <a:avLst/>
          </a:prstGeom>
        </p:spPr>
        <p:txBody>
          <a:bodyPr vert="horz" wrap="square" lIns="0" tIns="0" rIns="0" bIns="0" rtlCol="0" anchor="t">
            <a:noAutofit/>
          </a:bodyPr>
          <a:lstStyle/>
          <a:p>
            <a:pPr>
              <a:buClr>
                <a:srgbClr val="00188F"/>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34160080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0976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3"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208091282"/>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82298214"/>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35070616"/>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2"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531321278"/>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339981893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4" name="Picture 3" descr="10GRID2a.jpg"/>
          <p:cNvPicPr>
            <a:picLocks noChangeAspect="1"/>
          </p:cNvPicPr>
          <p:nvPr/>
        </p:nvPicPr>
        <p:blipFill>
          <a:blip r:embed="rId2">
            <a:alphaModFix amt="58000"/>
            <a:extLst>
              <a:ext uri="{28A0092B-C50C-407E-A947-70E740481C1C}">
                <a14:useLocalDpi xmlns:a14="http://schemas.microsoft.com/office/drawing/2010/main" val="0"/>
              </a:ext>
            </a:extLst>
          </a:blip>
          <a:stretch>
            <a:fillRect/>
          </a:stretch>
        </p:blipFill>
        <p:spPr>
          <a:xfrm>
            <a:off x="1" y="1"/>
            <a:ext cx="12192826" cy="6856679"/>
          </a:xfrm>
          <a:prstGeom prst="rect">
            <a:avLst/>
          </a:prstGeom>
        </p:spPr>
      </p:pic>
      <p:grpSp>
        <p:nvGrpSpPr>
          <p:cNvPr id="2" name="Group 1"/>
          <p:cNvGrpSpPr/>
          <p:nvPr/>
        </p:nvGrpSpPr>
        <p:grpSpPr>
          <a:xfrm>
            <a:off x="185327" y="2326039"/>
            <a:ext cx="11836065" cy="4398590"/>
            <a:chOff x="185277" y="2326039"/>
            <a:chExt cx="12064064" cy="4484488"/>
          </a:xfrm>
        </p:grpSpPr>
        <p:sp>
          <p:nvSpPr>
            <p:cNvPr id="8" name="Rectangle 7"/>
            <p:cNvSpPr/>
            <p:nvPr/>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7"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pic>
        <p:nvPicPr>
          <p:cNvPr id="36" name="Picture 35" descr="10GRID2a.jpg"/>
          <p:cNvPicPr>
            <a:picLocks noChangeAspect="1"/>
          </p:cNvPicPr>
          <p:nvPr userDrawn="1"/>
        </p:nvPicPr>
        <p:blipFill>
          <a:blip r:embed="rId2">
            <a:alphaModFix amt="58000"/>
            <a:extLst>
              <a:ext uri="{28A0092B-C50C-407E-A947-70E740481C1C}">
                <a14:useLocalDpi xmlns:a14="http://schemas.microsoft.com/office/drawing/2010/main" val="0"/>
              </a:ext>
            </a:extLst>
          </a:blip>
          <a:stretch>
            <a:fillRect/>
          </a:stretch>
        </p:blipFill>
        <p:spPr>
          <a:xfrm>
            <a:off x="1" y="1"/>
            <a:ext cx="12192826" cy="6856679"/>
          </a:xfrm>
          <a:prstGeom prst="rect">
            <a:avLst/>
          </a:prstGeom>
        </p:spPr>
      </p:pic>
      <p:grpSp>
        <p:nvGrpSpPr>
          <p:cNvPr id="37" name="Group 36"/>
          <p:cNvGrpSpPr/>
          <p:nvPr userDrawn="1"/>
        </p:nvGrpSpPr>
        <p:grpSpPr>
          <a:xfrm>
            <a:off x="185327" y="2326039"/>
            <a:ext cx="11836065" cy="4398590"/>
            <a:chOff x="185277" y="2326039"/>
            <a:chExt cx="12064064" cy="4484488"/>
          </a:xfrm>
        </p:grpSpPr>
        <p:sp>
          <p:nvSpPr>
            <p:cNvPr id="38" name="Rectangle 3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9" name="Rectangle 3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0" name="Rectangle 3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2" name="Rectangle 4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3" name="Rectangle 4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4" name="Rectangle 4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5" name="Group 44"/>
            <p:cNvGrpSpPr/>
            <p:nvPr userDrawn="1"/>
          </p:nvGrpSpPr>
          <p:grpSpPr>
            <a:xfrm>
              <a:off x="185277" y="2326039"/>
              <a:ext cx="12064064" cy="1459104"/>
              <a:chOff x="185277" y="2031977"/>
              <a:chExt cx="12064064" cy="1459104"/>
            </a:xfrm>
          </p:grpSpPr>
          <p:sp>
            <p:nvSpPr>
              <p:cNvPr id="56" name="Rectangle 5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1" name="Rectangle 6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2" name="Rectangle 6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3" name="Rectangle 6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6" name="Group 45"/>
            <p:cNvGrpSpPr/>
            <p:nvPr userDrawn="1"/>
          </p:nvGrpSpPr>
          <p:grpSpPr>
            <a:xfrm>
              <a:off x="185277" y="3845414"/>
              <a:ext cx="12064064" cy="1459104"/>
              <a:chOff x="185277" y="3564719"/>
              <a:chExt cx="12064064" cy="1459104"/>
            </a:xfrm>
          </p:grpSpPr>
          <p:sp>
            <p:nvSpPr>
              <p:cNvPr id="48" name="Rectangle 47"/>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Rectangle 48"/>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Rectangle 49"/>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1" name="Rectangle 50"/>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2" name="Rectangle 51"/>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47" name="Rectangle 46"/>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32045501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5"/>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051770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5"/>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8897439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Footer Placeholder 1"/>
          <p:cNvSpPr>
            <a:spLocks noGrp="1"/>
          </p:cNvSpPr>
          <p:nvPr>
            <p:ph type="ftr" sz="quarter" idx="15"/>
          </p:nvPr>
        </p:nvSpPr>
        <p:spPr>
          <a:xfrm>
            <a:off x="228601" y="6553200"/>
            <a:ext cx="11201400" cy="304801"/>
          </a:xfrm>
        </p:spPr>
        <p:txBody>
          <a:bodyPr/>
          <a:lstStyle/>
          <a:p>
            <a:endParaRPr lang="en-US"/>
          </a:p>
        </p:txBody>
      </p:sp>
      <p:sp>
        <p:nvSpPr>
          <p:cNvPr id="3" name="Slide Number Placeholder 2"/>
          <p:cNvSpPr>
            <a:spLocks noGrp="1"/>
          </p:cNvSpPr>
          <p:nvPr>
            <p:ph type="sldNum" sz="quarter" idx="16"/>
          </p:nvPr>
        </p:nvSpPr>
        <p:spPr/>
        <p:txBody>
          <a:bodyPr/>
          <a:lstStyle/>
          <a:p>
            <a:fld id="{07AD9173-C745-46BA-9042-CD7714A275BD}" type="slidenum">
              <a:rPr lang="en-US" smtClean="0"/>
              <a:t>‹#›</a:t>
            </a:fld>
            <a:endParaRPr lang="en-US"/>
          </a:p>
        </p:txBody>
      </p:sp>
    </p:spTree>
    <p:extLst>
      <p:ext uri="{BB962C8B-B14F-4D97-AF65-F5344CB8AC3E}">
        <p14:creationId xmlns:p14="http://schemas.microsoft.com/office/powerpoint/2010/main" val="227939875"/>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5"/>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6888680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2"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5" y="3048000"/>
            <a:ext cx="2571405" cy="419108"/>
          </a:xfrm>
          <a:prstGeom prst="rect">
            <a:avLst/>
          </a:prstGeom>
        </p:spPr>
      </p:pic>
      <p:sp>
        <p:nvSpPr>
          <p:cNvPr id="4" name="Rectangle 3"/>
          <p:cNvSpPr/>
          <p:nvPr/>
        </p:nvSpPr>
        <p:spPr>
          <a:xfrm>
            <a:off x="2"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a:endParaRPr lang="en-US" dirty="0">
              <a:solidFill>
                <a:prstClr val="white"/>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6234" y="2899241"/>
            <a:ext cx="2881117" cy="105952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46234" y="2899241"/>
            <a:ext cx="2881117" cy="1059525"/>
          </a:xfrm>
          <a:prstGeom prst="rect">
            <a:avLst/>
          </a:prstGeom>
        </p:spPr>
      </p:pic>
    </p:spTree>
    <p:extLst>
      <p:ext uri="{BB962C8B-B14F-4D97-AF65-F5344CB8AC3E}">
        <p14:creationId xmlns:p14="http://schemas.microsoft.com/office/powerpoint/2010/main" val="19287889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8" name="Rectangle 7"/>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74206"/>
            <a:ext cx="1947103" cy="71604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197060" y="234377"/>
            <a:ext cx="1947103" cy="716042"/>
          </a:xfrm>
          <a:prstGeom prst="rect">
            <a:avLst/>
          </a:prstGeom>
        </p:spPr>
      </p:pic>
      <p:sp>
        <p:nvSpPr>
          <p:cNvPr id="10" name="TextBox 9"/>
          <p:cNvSpPr txBox="1"/>
          <p:nvPr/>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2" y="4894384"/>
            <a:ext cx="5487829"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
        <p:nvSpPr>
          <p:cNvPr id="13" name="Rectangle 12"/>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srgbClr val="000000"/>
              </a:solidFill>
              <a:ea typeface="Segoe UI" pitchFamily="34" charset="0"/>
              <a:cs typeface="Segoe UI" pitchFamily="34" charset="0"/>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74206"/>
            <a:ext cx="1947103" cy="716043"/>
          </a:xfrm>
          <a:prstGeom prst="rect">
            <a:avLst/>
          </a:prstGeom>
        </p:spPr>
      </p:pic>
      <p:pic>
        <p:nvPicPr>
          <p:cNvPr id="16" name="Picture 1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97060" y="234377"/>
            <a:ext cx="1947103" cy="716042"/>
          </a:xfrm>
          <a:prstGeom prst="rect">
            <a:avLst/>
          </a:prstGeom>
        </p:spPr>
      </p:pic>
      <p:sp>
        <p:nvSpPr>
          <p:cNvPr id="17" name="TextBox 16"/>
          <p:cNvSpPr txBox="1"/>
          <p:nvPr userDrawn="1"/>
        </p:nvSpPr>
        <p:spPr>
          <a:xfrm>
            <a:off x="7620000" y="381000"/>
            <a:ext cx="3810000" cy="1905000"/>
          </a:xfrm>
          <a:prstGeom prst="rect">
            <a:avLst/>
          </a:prstGeom>
        </p:spPr>
        <p:txBody>
          <a:bodyPr vert="horz" wrap="square" lIns="108821" tIns="54411" rIns="108821" bIns="54411" rtlCol="0" anchor="ctr">
            <a:normAutofit/>
          </a:bodyPr>
          <a:lstStyle/>
          <a:p>
            <a:pPr defTabSz="1088105"/>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18" name="TextBox 17"/>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283108309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24438"/>
            <a:ext cx="1947103" cy="716042"/>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671610" y="274206"/>
            <a:ext cx="1947103" cy="716043"/>
          </a:xfrm>
          <a:prstGeom prst="rect">
            <a:avLst/>
          </a:prstGeom>
        </p:spPr>
      </p:pic>
      <p:sp>
        <p:nvSpPr>
          <p:cNvPr id="7" name="Rectangle 6"/>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5"/>
            <a:ext cx="5487829"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29"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24438"/>
            <a:ext cx="1947103" cy="716042"/>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71610" y="274206"/>
            <a:ext cx="1947103" cy="716043"/>
          </a:xfrm>
          <a:prstGeom prst="rect">
            <a:avLst/>
          </a:prstGeom>
        </p:spPr>
      </p:pic>
      <p:sp>
        <p:nvSpPr>
          <p:cNvPr id="14" name="Rectangle 13"/>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a:solidFill>
                <a:prstClr val="white"/>
              </a:solidFill>
              <a:ea typeface="Segoe UI" pitchFamily="34" charset="0"/>
              <a:cs typeface="Segoe UI" pitchFamily="34" charset="0"/>
            </a:endParaRPr>
          </a:p>
        </p:txBody>
      </p:sp>
      <p:sp>
        <p:nvSpPr>
          <p:cNvPr id="15" name="TextBox 14"/>
          <p:cNvSpPr txBox="1"/>
          <p:nvPr userDrawn="1"/>
        </p:nvSpPr>
        <p:spPr>
          <a:xfrm>
            <a:off x="409461" y="5735992"/>
            <a:ext cx="4850552" cy="342654"/>
          </a:xfrm>
          <a:prstGeom prst="rect">
            <a:avLst/>
          </a:prstGeom>
        </p:spPr>
        <p:txBody>
          <a:bodyPr vert="horz" wrap="square" lIns="0" tIns="0" rIns="0" bIns="0" rtlCol="0" anchor="t">
            <a:noAutofit/>
          </a:bodyPr>
          <a:lstStyle/>
          <a:p>
            <a:pPr defTabSz="1088105">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971020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
        <p:nvSpPr>
          <p:cNvPr id="16" name="Text Placeholder 15"/>
          <p:cNvSpPr>
            <a:spLocks noGrp="1"/>
          </p:cNvSpPr>
          <p:nvPr>
            <p:ph type="body" sz="quarter" idx="14"/>
          </p:nvPr>
        </p:nvSpPr>
        <p:spPr>
          <a:xfrm>
            <a:off x="355582" y="1600200"/>
            <a:ext cx="11345600"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4239511992"/>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165824604"/>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2"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1729289416"/>
      </p:ext>
    </p:extLst>
  </p:cSld>
  <p:clrMapOvr>
    <a:masterClrMapping/>
  </p:clrMapOvr>
  <p:transition>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3093260165"/>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Blank with footer">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6"/>
            <a:ext cx="8382000"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14752924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8551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Developer code">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noAutofit/>
          </a:bodyPr>
          <a:lstStyle>
            <a:lvl1pPr>
              <a:defRPr/>
            </a:lvl1pPr>
          </a:lstStyle>
          <a:p>
            <a:r>
              <a:rPr lang="en-US"/>
              <a:t>Click to edit Master title style</a:t>
            </a:r>
            <a:endParaRPr lang="en-US" dirty="0"/>
          </a:p>
        </p:txBody>
      </p:sp>
      <p:sp>
        <p:nvSpPr>
          <p:cNvPr id="4" name="Text Placeholder 3"/>
          <p:cNvSpPr>
            <a:spLocks noGrp="1"/>
          </p:cNvSpPr>
          <p:nvPr>
            <p:ph type="body" sz="quarter" idx="15" hasCustomPrompt="1"/>
          </p:nvPr>
        </p:nvSpPr>
        <p:spPr>
          <a:xfrm>
            <a:off x="228600" y="1600200"/>
            <a:ext cx="11812548" cy="4495800"/>
          </a:xfrm>
          <a:prstGeom prst="rect">
            <a:avLst/>
          </a:prstGeom>
        </p:spPr>
        <p:txBody>
          <a:bodyPr lIns="137160" rIns="137160" bIns="137160"/>
          <a:lstStyle>
            <a:lvl1pPr marL="0" indent="0">
              <a:buNone/>
              <a:defRPr>
                <a:solidFill>
                  <a:schemeClr val="tx1"/>
                </a:solidFill>
                <a:latin typeface="Courier New" pitchFamily="49" charset="0"/>
                <a:cs typeface="Courier New" pitchFamily="49" charset="0"/>
              </a:defRPr>
            </a:lvl1pPr>
            <a:lvl2pPr marL="281668" indent="0">
              <a:buNone/>
              <a:defRPr>
                <a:solidFill>
                  <a:schemeClr val="tx1"/>
                </a:solidFill>
                <a:latin typeface="Courier New" pitchFamily="49" charset="0"/>
                <a:cs typeface="Courier New" pitchFamily="49" charset="0"/>
              </a:defRPr>
            </a:lvl2pPr>
            <a:lvl3pPr marL="588461" indent="0">
              <a:buNone/>
              <a:defRPr>
                <a:solidFill>
                  <a:schemeClr val="tx1"/>
                </a:solidFill>
                <a:latin typeface="Courier New" pitchFamily="49" charset="0"/>
                <a:cs typeface="Courier New" pitchFamily="49" charset="0"/>
              </a:defRPr>
            </a:lvl3pPr>
            <a:lvl4pPr marL="870129" indent="0">
              <a:buNone/>
              <a:defRPr>
                <a:solidFill>
                  <a:schemeClr val="tx1"/>
                </a:solidFill>
                <a:latin typeface="Courier New" pitchFamily="49" charset="0"/>
                <a:cs typeface="Courier New" pitchFamily="49" charset="0"/>
              </a:defRPr>
            </a:lvl4pPr>
            <a:lvl5pPr marL="1105512" indent="0">
              <a:buNone/>
              <a:defRPr>
                <a:solidFill>
                  <a:schemeClr val="tx1"/>
                </a:solidFill>
                <a:latin typeface="Courier New" pitchFamily="49" charset="0"/>
                <a:cs typeface="Courier New" pitchFamily="49" charset="0"/>
              </a:defRPr>
            </a:lvl5pPr>
          </a:lstStyle>
          <a:p>
            <a:pPr lvl="0"/>
            <a:r>
              <a:rPr lang="en-US" dirty="0"/>
              <a:t>Click to add developer cod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16"/>
          </p:nvPr>
        </p:nvSpPr>
        <p:spPr>
          <a:xfrm>
            <a:off x="228601" y="6553199"/>
            <a:ext cx="11201400" cy="304801"/>
          </a:xfrm>
        </p:spPr>
        <p:txBody>
          <a:bodyPr/>
          <a:lstStyle/>
          <a:p>
            <a:endParaRPr lang="en-US"/>
          </a:p>
        </p:txBody>
      </p:sp>
      <p:sp>
        <p:nvSpPr>
          <p:cNvPr id="10" name="Slide Number Placeholder 9"/>
          <p:cNvSpPr>
            <a:spLocks noGrp="1"/>
          </p:cNvSpPr>
          <p:nvPr>
            <p:ph type="sldNum" sz="quarter" idx="17"/>
          </p:nvPr>
        </p:nvSpPr>
        <p:spPr/>
        <p:txBody>
          <a:bodyPr/>
          <a:lstStyle/>
          <a:p>
            <a:fld id="{07AD9173-C745-46BA-9042-CD7714A275BD}" type="slidenum">
              <a:rPr lang="en-US" smtClean="0"/>
              <a:t>‹#›</a:t>
            </a:fld>
            <a:endParaRPr lang="en-US"/>
          </a:p>
        </p:txBody>
      </p:sp>
    </p:spTree>
    <p:extLst>
      <p:ext uri="{BB962C8B-B14F-4D97-AF65-F5344CB8AC3E}">
        <p14:creationId xmlns:p14="http://schemas.microsoft.com/office/powerpoint/2010/main" val="1260099940"/>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4" name="Picture 3" descr="10GRID2a.jpg"/>
          <p:cNvPicPr>
            <a:picLocks noChangeAspect="1"/>
          </p:cNvPicPr>
          <p:nvPr/>
        </p:nvPicPr>
        <p:blipFill>
          <a:blip r:embed="rId2">
            <a:alphaModFix amt="58000"/>
            <a:extLst>
              <a:ext uri="{28A0092B-C50C-407E-A947-70E740481C1C}">
                <a14:useLocalDpi xmlns:a14="http://schemas.microsoft.com/office/drawing/2010/main" val="0"/>
              </a:ext>
            </a:extLst>
          </a:blip>
          <a:stretch>
            <a:fillRect/>
          </a:stretch>
        </p:blipFill>
        <p:spPr>
          <a:xfrm>
            <a:off x="0" y="-1"/>
            <a:ext cx="12192826" cy="6856679"/>
          </a:xfrm>
          <a:prstGeom prst="rect">
            <a:avLst/>
          </a:prstGeom>
        </p:spPr>
      </p:pic>
      <p:grpSp>
        <p:nvGrpSpPr>
          <p:cNvPr id="2" name="Group 1"/>
          <p:cNvGrpSpPr/>
          <p:nvPr/>
        </p:nvGrpSpPr>
        <p:grpSpPr>
          <a:xfrm>
            <a:off x="185326" y="2326039"/>
            <a:ext cx="11836065" cy="4398590"/>
            <a:chOff x="185277" y="2326039"/>
            <a:chExt cx="12064064" cy="4484488"/>
          </a:xfrm>
        </p:grpSpPr>
        <p:sp>
          <p:nvSpPr>
            <p:cNvPr id="8" name="Rectangle 7"/>
            <p:cNvSpPr/>
            <p:nvPr/>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69"/>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7"/>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pic>
        <p:nvPicPr>
          <p:cNvPr id="36" name="Picture 35" descr="10GRID2a.jpg"/>
          <p:cNvPicPr>
            <a:picLocks noChangeAspect="1"/>
          </p:cNvPicPr>
          <p:nvPr userDrawn="1"/>
        </p:nvPicPr>
        <p:blipFill>
          <a:blip r:embed="rId2">
            <a:alphaModFix amt="58000"/>
            <a:extLst>
              <a:ext uri="{28A0092B-C50C-407E-A947-70E740481C1C}">
                <a14:useLocalDpi xmlns:a14="http://schemas.microsoft.com/office/drawing/2010/main" val="0"/>
              </a:ext>
            </a:extLst>
          </a:blip>
          <a:stretch>
            <a:fillRect/>
          </a:stretch>
        </p:blipFill>
        <p:spPr>
          <a:xfrm>
            <a:off x="0" y="-1"/>
            <a:ext cx="12192826" cy="6856679"/>
          </a:xfrm>
          <a:prstGeom prst="rect">
            <a:avLst/>
          </a:prstGeom>
        </p:spPr>
      </p:pic>
      <p:grpSp>
        <p:nvGrpSpPr>
          <p:cNvPr id="37" name="Group 36"/>
          <p:cNvGrpSpPr/>
          <p:nvPr userDrawn="1"/>
        </p:nvGrpSpPr>
        <p:grpSpPr>
          <a:xfrm>
            <a:off x="185326" y="2326039"/>
            <a:ext cx="11836065" cy="4398590"/>
            <a:chOff x="185277" y="2326039"/>
            <a:chExt cx="12064064" cy="4484488"/>
          </a:xfrm>
        </p:grpSpPr>
        <p:sp>
          <p:nvSpPr>
            <p:cNvPr id="38" name="Rectangle 3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9" name="Rectangle 3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0" name="Rectangle 3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2" name="Rectangle 4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3" name="Rectangle 4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4" name="Rectangle 4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5" name="Group 44"/>
            <p:cNvGrpSpPr/>
            <p:nvPr userDrawn="1"/>
          </p:nvGrpSpPr>
          <p:grpSpPr>
            <a:xfrm>
              <a:off x="185277" y="2326039"/>
              <a:ext cx="12064064" cy="1459104"/>
              <a:chOff x="185277" y="2031977"/>
              <a:chExt cx="12064064" cy="1459104"/>
            </a:xfrm>
          </p:grpSpPr>
          <p:sp>
            <p:nvSpPr>
              <p:cNvPr id="56" name="Rectangle 5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1" name="Rectangle 6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2" name="Rectangle 6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3" name="Rectangle 6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6" name="Group 45"/>
            <p:cNvGrpSpPr/>
            <p:nvPr userDrawn="1"/>
          </p:nvGrpSpPr>
          <p:grpSpPr>
            <a:xfrm>
              <a:off x="185277" y="3845414"/>
              <a:ext cx="12064064" cy="1459104"/>
              <a:chOff x="185277" y="3564719"/>
              <a:chExt cx="12064064" cy="1459104"/>
            </a:xfrm>
          </p:grpSpPr>
          <p:sp>
            <p:nvSpPr>
              <p:cNvPr id="48" name="Rectangle 47"/>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Rectangle 48"/>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Rectangle 49"/>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1" name="Rectangle 50"/>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2" name="Rectangle 51"/>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47" name="Rectangle 46"/>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688383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271795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18848035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2_Section Title Accent Color 1">
    <p:bg>
      <p:bgPr>
        <a:solidFill>
          <a:srgbClr val="002050"/>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4" y="1320306"/>
            <a:ext cx="11890296" cy="1822989"/>
          </a:xfrm>
          <a:noFill/>
        </p:spPr>
        <p:txBody>
          <a:bodyPr lIns="137160" tIns="137160" rIns="137160" bIns="137160" anchor="t" anchorCtr="0"/>
          <a:lstStyle>
            <a:lvl1pPr>
              <a:defRPr sz="8600"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7" y="2838296"/>
            <a:ext cx="5945148" cy="2590800"/>
          </a:xfrm>
          <a:prstGeom prst="rect">
            <a:avLst/>
          </a:prstGeom>
        </p:spPr>
        <p:txBody>
          <a:bodyPr lIns="137160" tIns="137160" rIns="137160" bIns="137160">
            <a:noAutofit/>
          </a:bodyPr>
          <a:lstStyle>
            <a:lvl1pPr marL="190428" indent="-190428">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8105"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7539283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Microsoft logo 1">
    <p:spTree>
      <p:nvGrpSpPr>
        <p:cNvPr id="1" name=""/>
        <p:cNvGrpSpPr/>
        <p:nvPr/>
      </p:nvGrpSpPr>
      <p:grpSpPr>
        <a:xfrm>
          <a:off x="0" y="0"/>
          <a:ext cx="0" cy="0"/>
          <a:chOff x="0" y="0"/>
          <a:chExt cx="0" cy="0"/>
        </a:xfrm>
      </p:grpSpPr>
      <p:sp>
        <p:nvSpPr>
          <p:cNvPr id="5" name="Rectangle 4"/>
          <p:cNvSpPr/>
          <p:nvPr/>
        </p:nvSpPr>
        <p:spPr>
          <a:xfrm>
            <a:off x="1" y="0"/>
            <a:ext cx="1219200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7" name="Picture 6"/>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658814" y="3048000"/>
            <a:ext cx="2571405" cy="419108"/>
          </a:xfrm>
          <a:prstGeom prst="rect">
            <a:avLst/>
          </a:prstGeom>
        </p:spPr>
      </p:pic>
      <p:sp>
        <p:nvSpPr>
          <p:cNvPr id="4" name="Rectangle 3"/>
          <p:cNvSpPr/>
          <p:nvPr/>
        </p:nvSpPr>
        <p:spPr>
          <a:xfrm>
            <a:off x="1"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6179" tIns="38089" rIns="76179" bIns="38089" rtlCol="0" anchor="ctr"/>
          <a:lstStyle/>
          <a:p>
            <a:pPr algn="ctr" defTabSz="1088105"/>
            <a:endParaRPr lang="en-US" sz="2200" dirty="0">
              <a:solidFill>
                <a:prstClr val="white"/>
              </a:solidFill>
            </a:endParaRPr>
          </a:p>
        </p:txBody>
      </p:sp>
      <p:pic>
        <p:nvPicPr>
          <p:cNvPr id="8" name="Picture 7"/>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446233" y="2899239"/>
            <a:ext cx="2881117" cy="1059525"/>
          </a:xfrm>
          <a:prstGeom prst="rect">
            <a:avLst/>
          </a:prstGeom>
        </p:spPr>
      </p:pic>
    </p:spTree>
    <p:extLst>
      <p:ext uri="{BB962C8B-B14F-4D97-AF65-F5344CB8AC3E}">
        <p14:creationId xmlns:p14="http://schemas.microsoft.com/office/powerpoint/2010/main" val="141812009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6" name="Text Placeholder 5"/>
          <p:cNvSpPr>
            <a:spLocks noGrp="1"/>
          </p:cNvSpPr>
          <p:nvPr>
            <p:ph type="body" sz="quarter" idx="13" hasCustomPrompt="1"/>
          </p:nvPr>
        </p:nvSpPr>
        <p:spPr>
          <a:xfrm>
            <a:off x="1" y="573604"/>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150852" y="1600200"/>
            <a:ext cx="11890297" cy="202179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a:xfrm>
            <a:off x="11430002" y="6477875"/>
            <a:ext cx="761998" cy="380126"/>
          </a:xfrm>
          <a:prstGeom prst="rect">
            <a:avLst/>
          </a:prstGeom>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a:xfrm>
            <a:off x="3048000" y="6477873"/>
            <a:ext cx="8381999" cy="380127"/>
          </a:xfrm>
          <a:prstGeom prst="rect">
            <a:avLst/>
          </a:prstGeom>
        </p:spPr>
        <p:txBody>
          <a:bodyPr/>
          <a:lstStyle/>
          <a:p>
            <a:endParaRPr lang="en-US" dirty="0">
              <a:solidFill>
                <a:srgbClr val="505050"/>
              </a:solidFill>
            </a:endParaRPr>
          </a:p>
        </p:txBody>
      </p:sp>
    </p:spTree>
    <p:extLst>
      <p:ext uri="{BB962C8B-B14F-4D97-AF65-F5344CB8AC3E}">
        <p14:creationId xmlns:p14="http://schemas.microsoft.com/office/powerpoint/2010/main" val="316081869"/>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cSld name="8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8"/>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 y="573605"/>
            <a:ext cx="12192000"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a:t>Click to add subtitle</a:t>
            </a:r>
          </a:p>
        </p:txBody>
      </p:sp>
    </p:spTree>
    <p:extLst>
      <p:ext uri="{BB962C8B-B14F-4D97-AF65-F5344CB8AC3E}">
        <p14:creationId xmlns:p14="http://schemas.microsoft.com/office/powerpoint/2010/main" val="356137156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90"/>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7" name="Title 1"/>
          <p:cNvSpPr>
            <a:spLocks noGrp="1"/>
          </p:cNvSpPr>
          <p:nvPr>
            <p:ph type="title"/>
          </p:nvPr>
        </p:nvSpPr>
        <p:spPr>
          <a:xfrm>
            <a:off x="79418" y="267869"/>
            <a:ext cx="12195176" cy="646042"/>
          </a:xfrm>
        </p:spPr>
        <p:txBody>
          <a:bodyPr>
            <a:noAutofit/>
          </a:bodyPr>
          <a:lstStyle>
            <a:lvl1pPr>
              <a:defRPr sz="4000"/>
            </a:lvl1pPr>
          </a:lstStyle>
          <a:p>
            <a:r>
              <a:rPr lang="en-US" dirty="0"/>
              <a:t>Click to edit Master title style</a:t>
            </a:r>
          </a:p>
        </p:txBody>
      </p:sp>
      <p:sp>
        <p:nvSpPr>
          <p:cNvPr id="8" name="Text Placeholder 5"/>
          <p:cNvSpPr>
            <a:spLocks noGrp="1"/>
          </p:cNvSpPr>
          <p:nvPr>
            <p:ph type="body" sz="quarter" idx="13" hasCustomPrompt="1"/>
          </p:nvPr>
        </p:nvSpPr>
        <p:spPr>
          <a:xfrm>
            <a:off x="111002" y="913913"/>
            <a:ext cx="12195176" cy="373063"/>
          </a:xfrm>
          <a:prstGeom prst="rect">
            <a:avLst/>
          </a:prstGeom>
        </p:spPr>
        <p:txBody>
          <a:bodyPr lIns="320040" tIns="53325" rIns="53325" bIns="53325">
            <a:noAutofit/>
          </a:bodyPr>
          <a:lstStyle>
            <a:lvl1pPr marL="0" indent="0">
              <a:buNone/>
              <a:defRPr sz="2800">
                <a:solidFill>
                  <a:schemeClr val="tx1"/>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383155436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p:bg>
      <p:bgRef idx="1001">
        <a:schemeClr val="bg1"/>
      </p:bgRef>
    </p:bg>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lvl1pPr>
              <a:defRPr>
                <a:solidFill>
                  <a:schemeClr val="tx2"/>
                </a:solidFill>
              </a:defRPr>
            </a:lvl1pPr>
          </a:lstStyle>
          <a:p>
            <a:r>
              <a:rPr lang="en-US" dirty="0">
                <a:solidFill>
                  <a:srgbClr val="002050"/>
                </a:solidFill>
              </a:rPr>
              <a:t>Microsoft Confidential</a:t>
            </a:r>
          </a:p>
        </p:txBody>
      </p:sp>
      <p:sp>
        <p:nvSpPr>
          <p:cNvPr id="6" name="Slide Number Placeholder 5"/>
          <p:cNvSpPr>
            <a:spLocks noGrp="1"/>
          </p:cNvSpPr>
          <p:nvPr>
            <p:ph type="sldNum" sz="quarter" idx="12"/>
          </p:nvPr>
        </p:nvSpPr>
        <p:spPr/>
        <p:txBody>
          <a:bodyPr/>
          <a:lstStyle>
            <a:lvl1pPr>
              <a:defRPr>
                <a:solidFill>
                  <a:schemeClr val="tx2"/>
                </a:solidFill>
              </a:defRPr>
            </a:lvl1pPr>
          </a:lstStyle>
          <a:p>
            <a:fld id="{27258FFF-F925-446B-8502-81C933981705}" type="slidenum">
              <a:rPr lang="en-US" smtClean="0">
                <a:solidFill>
                  <a:srgbClr val="002050"/>
                </a:solidFill>
              </a:rPr>
              <a:pPr/>
              <a:t>‹#›</a:t>
            </a:fld>
            <a:endParaRPr lang="en-US" dirty="0">
              <a:solidFill>
                <a:srgbClr val="002050"/>
              </a:solidFill>
            </a:endParaRPr>
          </a:p>
        </p:txBody>
      </p:sp>
      <p:sp>
        <p:nvSpPr>
          <p:cNvPr id="7" name="Text Placeholder 4"/>
          <p:cNvSpPr>
            <a:spLocks noGrp="1"/>
          </p:cNvSpPr>
          <p:nvPr>
            <p:ph type="body" sz="quarter" idx="13"/>
          </p:nvPr>
        </p:nvSpPr>
        <p:spPr>
          <a:xfrm>
            <a:off x="269239" y="361911"/>
            <a:ext cx="10757098" cy="1004683"/>
          </a:xfrm>
          <a:prstGeom prst="rect">
            <a:avLst/>
          </a:prstGeom>
        </p:spPr>
        <p:txBody>
          <a:bodyPr lIns="146304" tIns="91440" rIns="146304" bIns="91440">
            <a:noAutofit/>
          </a:bodyPr>
          <a:lstStyle>
            <a:lvl1pPr marL="0" indent="0">
              <a:lnSpc>
                <a:spcPct val="90000"/>
              </a:lnSpc>
              <a:spcBef>
                <a:spcPts val="1175"/>
              </a:spcBef>
              <a:spcAft>
                <a:spcPts val="2353"/>
              </a:spcAft>
              <a:buFontTx/>
              <a:buNone/>
              <a:defRPr lang="en-US" sz="5097" b="0" i="0" kern="1200" spc="0" baseline="0" dirty="0" smtClean="0">
                <a:solidFill>
                  <a:schemeClr val="tx2"/>
                </a:solidFill>
                <a:latin typeface="+mj-lt"/>
                <a:ea typeface="+mn-ea"/>
                <a:cs typeface="+mn-cs"/>
              </a:defRPr>
            </a:lvl1pPr>
          </a:lstStyle>
          <a:p>
            <a:pPr marL="0" marR="0" lvl="0" indent="0" algn="l" defTabSz="914192" rtl="0" eaLnBrk="1" fontAlgn="auto" latinLnBrk="0" hangingPunct="1">
              <a:lnSpc>
                <a:spcPct val="90000"/>
              </a:lnSpc>
              <a:spcBef>
                <a:spcPts val="1175"/>
              </a:spcBef>
              <a:spcAft>
                <a:spcPts val="2353"/>
              </a:spcAft>
              <a:buClrTx/>
              <a:buSzPct val="90000"/>
              <a:buFontTx/>
              <a:buNone/>
              <a:tabLst/>
            </a:pPr>
            <a:r>
              <a:rPr lang="en-US" dirty="0"/>
              <a:t>Click to edit Master text</a:t>
            </a:r>
          </a:p>
        </p:txBody>
      </p:sp>
    </p:spTree>
    <p:extLst>
      <p:ext uri="{BB962C8B-B14F-4D97-AF65-F5344CB8AC3E}">
        <p14:creationId xmlns:p14="http://schemas.microsoft.com/office/powerpoint/2010/main" val="31043846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with photo">
    <p:spTree>
      <p:nvGrpSpPr>
        <p:cNvPr id="1" name=""/>
        <p:cNvGrpSpPr/>
        <p:nvPr/>
      </p:nvGrpSpPr>
      <p:grpSpPr>
        <a:xfrm>
          <a:off x="0" y="0"/>
          <a:ext cx="0" cy="0"/>
          <a:chOff x="0" y="0"/>
          <a:chExt cx="0" cy="0"/>
        </a:xfrm>
      </p:grpSpPr>
      <p:sp>
        <p:nvSpPr>
          <p:cNvPr id="8" name="Rectangle 7"/>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sp>
        <p:nvSpPr>
          <p:cNvPr id="9" name="Title 1"/>
          <p:cNvSpPr>
            <a:spLocks noGrp="1"/>
          </p:cNvSpPr>
          <p:nvPr>
            <p:ph type="title" hasCustomPrompt="1"/>
          </p:nvPr>
        </p:nvSpPr>
        <p:spPr bwMode="ltGray">
          <a:xfrm>
            <a:off x="269947" y="2608424"/>
            <a:ext cx="5487830"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pic>
        <p:nvPicPr>
          <p:cNvPr id="11" name="Picture 10"/>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74205"/>
            <a:ext cx="1947104" cy="716043"/>
          </a:xfrm>
          <a:prstGeom prst="rect">
            <a:avLst/>
          </a:prstGeom>
        </p:spPr>
      </p:pic>
      <p:pic>
        <p:nvPicPr>
          <p:cNvPr id="12" name="Picture 11"/>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197060" y="234378"/>
            <a:ext cx="1947104" cy="716042"/>
          </a:xfrm>
          <a:prstGeom prst="rect">
            <a:avLst/>
          </a:prstGeom>
        </p:spPr>
      </p:pic>
      <p:sp>
        <p:nvSpPr>
          <p:cNvPr id="10" name="TextBox 9"/>
          <p:cNvSpPr txBox="1"/>
          <p:nvPr/>
        </p:nvSpPr>
        <p:spPr>
          <a:xfrm>
            <a:off x="7620000" y="381000"/>
            <a:ext cx="3810001" cy="1905000"/>
          </a:xfrm>
          <a:prstGeom prst="rect">
            <a:avLst/>
          </a:prstGeom>
        </p:spPr>
        <p:txBody>
          <a:bodyPr vert="horz" wrap="square" lIns="108805" tIns="54403" rIns="108805" bIns="54403" rtlCol="0" anchor="ctr">
            <a:normAutofit/>
          </a:bodyPr>
          <a:lstStyle/>
          <a:p>
            <a:pPr defTabSz="1087896"/>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3" name="Text Placeholder 2"/>
          <p:cNvSpPr>
            <a:spLocks noGrp="1"/>
          </p:cNvSpPr>
          <p:nvPr>
            <p:ph type="body" sz="quarter" idx="16" hasCustomPrompt="1"/>
          </p:nvPr>
        </p:nvSpPr>
        <p:spPr>
          <a:xfrm>
            <a:off x="340301" y="4894385"/>
            <a:ext cx="5487830" cy="914400"/>
          </a:xfrm>
        </p:spPr>
        <p:txBody>
          <a:bodyPr>
            <a:normAutofit/>
          </a:bodyPr>
          <a:lstStyle>
            <a:lvl1pPr>
              <a:defRPr sz="1600">
                <a:solidFill>
                  <a:srgbClr val="000000"/>
                </a:solidFill>
              </a:defRPr>
            </a:lvl1pPr>
          </a:lstStyle>
          <a:p>
            <a:pPr lvl="0"/>
            <a:r>
              <a:rPr lang="en-US" dirty="0"/>
              <a:t>Speaker Name</a:t>
            </a:r>
          </a:p>
        </p:txBody>
      </p:sp>
      <p:sp>
        <p:nvSpPr>
          <p:cNvPr id="14" name="TextBox 13"/>
          <p:cNvSpPr txBox="1"/>
          <p:nvPr/>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
        <p:nvSpPr>
          <p:cNvPr id="13" name="Rectangle 12"/>
          <p:cNvSpPr/>
          <p:nvPr userDrawn="1"/>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srgbClr val="000000"/>
              </a:solidFill>
              <a:ea typeface="Segoe UI" pitchFamily="34" charset="0"/>
              <a:cs typeface="Segoe UI" pitchFamily="34" charset="0"/>
            </a:endParaRPr>
          </a:p>
        </p:txBody>
      </p:sp>
      <p:pic>
        <p:nvPicPr>
          <p:cNvPr id="15" name="Picture 1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74205"/>
            <a:ext cx="1947104" cy="716043"/>
          </a:xfrm>
          <a:prstGeom prst="rect">
            <a:avLst/>
          </a:prstGeom>
        </p:spPr>
      </p:pic>
      <p:pic>
        <p:nvPicPr>
          <p:cNvPr id="16" name="Picture 1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197060" y="234378"/>
            <a:ext cx="1947104" cy="716042"/>
          </a:xfrm>
          <a:prstGeom prst="rect">
            <a:avLst/>
          </a:prstGeom>
        </p:spPr>
      </p:pic>
      <p:sp>
        <p:nvSpPr>
          <p:cNvPr id="17" name="TextBox 16"/>
          <p:cNvSpPr txBox="1"/>
          <p:nvPr userDrawn="1"/>
        </p:nvSpPr>
        <p:spPr>
          <a:xfrm>
            <a:off x="7620000" y="381000"/>
            <a:ext cx="3810001" cy="1905000"/>
          </a:xfrm>
          <a:prstGeom prst="rect">
            <a:avLst/>
          </a:prstGeom>
        </p:spPr>
        <p:txBody>
          <a:bodyPr vert="horz" wrap="square" lIns="108805" tIns="54403" rIns="108805" bIns="54403" rtlCol="0" anchor="ctr">
            <a:normAutofit/>
          </a:bodyPr>
          <a:lstStyle/>
          <a:p>
            <a:pPr defTabSz="1087896"/>
            <a:r>
              <a:rPr lang="en-US" sz="2000" dirty="0">
                <a:solidFill>
                  <a:srgbClr val="505050"/>
                </a:solidFill>
                <a:ea typeface="Segoe UI" pitchFamily="34" charset="0"/>
                <a:cs typeface="Segoe UI" pitchFamily="34" charset="0"/>
              </a:rPr>
              <a:t>Click View &gt; Slide Master to insert a photo as a background behind the colored boxes.</a:t>
            </a:r>
          </a:p>
        </p:txBody>
      </p:sp>
      <p:sp>
        <p:nvSpPr>
          <p:cNvPr id="18" name="TextBox 17"/>
          <p:cNvSpPr txBox="1"/>
          <p:nvPr userDrawn="1"/>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2096041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sp>
        <p:nvSpPr>
          <p:cNvPr id="2" name="Title 1"/>
          <p:cNvSpPr>
            <a:spLocks noGrp="1"/>
          </p:cNvSpPr>
          <p:nvPr>
            <p:ph type="title"/>
          </p:nvPr>
        </p:nvSpPr>
        <p:spPr/>
        <p:txBody>
          <a:bodyPr lIns="137160" rIns="137160" bIns="137160"/>
          <a:lstStyle/>
          <a:p>
            <a:r>
              <a:rPr lang="en-US"/>
              <a:t>Click to edit Master title style</a:t>
            </a:r>
            <a:endParaRPr lang="en-US" dirty="0"/>
          </a:p>
        </p:txBody>
      </p:sp>
      <p:sp>
        <p:nvSpPr>
          <p:cNvPr id="6" name="Footer Placeholder 5"/>
          <p:cNvSpPr>
            <a:spLocks noGrp="1"/>
          </p:cNvSpPr>
          <p:nvPr>
            <p:ph type="ftr" sz="quarter" idx="11"/>
          </p:nvPr>
        </p:nvSpPr>
        <p:spPr>
          <a:xfrm>
            <a:off x="228601" y="6553200"/>
            <a:ext cx="11201400" cy="304801"/>
          </a:xfrm>
        </p:spPr>
        <p:txBody>
          <a:bodyPr/>
          <a:lstStyle/>
          <a:p>
            <a:endParaRPr lang="en-US"/>
          </a:p>
        </p:txBody>
      </p:sp>
      <p:sp>
        <p:nvSpPr>
          <p:cNvPr id="7" name="Slide Number Placeholder 6"/>
          <p:cNvSpPr>
            <a:spLocks noGrp="1"/>
          </p:cNvSpPr>
          <p:nvPr>
            <p:ph type="sldNum" sz="quarter" idx="12"/>
          </p:nvPr>
        </p:nvSpPr>
        <p:spPr/>
        <p:txBody>
          <a:bodyPr/>
          <a:lstStyle/>
          <a:p>
            <a:fld id="{07AD9173-C745-46BA-9042-CD7714A275BD}" type="slidenum">
              <a:rPr lang="en-US" smtClean="0"/>
              <a:t>‹#›</a:t>
            </a:fld>
            <a:endParaRPr lang="en-US"/>
          </a:p>
        </p:txBody>
      </p:sp>
      <p:sp>
        <p:nvSpPr>
          <p:cNvPr id="9" name="Content Placeholder 8"/>
          <p:cNvSpPr>
            <a:spLocks noGrp="1"/>
          </p:cNvSpPr>
          <p:nvPr>
            <p:ph sz="quarter" idx="13"/>
          </p:nvPr>
        </p:nvSpPr>
        <p:spPr>
          <a:xfrm>
            <a:off x="228598" y="1597152"/>
            <a:ext cx="3840480" cy="4572000"/>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8"/>
          <p:cNvSpPr>
            <a:spLocks noGrp="1"/>
          </p:cNvSpPr>
          <p:nvPr>
            <p:ph sz="quarter" idx="14"/>
          </p:nvPr>
        </p:nvSpPr>
        <p:spPr>
          <a:xfrm>
            <a:off x="4150024" y="1597152"/>
            <a:ext cx="3843119" cy="4572000"/>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Content Placeholder 8"/>
          <p:cNvSpPr>
            <a:spLocks noGrp="1"/>
          </p:cNvSpPr>
          <p:nvPr>
            <p:ph sz="quarter" idx="15"/>
          </p:nvPr>
        </p:nvSpPr>
        <p:spPr>
          <a:xfrm>
            <a:off x="8074089" y="1597152"/>
            <a:ext cx="3840480" cy="4572000"/>
          </a:xfrm>
        </p:spPr>
        <p:txBody>
          <a:bodyPr lIns="137160" rIns="137160" bIns="13716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91933297"/>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Title, no photo">
    <p:bg>
      <p:bgPr>
        <a:solidFill>
          <a:schemeClr val="bg2"/>
        </a:solidFill>
        <a:effectLst/>
      </p:bgPr>
    </p:bg>
    <p:spTree>
      <p:nvGrpSpPr>
        <p:cNvPr id="1" name=""/>
        <p:cNvGrpSpPr/>
        <p:nvPr/>
      </p:nvGrpSpPr>
      <p:grpSpPr>
        <a:xfrm>
          <a:off x="0" y="0"/>
          <a:ext cx="0" cy="0"/>
          <a:chOff x="0" y="0"/>
          <a:chExt cx="0" cy="0"/>
        </a:xfrm>
      </p:grpSpPr>
      <p:pic>
        <p:nvPicPr>
          <p:cNvPr id="12" name="Picture 11"/>
          <p:cNvPicPr>
            <a:picLocks noChangeAspect="1"/>
          </p:cNvPicPr>
          <p:nvPr/>
        </p:nvPicPr>
        <p:blipFill>
          <a:blip r:embed="rId2" cstate="screen">
            <a:extLst>
              <a:ext uri="{28A0092B-C50C-407E-A947-70E740481C1C}">
                <a14:useLocalDpi xmlns:a14="http://schemas.microsoft.com/office/drawing/2010/main" val="0"/>
              </a:ext>
            </a:extLst>
          </a:blip>
          <a:stretch>
            <a:fillRect/>
          </a:stretch>
        </p:blipFill>
        <p:spPr>
          <a:xfrm>
            <a:off x="230248" y="224439"/>
            <a:ext cx="1947104" cy="716042"/>
          </a:xfrm>
          <a:prstGeom prst="rect">
            <a:avLst/>
          </a:prstGeom>
        </p:spPr>
      </p:pic>
      <p:pic>
        <p:nvPicPr>
          <p:cNvPr id="11" name="Picture 10"/>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2671609" y="274205"/>
            <a:ext cx="1947104" cy="716043"/>
          </a:xfrm>
          <a:prstGeom prst="rect">
            <a:avLst/>
          </a:prstGeom>
        </p:spPr>
      </p:pic>
      <p:sp>
        <p:nvSpPr>
          <p:cNvPr id="7" name="Rectangle 6"/>
          <p:cNvSpPr/>
          <p:nvPr/>
        </p:nvSpPr>
        <p:spPr bwMode="gray">
          <a:xfrm>
            <a:off x="190550" y="2622897"/>
            <a:ext cx="6031984" cy="359766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prstClr val="white"/>
              </a:solidFill>
              <a:ea typeface="Segoe UI" pitchFamily="34" charset="0"/>
              <a:cs typeface="Segoe UI" pitchFamily="34" charset="0"/>
            </a:endParaRPr>
          </a:p>
        </p:txBody>
      </p:sp>
      <p:sp>
        <p:nvSpPr>
          <p:cNvPr id="8" name="Title 1"/>
          <p:cNvSpPr>
            <a:spLocks noGrp="1"/>
          </p:cNvSpPr>
          <p:nvPr>
            <p:ph type="title" hasCustomPrompt="1"/>
          </p:nvPr>
        </p:nvSpPr>
        <p:spPr bwMode="ltGray">
          <a:xfrm>
            <a:off x="269947" y="2608424"/>
            <a:ext cx="5487830" cy="2747751"/>
          </a:xfrm>
          <a:noFill/>
        </p:spPr>
        <p:txBody>
          <a:bodyPr vert="horz" lIns="137160" tIns="137160" rIns="137160" bIns="137160" rtlCol="0" anchor="t" anchorCtr="0">
            <a:normAutofit/>
          </a:bodyPr>
          <a:lstStyle>
            <a:lvl1pPr>
              <a:defRPr lang="en-US" sz="4400" spc="-98" dirty="0">
                <a:solidFill>
                  <a:srgbClr val="000000"/>
                </a:solidFill>
              </a:defRPr>
            </a:lvl1pPr>
          </a:lstStyle>
          <a:p>
            <a:pPr lvl="0"/>
            <a:r>
              <a:rPr lang="en-US" dirty="0"/>
              <a:t>Presentation title</a:t>
            </a:r>
          </a:p>
        </p:txBody>
      </p:sp>
      <p:sp>
        <p:nvSpPr>
          <p:cNvPr id="3" name="Text Placeholder 2"/>
          <p:cNvSpPr>
            <a:spLocks noGrp="1"/>
          </p:cNvSpPr>
          <p:nvPr>
            <p:ph type="body" sz="quarter" idx="16" hasCustomPrompt="1"/>
          </p:nvPr>
        </p:nvSpPr>
        <p:spPr>
          <a:xfrm>
            <a:off x="354226" y="4900246"/>
            <a:ext cx="5487830" cy="823669"/>
          </a:xfrm>
        </p:spPr>
        <p:txBody>
          <a:bodyPr>
            <a:normAutofit/>
          </a:bodyPr>
          <a:lstStyle>
            <a:lvl1pPr>
              <a:defRPr sz="1600">
                <a:solidFill>
                  <a:srgbClr val="000000"/>
                </a:solidFill>
              </a:defRPr>
            </a:lvl1pPr>
          </a:lstStyle>
          <a:p>
            <a:pPr lvl="0"/>
            <a:r>
              <a:rPr lang="en-US" dirty="0"/>
              <a:t>Speaker Name</a:t>
            </a:r>
          </a:p>
        </p:txBody>
      </p:sp>
      <p:sp>
        <p:nvSpPr>
          <p:cNvPr id="9" name="TextBox 8"/>
          <p:cNvSpPr txBox="1"/>
          <p:nvPr/>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pic>
        <p:nvPicPr>
          <p:cNvPr id="10" name="Picture 9"/>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230248" y="224439"/>
            <a:ext cx="1947104" cy="716042"/>
          </a:xfrm>
          <a:prstGeom prst="rect">
            <a:avLst/>
          </a:prstGeom>
        </p:spPr>
      </p:pic>
      <p:pic>
        <p:nvPicPr>
          <p:cNvPr id="13" name="Picture 12"/>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2671609" y="274205"/>
            <a:ext cx="1947104" cy="716043"/>
          </a:xfrm>
          <a:prstGeom prst="rect">
            <a:avLst/>
          </a:prstGeom>
        </p:spPr>
      </p:pic>
      <p:sp>
        <p:nvSpPr>
          <p:cNvPr id="14" name="Rectangle 13"/>
          <p:cNvSpPr/>
          <p:nvPr userDrawn="1"/>
        </p:nvSpPr>
        <p:spPr bwMode="gray">
          <a:xfrm>
            <a:off x="190550" y="2622897"/>
            <a:ext cx="6031984" cy="359766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4" tIns="143387" rIns="179234" bIns="143387" numCol="1" spcCol="0" rtlCol="0" fromWordArt="0" anchor="t" anchorCtr="0" forceAA="0" compatLnSpc="1">
            <a:prstTxWarp prst="textNoShape">
              <a:avLst/>
            </a:prstTxWarp>
            <a:noAutofit/>
          </a:bodyPr>
          <a:lstStyle/>
          <a:p>
            <a:pPr algn="ctr" defTabSz="913834" fontAlgn="base">
              <a:lnSpc>
                <a:spcPct val="90000"/>
              </a:lnSpc>
              <a:spcBef>
                <a:spcPct val="0"/>
              </a:spcBef>
              <a:spcAft>
                <a:spcPct val="0"/>
              </a:spcAft>
            </a:pPr>
            <a:endParaRPr lang="en-US" sz="2400" dirty="0" err="1">
              <a:solidFill>
                <a:prstClr val="white"/>
              </a:solidFill>
              <a:ea typeface="Segoe UI" pitchFamily="34" charset="0"/>
              <a:cs typeface="Segoe UI" pitchFamily="34" charset="0"/>
            </a:endParaRPr>
          </a:p>
        </p:txBody>
      </p:sp>
      <p:sp>
        <p:nvSpPr>
          <p:cNvPr id="15" name="TextBox 14"/>
          <p:cNvSpPr txBox="1"/>
          <p:nvPr userDrawn="1"/>
        </p:nvSpPr>
        <p:spPr>
          <a:xfrm>
            <a:off x="409462" y="5735993"/>
            <a:ext cx="4850552" cy="342654"/>
          </a:xfrm>
          <a:prstGeom prst="rect">
            <a:avLst/>
          </a:prstGeom>
        </p:spPr>
        <p:txBody>
          <a:bodyPr vert="horz" wrap="square" lIns="0" tIns="0" rIns="0" bIns="0" rtlCol="0" anchor="t">
            <a:noAutofit/>
          </a:bodyPr>
          <a:lstStyle/>
          <a:p>
            <a:pPr defTabSz="1087896">
              <a:buClr>
                <a:srgbClr val="00BCF2"/>
              </a:buClr>
              <a:buFont typeface="Wingdings" pitchFamily="2" charset="2"/>
              <a:buNone/>
            </a:pPr>
            <a:r>
              <a:rPr lang="en-US" sz="2400" dirty="0">
                <a:solidFill>
                  <a:srgbClr val="000000"/>
                </a:solidFill>
                <a:ea typeface="Segoe UI" pitchFamily="34" charset="0"/>
                <a:cs typeface="Segoe UI" pitchFamily="34" charset="0"/>
              </a:rPr>
              <a:t>Real Impact for Better Government</a:t>
            </a:r>
          </a:p>
        </p:txBody>
      </p:sp>
    </p:spTree>
    <p:extLst>
      <p:ext uri="{BB962C8B-B14F-4D97-AF65-F5344CB8AC3E}">
        <p14:creationId xmlns:p14="http://schemas.microsoft.com/office/powerpoint/2010/main" val="341869706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a:lvl1pPr>
          </a:lstStyle>
          <a:p>
            <a:r>
              <a:rPr lang="en-US" dirty="0"/>
              <a:t>Click to edit Master title style</a:t>
            </a:r>
          </a:p>
        </p:txBody>
      </p:sp>
      <p:sp>
        <p:nvSpPr>
          <p:cNvPr id="6" name="Text Placeholder 5"/>
          <p:cNvSpPr>
            <a:spLocks noGrp="1"/>
          </p:cNvSpPr>
          <p:nvPr>
            <p:ph type="body" sz="quarter" idx="13" hasCustomPrompt="1"/>
          </p:nvPr>
        </p:nvSpPr>
        <p:spPr>
          <a:xfrm>
            <a:off x="119096" y="791866"/>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
        <p:nvSpPr>
          <p:cNvPr id="16" name="Text Placeholder 15"/>
          <p:cNvSpPr>
            <a:spLocks noGrp="1"/>
          </p:cNvSpPr>
          <p:nvPr>
            <p:ph type="body" sz="quarter" idx="14"/>
          </p:nvPr>
        </p:nvSpPr>
        <p:spPr>
          <a:xfrm>
            <a:off x="355583" y="1600201"/>
            <a:ext cx="11345599" cy="4577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15"/>
          </p:nvPr>
        </p:nvSpPr>
        <p:spPr/>
        <p:txBody>
          <a:bodyPr/>
          <a:lstStyle/>
          <a:p>
            <a:fld id="{FAADACFB-7C71-4E89-89D2-7BBA40B7BFA9}" type="slidenum">
              <a:rPr lang="en-US" smtClean="0">
                <a:solidFill>
                  <a:srgbClr val="505050"/>
                </a:solidFill>
              </a:rPr>
              <a:pPr/>
              <a:t>‹#›</a:t>
            </a:fld>
            <a:endParaRPr lang="en-US" dirty="0">
              <a:solidFill>
                <a:srgbClr val="505050"/>
              </a:solidFill>
            </a:endParaRPr>
          </a:p>
        </p:txBody>
      </p:sp>
      <p:sp>
        <p:nvSpPr>
          <p:cNvPr id="20" name="Footer Placeholder 19"/>
          <p:cNvSpPr>
            <a:spLocks noGrp="1"/>
          </p:cNvSpPr>
          <p:nvPr>
            <p:ph type="ftr" sz="quarter" idx="16"/>
          </p:nvPr>
        </p:nvSpPr>
        <p:spPr/>
        <p:txBody>
          <a:bodyPr/>
          <a:lstStyle/>
          <a:p>
            <a:endParaRPr lang="en-US" dirty="0">
              <a:solidFill>
                <a:srgbClr val="505050"/>
              </a:solidFill>
            </a:endParaRPr>
          </a:p>
        </p:txBody>
      </p:sp>
    </p:spTree>
    <p:extLst>
      <p:ext uri="{BB962C8B-B14F-4D97-AF65-F5344CB8AC3E}">
        <p14:creationId xmlns:p14="http://schemas.microsoft.com/office/powerpoint/2010/main" val="3610441022"/>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Title with subtitl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921"/>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
        <p:nvSpPr>
          <p:cNvPr id="6" name="Text Placeholder 5"/>
          <p:cNvSpPr>
            <a:spLocks noGrp="1"/>
          </p:cNvSpPr>
          <p:nvPr>
            <p:ph type="body" sz="quarter" idx="13" hasCustomPrompt="1"/>
          </p:nvPr>
        </p:nvSpPr>
        <p:spPr>
          <a:xfrm>
            <a:off x="110973" y="913912"/>
            <a:ext cx="12192000" cy="373063"/>
          </a:xfrm>
          <a:prstGeom prst="rect">
            <a:avLst/>
          </a:prstGeom>
        </p:spPr>
        <p:txBody>
          <a:bodyPr lIns="320040" tIns="53325" rIns="53325" bIns="53325">
            <a:noAutofit/>
          </a:bodyPr>
          <a:lstStyle>
            <a:lvl1pPr marL="0" indent="0">
              <a:buNone/>
              <a:defRPr sz="2745">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spTree>
    <p:extLst>
      <p:ext uri="{BB962C8B-B14F-4D97-AF65-F5344CB8AC3E}">
        <p14:creationId xmlns:p14="http://schemas.microsoft.com/office/powerpoint/2010/main" val="12789226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defRPr sz="3921"/>
            </a:lvl1pPr>
          </a:lstStyle>
          <a:p>
            <a:r>
              <a:rPr lang="en-US" dirty="0"/>
              <a:t>Click to edit Master title styl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187660883"/>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Quotation">
    <p:spTree>
      <p:nvGrpSpPr>
        <p:cNvPr id="1" name=""/>
        <p:cNvGrpSpPr/>
        <p:nvPr/>
      </p:nvGrpSpPr>
      <p:grpSpPr>
        <a:xfrm>
          <a:off x="0" y="0"/>
          <a:ext cx="0" cy="0"/>
          <a:chOff x="0" y="0"/>
          <a:chExt cx="0" cy="0"/>
        </a:xfrm>
      </p:grpSpPr>
      <p:sp>
        <p:nvSpPr>
          <p:cNvPr id="9" name="Picture Placeholder 8"/>
          <p:cNvSpPr>
            <a:spLocks noGrp="1"/>
          </p:cNvSpPr>
          <p:nvPr>
            <p:ph type="pic" sz="quarter" idx="14" hasCustomPrompt="1"/>
          </p:nvPr>
        </p:nvSpPr>
        <p:spPr>
          <a:xfrm>
            <a:off x="1" y="0"/>
            <a:ext cx="12192000" cy="6858000"/>
          </a:xfrm>
        </p:spPr>
        <p:txBody>
          <a:bodyPr/>
          <a:lstStyle>
            <a:lvl1pPr>
              <a:defRPr/>
            </a:lvl1pPr>
          </a:lstStyle>
          <a:p>
            <a:r>
              <a:rPr lang="en-US" dirty="0"/>
              <a:t>Click to add picture</a:t>
            </a:r>
          </a:p>
        </p:txBody>
      </p:sp>
      <p:sp>
        <p:nvSpPr>
          <p:cNvPr id="4" name="Footer Placeholder 3"/>
          <p:cNvSpPr>
            <a:spLocks noGrp="1"/>
          </p:cNvSpPr>
          <p:nvPr>
            <p:ph type="ftr" sz="quarter" idx="11"/>
          </p:nvPr>
        </p:nvSpPr>
        <p:spPr/>
        <p:txBody>
          <a:bodyPr/>
          <a:lstStyle/>
          <a:p>
            <a:endParaRPr lang="en-US" dirty="0">
              <a:solidFill>
                <a:srgbClr val="505050"/>
              </a:solidFill>
            </a:endParaRPr>
          </a:p>
        </p:txBody>
      </p:sp>
      <p:sp>
        <p:nvSpPr>
          <p:cNvPr id="5" name="Slide Number Placeholder 4"/>
          <p:cNvSpPr>
            <a:spLocks noGrp="1"/>
          </p:cNvSpPr>
          <p:nvPr>
            <p:ph type="sldNum" sz="quarter" idx="12"/>
          </p:nvPr>
        </p:nvSpPr>
        <p:spPr>
          <a:xfrm>
            <a:off x="11430001" y="6478587"/>
            <a:ext cx="761998" cy="379413"/>
          </a:xfrm>
          <a:prstGeom prst="rect">
            <a:avLst/>
          </a:prstGeom>
        </p:spPr>
        <p:txBody>
          <a:bodyPr/>
          <a:lstStyle/>
          <a:p>
            <a:fld id="{6A4C1A4A-E5E6-4CC1-B72C-A20A4EB3E2D2}"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41463165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Text Placeholder 9"/>
          <p:cNvSpPr>
            <a:spLocks noGrp="1"/>
          </p:cNvSpPr>
          <p:nvPr>
            <p:ph type="body" sz="quarter" idx="13"/>
          </p:nvPr>
        </p:nvSpPr>
        <p:spPr>
          <a:xfrm>
            <a:off x="3048000" y="6467477"/>
            <a:ext cx="8381999" cy="388938"/>
          </a:xfrm>
          <a:prstGeom prst="rect">
            <a:avLst/>
          </a:prstGeom>
        </p:spPr>
        <p:txBody>
          <a:bodyPr anchor="ctr"/>
          <a:lstStyle>
            <a:lvl1pPr marL="0" indent="0">
              <a:buNone/>
              <a:defRPr sz="800">
                <a:solidFill>
                  <a:schemeClr val="tx1"/>
                </a:solidFill>
              </a:defRPr>
            </a:lvl1pPr>
          </a:lstStyle>
          <a:p>
            <a:pPr lvl="0"/>
            <a:r>
              <a:rPr lang="en-US"/>
              <a:t>Click to edit Master text styles</a:t>
            </a:r>
          </a:p>
        </p:txBody>
      </p:sp>
      <p:sp>
        <p:nvSpPr>
          <p:cNvPr id="6" name="Text Placeholder 23"/>
          <p:cNvSpPr>
            <a:spLocks noGrp="1"/>
          </p:cNvSpPr>
          <p:nvPr>
            <p:ph type="body" sz="quarter" idx="14" hasCustomPrompt="1"/>
          </p:nvPr>
        </p:nvSpPr>
        <p:spPr>
          <a:xfrm>
            <a:off x="11430000" y="6478324"/>
            <a:ext cx="762000" cy="378354"/>
          </a:xfrm>
          <a:prstGeom prst="rect">
            <a:avLst/>
          </a:prstGeom>
        </p:spPr>
        <p:txBody>
          <a:bodyPr anchor="ctr"/>
          <a:lstStyle>
            <a:lvl1pPr marL="0" indent="0" algn="r">
              <a:buNone/>
              <a:defRPr sz="800">
                <a:solidFill>
                  <a:schemeClr val="tx1"/>
                </a:solidFill>
              </a:defRPr>
            </a:lvl1pPr>
          </a:lstStyle>
          <a:p>
            <a:fld id="{13C7C2A1-6219-4FFB-8871-7AF0864EFB3F}" type="slidenum">
              <a:rPr lang="en-US" smtClean="0"/>
              <a:t>‹#›</a:t>
            </a:fld>
            <a:endParaRPr lang="en-US" dirty="0"/>
          </a:p>
        </p:txBody>
      </p:sp>
    </p:spTree>
    <p:extLst>
      <p:ext uri="{BB962C8B-B14F-4D97-AF65-F5344CB8AC3E}">
        <p14:creationId xmlns:p14="http://schemas.microsoft.com/office/powerpoint/2010/main" val="156155517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pic>
        <p:nvPicPr>
          <p:cNvPr id="4" name="Picture 3" descr="10GRID2a.jpg"/>
          <p:cNvPicPr>
            <a:picLocks noChangeAspect="1"/>
          </p:cNvPicPr>
          <p:nvPr/>
        </p:nvPicPr>
        <p:blipFill>
          <a:blip r:embed="rId2">
            <a:alphaModFix amt="58000"/>
            <a:extLst>
              <a:ext uri="{28A0092B-C50C-407E-A947-70E740481C1C}">
                <a14:useLocalDpi xmlns:a14="http://schemas.microsoft.com/office/drawing/2010/main" val="0"/>
              </a:ext>
            </a:extLst>
          </a:blip>
          <a:stretch>
            <a:fillRect/>
          </a:stretch>
        </p:blipFill>
        <p:spPr>
          <a:xfrm>
            <a:off x="-1" y="-1"/>
            <a:ext cx="12192826" cy="6856679"/>
          </a:xfrm>
          <a:prstGeom prst="rect">
            <a:avLst/>
          </a:prstGeom>
        </p:spPr>
      </p:pic>
      <p:grpSp>
        <p:nvGrpSpPr>
          <p:cNvPr id="2" name="Group 1"/>
          <p:cNvGrpSpPr/>
          <p:nvPr/>
        </p:nvGrpSpPr>
        <p:grpSpPr>
          <a:xfrm>
            <a:off x="185326" y="2326039"/>
            <a:ext cx="11836065" cy="4398590"/>
            <a:chOff x="185277" y="2326039"/>
            <a:chExt cx="12064064" cy="4484488"/>
          </a:xfrm>
        </p:grpSpPr>
        <p:sp>
          <p:nvSpPr>
            <p:cNvPr id="8" name="Rectangle 7"/>
            <p:cNvSpPr/>
            <p:nvPr/>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9" name="Rectangle 8"/>
            <p:cNvSpPr/>
            <p:nvPr/>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0" name="Rectangle 9"/>
            <p:cNvSpPr/>
            <p:nvPr/>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1" name="Rectangle 10"/>
            <p:cNvSpPr/>
            <p:nvPr/>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Rectangle 11"/>
            <p:cNvSpPr/>
            <p:nvPr/>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3" name="Rectangle 12"/>
            <p:cNvSpPr/>
            <p:nvPr/>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4" name="Rectangle 13"/>
            <p:cNvSpPr/>
            <p:nvPr/>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15" name="Group 14"/>
            <p:cNvGrpSpPr/>
            <p:nvPr/>
          </p:nvGrpSpPr>
          <p:grpSpPr>
            <a:xfrm>
              <a:off x="185277" y="2326039"/>
              <a:ext cx="12064064" cy="1459104"/>
              <a:chOff x="185277" y="2031977"/>
              <a:chExt cx="12064064" cy="1459104"/>
            </a:xfrm>
          </p:grpSpPr>
          <p:sp>
            <p:nvSpPr>
              <p:cNvPr id="16" name="Rectangle 1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7" name="Rectangle 1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8" name="Rectangle 1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9" name="Rectangle 1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0" name="Rectangle 1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1" name="Rectangle 2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2" name="Rectangle 2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3" name="Rectangle 2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24" name="Group 23"/>
            <p:cNvGrpSpPr/>
            <p:nvPr/>
          </p:nvGrpSpPr>
          <p:grpSpPr>
            <a:xfrm>
              <a:off x="185277" y="3845414"/>
              <a:ext cx="12064064" cy="1459104"/>
              <a:chOff x="185277" y="3564719"/>
              <a:chExt cx="12064064" cy="1459104"/>
            </a:xfrm>
          </p:grpSpPr>
          <p:sp>
            <p:nvSpPr>
              <p:cNvPr id="25" name="Rectangle 24"/>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6" name="Rectangle 25"/>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7" name="Rectangle 26"/>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8" name="Rectangle 27"/>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29" name="Rectangle 28"/>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0" name="Rectangle 29"/>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1" name="Rectangle 30"/>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2" name="Rectangle 31"/>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3" name="Rectangle 32"/>
            <p:cNvSpPr/>
            <p:nvPr/>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34" name="Title 1"/>
          <p:cNvSpPr>
            <a:spLocks noGrp="1"/>
          </p:cNvSpPr>
          <p:nvPr>
            <p:ph type="title"/>
          </p:nvPr>
        </p:nvSpPr>
        <p:spPr>
          <a:xfrm>
            <a:off x="79397" y="267870"/>
            <a:ext cx="12192000" cy="646042"/>
          </a:xfrm>
        </p:spPr>
        <p:txBody>
          <a:bodyPr>
            <a:noAutofit/>
          </a:bodyPr>
          <a:lstStyle>
            <a:lvl1pPr>
              <a:defRPr/>
            </a:lvl1pPr>
          </a:lstStyle>
          <a:p>
            <a:r>
              <a:rPr lang="en-US"/>
              <a:t>Click to edit Master title style</a:t>
            </a:r>
            <a:endParaRPr lang="en-US" dirty="0"/>
          </a:p>
        </p:txBody>
      </p:sp>
      <p:sp>
        <p:nvSpPr>
          <p:cNvPr id="35" name="Text Placeholder 5"/>
          <p:cNvSpPr>
            <a:spLocks noGrp="1"/>
          </p:cNvSpPr>
          <p:nvPr>
            <p:ph type="body" sz="quarter" idx="13" hasCustomPrompt="1"/>
          </p:nvPr>
        </p:nvSpPr>
        <p:spPr>
          <a:xfrm>
            <a:off x="119096" y="791866"/>
            <a:ext cx="12192000" cy="373063"/>
          </a:xfrm>
          <a:prstGeom prst="rect">
            <a:avLst/>
          </a:prstGeom>
        </p:spPr>
        <p:txBody>
          <a:bodyPr lIns="320040" tIns="53325" rIns="53325" bIns="53325">
            <a:noAutofit/>
          </a:bodyPr>
          <a:lstStyle>
            <a:lvl1pPr marL="0" indent="0">
              <a:buNone/>
              <a:defRPr sz="2800">
                <a:solidFill>
                  <a:schemeClr val="bg2"/>
                </a:solidFill>
                <a:latin typeface="Segoe UI Light" pitchFamily="34" charset="0"/>
              </a:defRPr>
            </a:lvl1pPr>
            <a:lvl2pPr marL="281620" indent="0">
              <a:buNone/>
              <a:defRPr/>
            </a:lvl2pPr>
            <a:lvl3pPr marL="588363" indent="0">
              <a:buNone/>
              <a:defRPr/>
            </a:lvl3pPr>
            <a:lvl4pPr marL="869983" indent="0">
              <a:buNone/>
              <a:defRPr/>
            </a:lvl4pPr>
            <a:lvl5pPr marL="1105327" indent="0">
              <a:buNone/>
              <a:defRPr/>
            </a:lvl5pPr>
          </a:lstStyle>
          <a:p>
            <a:pPr lvl="0"/>
            <a:r>
              <a:rPr lang="en-US" dirty="0"/>
              <a:t>Click to add subtitle</a:t>
            </a:r>
          </a:p>
        </p:txBody>
      </p:sp>
      <p:pic>
        <p:nvPicPr>
          <p:cNvPr id="36" name="Picture 35" descr="10GRID2a.jpg"/>
          <p:cNvPicPr>
            <a:picLocks noChangeAspect="1"/>
          </p:cNvPicPr>
          <p:nvPr userDrawn="1"/>
        </p:nvPicPr>
        <p:blipFill>
          <a:blip r:embed="rId2">
            <a:alphaModFix amt="58000"/>
            <a:extLst>
              <a:ext uri="{28A0092B-C50C-407E-A947-70E740481C1C}">
                <a14:useLocalDpi xmlns:a14="http://schemas.microsoft.com/office/drawing/2010/main" val="0"/>
              </a:ext>
            </a:extLst>
          </a:blip>
          <a:stretch>
            <a:fillRect/>
          </a:stretch>
        </p:blipFill>
        <p:spPr>
          <a:xfrm>
            <a:off x="-1" y="-1"/>
            <a:ext cx="12192826" cy="6856679"/>
          </a:xfrm>
          <a:prstGeom prst="rect">
            <a:avLst/>
          </a:prstGeom>
        </p:spPr>
      </p:pic>
      <p:grpSp>
        <p:nvGrpSpPr>
          <p:cNvPr id="37" name="Group 36"/>
          <p:cNvGrpSpPr/>
          <p:nvPr userDrawn="1"/>
        </p:nvGrpSpPr>
        <p:grpSpPr>
          <a:xfrm>
            <a:off x="185326" y="2326039"/>
            <a:ext cx="11836065" cy="4398590"/>
            <a:chOff x="185277" y="2326039"/>
            <a:chExt cx="12064064" cy="4484488"/>
          </a:xfrm>
        </p:grpSpPr>
        <p:sp>
          <p:nvSpPr>
            <p:cNvPr id="38" name="Rectangle 37"/>
            <p:cNvSpPr/>
            <p:nvPr userDrawn="1"/>
          </p:nvSpPr>
          <p:spPr bwMode="auto">
            <a:xfrm>
              <a:off x="18527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39" name="Rectangle 38"/>
            <p:cNvSpPr/>
            <p:nvPr userDrawn="1"/>
          </p:nvSpPr>
          <p:spPr bwMode="auto">
            <a:xfrm>
              <a:off x="170027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0" name="Rectangle 39"/>
            <p:cNvSpPr/>
            <p:nvPr userDrawn="1"/>
          </p:nvSpPr>
          <p:spPr bwMode="auto">
            <a:xfrm>
              <a:off x="3215265"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1" name="Rectangle 40"/>
            <p:cNvSpPr/>
            <p:nvPr userDrawn="1"/>
          </p:nvSpPr>
          <p:spPr bwMode="auto">
            <a:xfrm>
              <a:off x="4730259"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2" name="Rectangle 41"/>
            <p:cNvSpPr/>
            <p:nvPr userDrawn="1"/>
          </p:nvSpPr>
          <p:spPr bwMode="auto">
            <a:xfrm>
              <a:off x="6245253"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3" name="Rectangle 42"/>
            <p:cNvSpPr/>
            <p:nvPr userDrawn="1"/>
          </p:nvSpPr>
          <p:spPr bwMode="auto">
            <a:xfrm>
              <a:off x="776024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4" name="Rectangle 43"/>
            <p:cNvSpPr/>
            <p:nvPr userDrawn="1"/>
          </p:nvSpPr>
          <p:spPr bwMode="auto">
            <a:xfrm>
              <a:off x="9275241"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nvGrpSpPr>
            <p:cNvPr id="45" name="Group 44"/>
            <p:cNvGrpSpPr/>
            <p:nvPr userDrawn="1"/>
          </p:nvGrpSpPr>
          <p:grpSpPr>
            <a:xfrm>
              <a:off x="185277" y="2326039"/>
              <a:ext cx="12064064" cy="1459104"/>
              <a:chOff x="185277" y="2031977"/>
              <a:chExt cx="12064064" cy="1459104"/>
            </a:xfrm>
          </p:grpSpPr>
          <p:sp>
            <p:nvSpPr>
              <p:cNvPr id="56" name="Rectangle 55"/>
              <p:cNvSpPr/>
              <p:nvPr/>
            </p:nvSpPr>
            <p:spPr bwMode="auto">
              <a:xfrm>
                <a:off x="18527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7" name="Rectangle 56"/>
              <p:cNvSpPr/>
              <p:nvPr/>
            </p:nvSpPr>
            <p:spPr bwMode="auto">
              <a:xfrm>
                <a:off x="170027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8" name="Rectangle 57"/>
              <p:cNvSpPr/>
              <p:nvPr/>
            </p:nvSpPr>
            <p:spPr bwMode="auto">
              <a:xfrm>
                <a:off x="3215265"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9" name="Rectangle 58"/>
              <p:cNvSpPr/>
              <p:nvPr/>
            </p:nvSpPr>
            <p:spPr bwMode="auto">
              <a:xfrm>
                <a:off x="4730259"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0" name="Rectangle 59"/>
              <p:cNvSpPr/>
              <p:nvPr/>
            </p:nvSpPr>
            <p:spPr bwMode="auto">
              <a:xfrm>
                <a:off x="6245253"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1" name="Rectangle 60"/>
              <p:cNvSpPr/>
              <p:nvPr/>
            </p:nvSpPr>
            <p:spPr bwMode="auto">
              <a:xfrm>
                <a:off x="776024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2" name="Rectangle 61"/>
              <p:cNvSpPr/>
              <p:nvPr/>
            </p:nvSpPr>
            <p:spPr bwMode="auto">
              <a:xfrm>
                <a:off x="9275241"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63" name="Rectangle 62"/>
              <p:cNvSpPr/>
              <p:nvPr/>
            </p:nvSpPr>
            <p:spPr bwMode="auto">
              <a:xfrm>
                <a:off x="10790237" y="2031977"/>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grpSp>
          <p:nvGrpSpPr>
            <p:cNvPr id="46" name="Group 45"/>
            <p:cNvGrpSpPr/>
            <p:nvPr userDrawn="1"/>
          </p:nvGrpSpPr>
          <p:grpSpPr>
            <a:xfrm>
              <a:off x="185277" y="3845414"/>
              <a:ext cx="12064064" cy="1459104"/>
              <a:chOff x="185277" y="3564719"/>
              <a:chExt cx="12064064" cy="1459104"/>
            </a:xfrm>
          </p:grpSpPr>
          <p:sp>
            <p:nvSpPr>
              <p:cNvPr id="48" name="Rectangle 47"/>
              <p:cNvSpPr/>
              <p:nvPr/>
            </p:nvSpPr>
            <p:spPr bwMode="auto">
              <a:xfrm>
                <a:off x="18527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9" name="Rectangle 48"/>
              <p:cNvSpPr/>
              <p:nvPr/>
            </p:nvSpPr>
            <p:spPr bwMode="auto">
              <a:xfrm>
                <a:off x="170027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0" name="Rectangle 49"/>
              <p:cNvSpPr/>
              <p:nvPr/>
            </p:nvSpPr>
            <p:spPr bwMode="auto">
              <a:xfrm>
                <a:off x="3215265"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1" name="Rectangle 50"/>
              <p:cNvSpPr/>
              <p:nvPr/>
            </p:nvSpPr>
            <p:spPr bwMode="auto">
              <a:xfrm>
                <a:off x="4730259"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2" name="Rectangle 51"/>
              <p:cNvSpPr/>
              <p:nvPr/>
            </p:nvSpPr>
            <p:spPr bwMode="auto">
              <a:xfrm>
                <a:off x="6245253"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3" name="Rectangle 52"/>
              <p:cNvSpPr/>
              <p:nvPr/>
            </p:nvSpPr>
            <p:spPr bwMode="auto">
              <a:xfrm>
                <a:off x="776024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4" name="Rectangle 53"/>
              <p:cNvSpPr/>
              <p:nvPr/>
            </p:nvSpPr>
            <p:spPr bwMode="auto">
              <a:xfrm>
                <a:off x="9275241"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5" name="Rectangle 54"/>
              <p:cNvSpPr/>
              <p:nvPr/>
            </p:nvSpPr>
            <p:spPr bwMode="auto">
              <a:xfrm>
                <a:off x="10790237" y="3564719"/>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
          <p:nvSpPr>
            <p:cNvPr id="47" name="Rectangle 46"/>
            <p:cNvSpPr/>
            <p:nvPr userDrawn="1"/>
          </p:nvSpPr>
          <p:spPr bwMode="auto">
            <a:xfrm>
              <a:off x="10790237" y="5351423"/>
              <a:ext cx="1459104" cy="1459104"/>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lang="en-US" sz="2800" dirty="0">
                <a:gradFill>
                  <a:gsLst>
                    <a:gs pos="0">
                      <a:srgbClr val="FFFFFF"/>
                    </a:gs>
                    <a:gs pos="100000">
                      <a:srgbClr val="FFFFFF"/>
                    </a:gs>
                  </a:gsLst>
                  <a:lin ang="5400000" scaled="0"/>
                </a:gradFill>
                <a:latin typeface="Segoe UI Light"/>
                <a:ea typeface="Segoe UI" pitchFamily="34" charset="0"/>
                <a:cs typeface="Segoe UI" pitchFamily="34" charset="0"/>
              </a:endParaRPr>
            </a:p>
          </p:txBody>
        </p:sp>
      </p:grpSp>
    </p:spTree>
    <p:extLst>
      <p:ext uri="{BB962C8B-B14F-4D97-AF65-F5344CB8AC3E}">
        <p14:creationId xmlns:p14="http://schemas.microsoft.com/office/powerpoint/2010/main" val="297150162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4_Transition page">
    <p:spTree>
      <p:nvGrpSpPr>
        <p:cNvPr id="1" name=""/>
        <p:cNvGrpSpPr/>
        <p:nvPr/>
      </p:nvGrpSpPr>
      <p:grpSpPr>
        <a:xfrm>
          <a:off x="0" y="0"/>
          <a:ext cx="0" cy="0"/>
          <a:chOff x="0" y="0"/>
          <a:chExt cx="0" cy="0"/>
        </a:xfrm>
      </p:grpSpPr>
      <p:sp>
        <p:nvSpPr>
          <p:cNvPr id="6" name="Rectangle 5"/>
          <p:cNvSpPr/>
          <p:nvPr/>
        </p:nvSpPr>
        <p:spPr>
          <a:xfrm>
            <a:off x="274709" y="2582863"/>
            <a:ext cx="6911355" cy="3664420"/>
          </a:xfrm>
          <a:prstGeom prst="rect">
            <a:avLst/>
          </a:prstGeom>
          <a:solidFill>
            <a:schemeClr val="accent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4218" tIns="147374" rIns="184218" bIns="147374" rtlCol="0" anchor="t" anchorCtr="0"/>
          <a:lstStyle/>
          <a:p>
            <a:pPr defTabSz="1087896"/>
            <a:endParaRPr lang="en-US" sz="2400" dirty="0">
              <a:solidFill>
                <a:prstClr val="white"/>
              </a:solidFill>
            </a:endParaRPr>
          </a:p>
        </p:txBody>
      </p:sp>
      <p:sp>
        <p:nvSpPr>
          <p:cNvPr id="7" name="Title 1"/>
          <p:cNvSpPr>
            <a:spLocks noGrp="1"/>
          </p:cNvSpPr>
          <p:nvPr>
            <p:ph type="title" hasCustomPrompt="1"/>
          </p:nvPr>
        </p:nvSpPr>
        <p:spPr>
          <a:xfrm>
            <a:off x="274709" y="2591134"/>
            <a:ext cx="6911355" cy="1822989"/>
          </a:xfrm>
          <a:noFill/>
        </p:spPr>
        <p:txBody>
          <a:bodyPr lIns="137160" tIns="137160" rIns="137160" bIns="137160" anchor="t" anchorCtr="0">
            <a:normAutofit/>
          </a:bodyPr>
          <a:lstStyle>
            <a:lvl1pPr>
              <a:defRPr sz="5399" spc="-98" baseline="0">
                <a:solidFill>
                  <a:schemeClr val="bg1"/>
                </a:solidFill>
              </a:defRPr>
            </a:lvl1pPr>
          </a:lstStyle>
          <a:p>
            <a:r>
              <a:rPr lang="en-US" dirty="0"/>
              <a:t>Section title</a:t>
            </a:r>
          </a:p>
        </p:txBody>
      </p:sp>
      <p:sp>
        <p:nvSpPr>
          <p:cNvPr id="8" name="Text Placeholder 10"/>
          <p:cNvSpPr>
            <a:spLocks noGrp="1"/>
          </p:cNvSpPr>
          <p:nvPr>
            <p:ph type="body" sz="quarter" idx="14"/>
          </p:nvPr>
        </p:nvSpPr>
        <p:spPr>
          <a:xfrm>
            <a:off x="279243" y="3342118"/>
            <a:ext cx="5945148" cy="2590800"/>
          </a:xfrm>
          <a:prstGeom prst="rect">
            <a:avLst/>
          </a:prstGeom>
        </p:spPr>
        <p:txBody>
          <a:bodyPr lIns="137160" tIns="137160" rIns="137160" bIns="137160">
            <a:noAutofit/>
          </a:bodyPr>
          <a:lstStyle>
            <a:lvl1pPr marL="190392" indent="-190392">
              <a:lnSpc>
                <a:spcPct val="80000"/>
              </a:lnSpc>
              <a:buNone/>
              <a:defRPr lang="en-US" sz="2400" kern="1200" dirty="0">
                <a:solidFill>
                  <a:schemeClr val="bg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90023173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5053" y="1320305"/>
            <a:ext cx="11890297" cy="1822989"/>
          </a:xfrm>
          <a:noFill/>
        </p:spPr>
        <p:txBody>
          <a:bodyPr lIns="137160" tIns="137160" rIns="137160" bIns="137160" anchor="t" anchorCtr="0"/>
          <a:lstStyle>
            <a:lvl1pPr>
              <a:defRPr sz="8598" spc="-98" baseline="0">
                <a:solidFill>
                  <a:srgbClr val="000000"/>
                </a:solidFill>
              </a:defRPr>
            </a:lvl1pPr>
          </a:lstStyle>
          <a:p>
            <a:r>
              <a:rPr lang="en-US" dirty="0"/>
              <a:t>Section title</a:t>
            </a:r>
          </a:p>
        </p:txBody>
      </p:sp>
      <p:sp>
        <p:nvSpPr>
          <p:cNvPr id="3" name="Text Placeholder 10"/>
          <p:cNvSpPr>
            <a:spLocks noGrp="1"/>
          </p:cNvSpPr>
          <p:nvPr>
            <p:ph type="body" sz="quarter" idx="14"/>
          </p:nvPr>
        </p:nvSpPr>
        <p:spPr>
          <a:xfrm>
            <a:off x="426228" y="2838296"/>
            <a:ext cx="5945148" cy="2590800"/>
          </a:xfrm>
          <a:prstGeom prst="rect">
            <a:avLst/>
          </a:prstGeom>
        </p:spPr>
        <p:txBody>
          <a:bodyPr lIns="137160" tIns="137160" rIns="137160" bIns="137160">
            <a:noAutofit/>
          </a:bodyPr>
          <a:lstStyle>
            <a:lvl1pPr marL="190392" indent="-190392">
              <a:lnSpc>
                <a:spcPct val="80000"/>
              </a:lnSpc>
              <a:buNone/>
              <a:defRPr lang="en-US" sz="2000" kern="1200" dirty="0">
                <a:solidFill>
                  <a:srgbClr val="000000"/>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31515978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p:cSld name="1_Section Title Accent Color 1">
    <p:bg>
      <p:bgPr>
        <a:solidFill>
          <a:schemeClr val="accent2"/>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275053" y="1320305"/>
            <a:ext cx="11890297" cy="1822989"/>
          </a:xfrm>
          <a:noFill/>
        </p:spPr>
        <p:txBody>
          <a:bodyPr lIns="137160" tIns="137160" rIns="137160" bIns="137160" anchor="t" anchorCtr="0"/>
          <a:lstStyle>
            <a:lvl1pPr>
              <a:defRPr sz="8598" spc="-98" baseline="0">
                <a:solidFill>
                  <a:schemeClr val="tx1"/>
                </a:solidFill>
              </a:defRPr>
            </a:lvl1pPr>
          </a:lstStyle>
          <a:p>
            <a:r>
              <a:rPr lang="en-US" dirty="0"/>
              <a:t>Section title</a:t>
            </a:r>
          </a:p>
        </p:txBody>
      </p:sp>
      <p:sp>
        <p:nvSpPr>
          <p:cNvPr id="5" name="Text Placeholder 10"/>
          <p:cNvSpPr>
            <a:spLocks noGrp="1"/>
          </p:cNvSpPr>
          <p:nvPr>
            <p:ph type="body" sz="quarter" idx="14"/>
          </p:nvPr>
        </p:nvSpPr>
        <p:spPr>
          <a:xfrm>
            <a:off x="426228" y="2838296"/>
            <a:ext cx="5945148" cy="2590800"/>
          </a:xfrm>
          <a:prstGeom prst="rect">
            <a:avLst/>
          </a:prstGeom>
        </p:spPr>
        <p:txBody>
          <a:bodyPr lIns="137160" tIns="137160" rIns="137160" bIns="137160">
            <a:noAutofit/>
          </a:bodyPr>
          <a:lstStyle>
            <a:lvl1pPr marL="190392" indent="-190392">
              <a:lnSpc>
                <a:spcPct val="80000"/>
              </a:lnSpc>
              <a:buNone/>
              <a:defRPr lang="en-US" sz="2000" kern="1200" dirty="0">
                <a:solidFill>
                  <a:schemeClr val="tx1"/>
                </a:solidFill>
                <a:latin typeface="Segoe UI" pitchFamily="34" charset="0"/>
                <a:ea typeface="Segoe UI" pitchFamily="34" charset="0"/>
                <a:cs typeface="Segoe UI" pitchFamily="34" charset="0"/>
              </a:defRPr>
            </a:lvl1pPr>
          </a:lstStyle>
          <a:p>
            <a:pPr marL="0" lvl="0" indent="0" algn="l" defTabSz="1087896" rtl="0" eaLnBrk="1" latinLnBrk="0" hangingPunct="1">
              <a:spcBef>
                <a:spcPct val="20000"/>
              </a:spcBef>
              <a:buClr>
                <a:srgbClr val="0072C6"/>
              </a:buClr>
              <a:buSzPct val="100000"/>
            </a:pPr>
            <a:r>
              <a:rPr lang="en-US"/>
              <a:t>Click to edit Master text styles</a:t>
            </a:r>
          </a:p>
        </p:txBody>
      </p:sp>
    </p:spTree>
    <p:extLst>
      <p:ext uri="{BB962C8B-B14F-4D97-AF65-F5344CB8AC3E}">
        <p14:creationId xmlns:p14="http://schemas.microsoft.com/office/powerpoint/2010/main" val="261020416"/>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19" Type="http://schemas.openxmlformats.org/officeDocument/2006/relationships/theme" Target="../theme/theme10.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196.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6" Type="http://schemas.openxmlformats.org/officeDocument/2006/relationships/image" Target="../media/image25.png"/><Relationship Id="rId5" Type="http://schemas.openxmlformats.org/officeDocument/2006/relationships/theme" Target="../theme/theme11.xml"/><Relationship Id="rId4" Type="http://schemas.openxmlformats.org/officeDocument/2006/relationships/slideLayout" Target="../slideLayouts/slideLayout197.xml"/></Relationships>
</file>

<file path=ppt/slideMasters/_rels/slideMaster1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vmlDrawing" Target="../drawings/vmlDrawing1.vml"/><Relationship Id="rId1" Type="http://schemas.openxmlformats.org/officeDocument/2006/relationships/theme" Target="../theme/theme12.xml"/><Relationship Id="rId6" Type="http://schemas.openxmlformats.org/officeDocument/2006/relationships/image" Target="../media/image28.jpeg"/><Relationship Id="rId5" Type="http://schemas.openxmlformats.org/officeDocument/2006/relationships/image" Target="../media/image27.emf"/><Relationship Id="rId4" Type="http://schemas.openxmlformats.org/officeDocument/2006/relationships/oleObject" Target="../embeddings/oleObject1.bin"/></Relationships>
</file>

<file path=ppt/slideMasters/_rels/slideMaster13.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0.png"/><Relationship Id="rId2" Type="http://schemas.openxmlformats.org/officeDocument/2006/relationships/vmlDrawing" Target="../drawings/vmlDrawing2.vml"/><Relationship Id="rId1" Type="http://schemas.openxmlformats.org/officeDocument/2006/relationships/theme" Target="../theme/theme13.xml"/><Relationship Id="rId6" Type="http://schemas.openxmlformats.org/officeDocument/2006/relationships/image" Target="../media/image29.png"/><Relationship Id="rId5" Type="http://schemas.openxmlformats.org/officeDocument/2006/relationships/image" Target="../media/image27.emf"/><Relationship Id="rId4" Type="http://schemas.openxmlformats.org/officeDocument/2006/relationships/oleObject" Target="../embeddings/oleObject2.bin"/></Relationships>
</file>

<file path=ppt/slideMasters/_rels/slideMaster14.xml.rels><?xml version="1.0" encoding="UTF-8" standalone="yes"?>
<Relationships xmlns="http://schemas.openxmlformats.org/package/2006/relationships"><Relationship Id="rId3" Type="http://schemas.openxmlformats.org/officeDocument/2006/relationships/vmlDrawing" Target="../drawings/vmlDrawing3.vml"/><Relationship Id="rId7" Type="http://schemas.openxmlformats.org/officeDocument/2006/relationships/image" Target="../media/image31.png"/><Relationship Id="rId2" Type="http://schemas.openxmlformats.org/officeDocument/2006/relationships/theme" Target="../theme/theme14.xml"/><Relationship Id="rId1" Type="http://schemas.openxmlformats.org/officeDocument/2006/relationships/slideLayout" Target="../slideLayouts/slideLayout198.xml"/><Relationship Id="rId6" Type="http://schemas.openxmlformats.org/officeDocument/2006/relationships/image" Target="../media/image27.emf"/><Relationship Id="rId5" Type="http://schemas.openxmlformats.org/officeDocument/2006/relationships/oleObject" Target="../embeddings/oleObject3.bin"/><Relationship Id="rId4" Type="http://schemas.openxmlformats.org/officeDocument/2006/relationships/tags" Target="../tags/tag3.xml"/></Relationships>
</file>

<file path=ppt/slideMasters/_rels/slideMaster15.xml.rels><?xml version="1.0" encoding="UTF-8" standalone="yes"?>
<Relationships xmlns="http://schemas.openxmlformats.org/package/2006/relationships"><Relationship Id="rId1"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3" Type="http://schemas.openxmlformats.org/officeDocument/2006/relationships/vmlDrawing" Target="../drawings/vmlDrawing4.vml"/><Relationship Id="rId7" Type="http://schemas.openxmlformats.org/officeDocument/2006/relationships/image" Target="../media/image33.png"/><Relationship Id="rId2" Type="http://schemas.openxmlformats.org/officeDocument/2006/relationships/theme" Target="../theme/theme17.xml"/><Relationship Id="rId1" Type="http://schemas.openxmlformats.org/officeDocument/2006/relationships/slideLayout" Target="../slideLayouts/slideLayout199.xml"/><Relationship Id="rId6" Type="http://schemas.openxmlformats.org/officeDocument/2006/relationships/image" Target="../media/image27.emf"/><Relationship Id="rId5" Type="http://schemas.openxmlformats.org/officeDocument/2006/relationships/oleObject" Target="../embeddings/oleObject4.bin"/><Relationship Id="rId4" Type="http://schemas.openxmlformats.org/officeDocument/2006/relationships/tags" Target="../tags/tag4.xml"/></Relationships>
</file>

<file path=ppt/slideMasters/_rels/slideMaster1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26" Type="http://schemas.openxmlformats.org/officeDocument/2006/relationships/slideLayout" Target="../slideLayouts/slideLayout48.xml"/><Relationship Id="rId3" Type="http://schemas.openxmlformats.org/officeDocument/2006/relationships/slideLayout" Target="../slideLayouts/slideLayout25.xml"/><Relationship Id="rId21" Type="http://schemas.openxmlformats.org/officeDocument/2006/relationships/slideLayout" Target="../slideLayouts/slideLayout43.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5" Type="http://schemas.openxmlformats.org/officeDocument/2006/relationships/slideLayout" Target="../slideLayouts/slideLayout47.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slideLayout" Target="../slideLayouts/slideLayout42.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slideLayout" Target="../slideLayouts/slideLayout46.xml"/><Relationship Id="rId32" Type="http://schemas.openxmlformats.org/officeDocument/2006/relationships/theme" Target="../theme/theme2.xml"/><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slideLayout" Target="../slideLayouts/slideLayout45.xml"/><Relationship Id="rId28" Type="http://schemas.openxmlformats.org/officeDocument/2006/relationships/slideLayout" Target="../slideLayouts/slideLayout50.xml"/><Relationship Id="rId10" Type="http://schemas.openxmlformats.org/officeDocument/2006/relationships/slideLayout" Target="../slideLayouts/slideLayout32.xml"/><Relationship Id="rId19" Type="http://schemas.openxmlformats.org/officeDocument/2006/relationships/slideLayout" Target="../slideLayouts/slideLayout41.xml"/><Relationship Id="rId31" Type="http://schemas.openxmlformats.org/officeDocument/2006/relationships/slideLayout" Target="../slideLayouts/slideLayout5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slideLayout" Target="../slideLayouts/slideLayout44.xml"/><Relationship Id="rId27" Type="http://schemas.openxmlformats.org/officeDocument/2006/relationships/slideLayout" Target="../slideLayouts/slideLayout49.xml"/><Relationship Id="rId30" Type="http://schemas.openxmlformats.org/officeDocument/2006/relationships/slideLayout" Target="../slideLayouts/slideLayout52.xml"/></Relationships>
</file>

<file path=ppt/slideMasters/_rels/slideMaster20.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1"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vmlDrawing" Target="../drawings/vmlDrawing5.vml"/><Relationship Id="rId1" Type="http://schemas.openxmlformats.org/officeDocument/2006/relationships/theme" Target="../theme/theme22.xml"/><Relationship Id="rId5" Type="http://schemas.openxmlformats.org/officeDocument/2006/relationships/image" Target="../media/image27.emf"/><Relationship Id="rId4" Type="http://schemas.openxmlformats.org/officeDocument/2006/relationships/oleObject" Target="../embeddings/oleObject5.bin"/></Relationships>
</file>

<file path=ppt/slideMasters/_rels/slideMaster2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theme" Target="../theme/theme24.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theme" Target="../theme/theme3.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theme" Target="../theme/theme4.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theme" Target="../theme/theme5.xml"/><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slideLayout" Target="../slideLayouts/slideLayout101.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slideLayout" Target="../slideLayouts/slideLayout100.xml"/><Relationship Id="rId17" Type="http://schemas.openxmlformats.org/officeDocument/2006/relationships/theme" Target="../theme/theme6.xml"/><Relationship Id="rId2" Type="http://schemas.openxmlformats.org/officeDocument/2006/relationships/slideLayout" Target="../slideLayouts/slideLayout90.xml"/><Relationship Id="rId16" Type="http://schemas.openxmlformats.org/officeDocument/2006/relationships/slideLayout" Target="../slideLayouts/slideLayout104.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5" Type="http://schemas.openxmlformats.org/officeDocument/2006/relationships/slideLayout" Target="../slideLayouts/slideLayout10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slideLayout" Target="../slideLayouts/slideLayout10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 Type="http://schemas.openxmlformats.org/officeDocument/2006/relationships/slideLayout" Target="../slideLayouts/slideLayout107.xml"/><Relationship Id="rId21" Type="http://schemas.openxmlformats.org/officeDocument/2006/relationships/slideLayout" Target="../slideLayouts/slideLayout125.xml"/><Relationship Id="rId7" Type="http://schemas.openxmlformats.org/officeDocument/2006/relationships/slideLayout" Target="../slideLayouts/slideLayout111.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0" Type="http://schemas.openxmlformats.org/officeDocument/2006/relationships/slideLayout" Target="../slideLayouts/slideLayout124.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5" Type="http://schemas.openxmlformats.org/officeDocument/2006/relationships/slideLayout" Target="../slideLayouts/slideLayout109.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theme" Target="../theme/theme7.xml"/><Relationship Id="rId10" Type="http://schemas.openxmlformats.org/officeDocument/2006/relationships/slideLayout" Target="../slideLayouts/slideLayout114.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slideLayout" Target="../slideLayouts/slideLayout144.xml"/><Relationship Id="rId18" Type="http://schemas.openxmlformats.org/officeDocument/2006/relationships/slideLayout" Target="../slideLayouts/slideLayout149.xml"/><Relationship Id="rId26" Type="http://schemas.openxmlformats.org/officeDocument/2006/relationships/slideLayout" Target="../slideLayouts/slideLayout157.xml"/><Relationship Id="rId3" Type="http://schemas.openxmlformats.org/officeDocument/2006/relationships/slideLayout" Target="../slideLayouts/slideLayout134.xml"/><Relationship Id="rId21" Type="http://schemas.openxmlformats.org/officeDocument/2006/relationships/slideLayout" Target="../slideLayouts/slideLayout152.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17" Type="http://schemas.openxmlformats.org/officeDocument/2006/relationships/slideLayout" Target="../slideLayouts/slideLayout148.xml"/><Relationship Id="rId25" Type="http://schemas.openxmlformats.org/officeDocument/2006/relationships/slideLayout" Target="../slideLayouts/slideLayout156.xml"/><Relationship Id="rId2" Type="http://schemas.openxmlformats.org/officeDocument/2006/relationships/slideLayout" Target="../slideLayouts/slideLayout133.xml"/><Relationship Id="rId16" Type="http://schemas.openxmlformats.org/officeDocument/2006/relationships/slideLayout" Target="../slideLayouts/slideLayout147.xml"/><Relationship Id="rId20" Type="http://schemas.openxmlformats.org/officeDocument/2006/relationships/slideLayout" Target="../slideLayouts/slideLayout151.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24" Type="http://schemas.openxmlformats.org/officeDocument/2006/relationships/slideLayout" Target="../slideLayouts/slideLayout155.xml"/><Relationship Id="rId5" Type="http://schemas.openxmlformats.org/officeDocument/2006/relationships/slideLayout" Target="../slideLayouts/slideLayout136.xml"/><Relationship Id="rId15" Type="http://schemas.openxmlformats.org/officeDocument/2006/relationships/slideLayout" Target="../slideLayouts/slideLayout146.xml"/><Relationship Id="rId23" Type="http://schemas.openxmlformats.org/officeDocument/2006/relationships/slideLayout" Target="../slideLayouts/slideLayout154.xml"/><Relationship Id="rId28" Type="http://schemas.openxmlformats.org/officeDocument/2006/relationships/theme" Target="../theme/theme8.xml"/><Relationship Id="rId10" Type="http://schemas.openxmlformats.org/officeDocument/2006/relationships/slideLayout" Target="../slideLayouts/slideLayout141.xml"/><Relationship Id="rId19" Type="http://schemas.openxmlformats.org/officeDocument/2006/relationships/slideLayout" Target="../slideLayouts/slideLayout150.xml"/><Relationship Id="rId4" Type="http://schemas.openxmlformats.org/officeDocument/2006/relationships/slideLayout" Target="../slideLayouts/slideLayout135.xml"/><Relationship Id="rId9" Type="http://schemas.openxmlformats.org/officeDocument/2006/relationships/slideLayout" Target="../slideLayouts/slideLayout140.xml"/><Relationship Id="rId14" Type="http://schemas.openxmlformats.org/officeDocument/2006/relationships/slideLayout" Target="../slideLayouts/slideLayout145.xml"/><Relationship Id="rId22" Type="http://schemas.openxmlformats.org/officeDocument/2006/relationships/slideLayout" Target="../slideLayouts/slideLayout153.xml"/><Relationship Id="rId27" Type="http://schemas.openxmlformats.org/officeDocument/2006/relationships/slideLayout" Target="../slideLayouts/slideLayout15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66.xml"/><Relationship Id="rId13" Type="http://schemas.openxmlformats.org/officeDocument/2006/relationships/slideLayout" Target="../slideLayouts/slideLayout171.xml"/><Relationship Id="rId18" Type="http://schemas.openxmlformats.org/officeDocument/2006/relationships/theme" Target="../theme/theme9.xml"/><Relationship Id="rId3" Type="http://schemas.openxmlformats.org/officeDocument/2006/relationships/slideLayout" Target="../slideLayouts/slideLayout161.xml"/><Relationship Id="rId7" Type="http://schemas.openxmlformats.org/officeDocument/2006/relationships/slideLayout" Target="../slideLayouts/slideLayout165.xml"/><Relationship Id="rId12" Type="http://schemas.openxmlformats.org/officeDocument/2006/relationships/slideLayout" Target="../slideLayouts/slideLayout170.xml"/><Relationship Id="rId17" Type="http://schemas.openxmlformats.org/officeDocument/2006/relationships/slideLayout" Target="../slideLayouts/slideLayout175.xml"/><Relationship Id="rId2" Type="http://schemas.openxmlformats.org/officeDocument/2006/relationships/slideLayout" Target="../slideLayouts/slideLayout160.xml"/><Relationship Id="rId16" Type="http://schemas.openxmlformats.org/officeDocument/2006/relationships/slideLayout" Target="../slideLayouts/slideLayout174.xml"/><Relationship Id="rId1" Type="http://schemas.openxmlformats.org/officeDocument/2006/relationships/slideLayout" Target="../slideLayouts/slideLayout159.xml"/><Relationship Id="rId6" Type="http://schemas.openxmlformats.org/officeDocument/2006/relationships/slideLayout" Target="../slideLayouts/slideLayout164.xml"/><Relationship Id="rId11" Type="http://schemas.openxmlformats.org/officeDocument/2006/relationships/slideLayout" Target="../slideLayouts/slideLayout169.xml"/><Relationship Id="rId5" Type="http://schemas.openxmlformats.org/officeDocument/2006/relationships/slideLayout" Target="../slideLayouts/slideLayout163.xml"/><Relationship Id="rId15" Type="http://schemas.openxmlformats.org/officeDocument/2006/relationships/slideLayout" Target="../slideLayouts/slideLayout173.xml"/><Relationship Id="rId10" Type="http://schemas.openxmlformats.org/officeDocument/2006/relationships/slideLayout" Target="../slideLayouts/slideLayout168.xml"/><Relationship Id="rId4" Type="http://schemas.openxmlformats.org/officeDocument/2006/relationships/slideLayout" Target="../slideLayouts/slideLayout162.xml"/><Relationship Id="rId9" Type="http://schemas.openxmlformats.org/officeDocument/2006/relationships/slideLayout" Target="../slideLayouts/slideLayout167.xml"/><Relationship Id="rId14" Type="http://schemas.openxmlformats.org/officeDocument/2006/relationships/slideLayout" Target="../slideLayouts/slideLayout1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8600" y="293989"/>
            <a:ext cx="11696700" cy="682195"/>
          </a:xfrm>
          <a:prstGeom prst="rect">
            <a:avLst/>
          </a:prstGeom>
        </p:spPr>
        <p:txBody>
          <a:bodyPr vert="horz" lIns="137160" tIns="91440" rIns="137160" bIns="137160" rtlCol="0" anchor="t">
            <a:noAutofit/>
          </a:bodyPr>
          <a:lstStyle/>
          <a:p>
            <a:endParaRPr lang="en-US" dirty="0"/>
          </a:p>
        </p:txBody>
      </p:sp>
      <p:sp>
        <p:nvSpPr>
          <p:cNvPr id="7" name="Footer Placeholder 6"/>
          <p:cNvSpPr>
            <a:spLocks noGrp="1"/>
          </p:cNvSpPr>
          <p:nvPr>
            <p:ph type="ftr" sz="quarter" idx="3"/>
          </p:nvPr>
        </p:nvSpPr>
        <p:spPr>
          <a:xfrm>
            <a:off x="228600" y="6553200"/>
            <a:ext cx="11201400" cy="304801"/>
          </a:xfrm>
          <a:prstGeom prst="rect">
            <a:avLst/>
          </a:prstGeom>
        </p:spPr>
        <p:txBody>
          <a:bodyPr vert="horz" lIns="182880"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a:p>
        </p:txBody>
      </p:sp>
      <p:sp>
        <p:nvSpPr>
          <p:cNvPr id="15" name="Text Placeholder 14"/>
          <p:cNvSpPr>
            <a:spLocks noGrp="1"/>
          </p:cNvSpPr>
          <p:nvPr>
            <p:ph type="body" idx="1"/>
          </p:nvPr>
        </p:nvSpPr>
        <p:spPr>
          <a:xfrm>
            <a:off x="228600" y="1600201"/>
            <a:ext cx="11696700" cy="4559531"/>
          </a:xfrm>
          <a:prstGeom prst="rect">
            <a:avLst/>
          </a:prstGeom>
        </p:spPr>
        <p:txBody>
          <a:bodyPr vert="horz" lIns="137160" tIns="91440" rIns="137160" bIns="13716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553200"/>
            <a:ext cx="761999" cy="304801"/>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07AD9173-C745-46BA-9042-CD7714A275BD}" type="slidenum">
              <a:rPr lang="en-US" smtClean="0"/>
              <a:t>‹#›</a:t>
            </a:fld>
            <a:endParaRPr lang="en-US"/>
          </a:p>
        </p:txBody>
      </p:sp>
    </p:spTree>
    <p:extLst>
      <p:ext uri="{BB962C8B-B14F-4D97-AF65-F5344CB8AC3E}">
        <p14:creationId xmlns:p14="http://schemas.microsoft.com/office/powerpoint/2010/main" val="3451669782"/>
      </p:ext>
    </p:extLst>
  </p:cSld>
  <p:clrMap bg1="lt1" tx1="dk1" bg2="lt2" tx2="dk2" accent1="accent1" accent2="accent2" accent3="accent3" accent4="accent4" accent5="accent5" accent6="accent6" hlink="hlink" folHlink="folHlink"/>
  <p:sldLayoutIdLst>
    <p:sldLayoutId id="2147483740" r:id="rId1"/>
    <p:sldLayoutId id="2147483668" r:id="rId2"/>
    <p:sldLayoutId id="2147483670" r:id="rId3"/>
    <p:sldLayoutId id="2147483671" r:id="rId4"/>
    <p:sldLayoutId id="2147483672" r:id="rId5"/>
    <p:sldLayoutId id="2147483673" r:id="rId6"/>
    <p:sldLayoutId id="2147483674" r:id="rId7"/>
    <p:sldLayoutId id="2147483675" r:id="rId8"/>
    <p:sldLayoutId id="2147483676" r:id="rId9"/>
    <p:sldLayoutId id="2147483677" r:id="rId10"/>
    <p:sldLayoutId id="2147483678" r:id="rId11"/>
    <p:sldLayoutId id="2147483679" r:id="rId12"/>
    <p:sldLayoutId id="2147483680" r:id="rId13"/>
    <p:sldLayoutId id="2147483681" r:id="rId14"/>
    <p:sldLayoutId id="2147483682" r:id="rId15"/>
    <p:sldLayoutId id="2147483683" r:id="rId16"/>
    <p:sldLayoutId id="2147483684" r:id="rId17"/>
    <p:sldLayoutId id="2147483685" r:id="rId18"/>
    <p:sldLayoutId id="2147483686" r:id="rId19"/>
    <p:sldLayoutId id="2147483688" r:id="rId20"/>
    <p:sldLayoutId id="2147483689" r:id="rId21"/>
    <p:sldLayoutId id="2147483690" r:id="rId22"/>
  </p:sldLayoutIdLst>
  <p:transition>
    <p:fade/>
  </p:transition>
  <p:txStyles>
    <p:titleStyle>
      <a:lvl1pPr marL="0" algn="l" defTabSz="1088078" rtl="0" eaLnBrk="1" latinLnBrk="0" hangingPunct="1">
        <a:lnSpc>
          <a:spcPct val="90000"/>
        </a:lnSpc>
        <a:spcBef>
          <a:spcPct val="0"/>
        </a:spcBef>
        <a:buNone/>
        <a:defRPr lang="en-US" sz="4800" kern="1200" spc="-100" baseline="0" dirty="0">
          <a:solidFill>
            <a:schemeClr val="tx1"/>
          </a:solidFill>
          <a:latin typeface="+mj-lt"/>
          <a:ea typeface="Segoe UI Semibold" panose="020B0702040204020203" pitchFamily="34" charset="0"/>
          <a:cs typeface="Segoe UI Semibold" panose="020B0702040204020203" pitchFamily="34" charset="0"/>
        </a:defRPr>
      </a:lvl1pPr>
    </p:titleStyle>
    <p:bodyStyle>
      <a:lvl1pPr marL="0" indent="0" algn="l" defTabSz="1088078" rtl="0" eaLnBrk="1" latinLnBrk="0" hangingPunct="1">
        <a:spcBef>
          <a:spcPts val="1800"/>
        </a:spcBef>
        <a:buClr>
          <a:srgbClr val="0072C6"/>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59" indent="-194391" algn="l" defTabSz="1088078"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693" indent="-173232" algn="l" defTabSz="1088078"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28" indent="-177200"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57" indent="-179845" algn="l" defTabSz="1088078"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16"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25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294"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332" indent="-272020" algn="l" defTabSz="1088078"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078" rtl="0" eaLnBrk="1" latinLnBrk="0" hangingPunct="1">
        <a:defRPr sz="2200" kern="1200">
          <a:solidFill>
            <a:schemeClr val="tx1"/>
          </a:solidFill>
          <a:latin typeface="+mn-lt"/>
          <a:ea typeface="+mn-ea"/>
          <a:cs typeface="+mn-cs"/>
        </a:defRPr>
      </a:lvl1pPr>
      <a:lvl2pPr marL="544040" algn="l" defTabSz="1088078" rtl="0" eaLnBrk="1" latinLnBrk="0" hangingPunct="1">
        <a:defRPr sz="2200" kern="1200">
          <a:solidFill>
            <a:schemeClr val="tx1"/>
          </a:solidFill>
          <a:latin typeface="+mn-lt"/>
          <a:ea typeface="+mn-ea"/>
          <a:cs typeface="+mn-cs"/>
        </a:defRPr>
      </a:lvl2pPr>
      <a:lvl3pPr marL="1088078" algn="l" defTabSz="1088078" rtl="0" eaLnBrk="1" latinLnBrk="0" hangingPunct="1">
        <a:defRPr sz="2200" kern="1200">
          <a:solidFill>
            <a:schemeClr val="tx1"/>
          </a:solidFill>
          <a:latin typeface="+mn-lt"/>
          <a:ea typeface="+mn-ea"/>
          <a:cs typeface="+mn-cs"/>
        </a:defRPr>
      </a:lvl3pPr>
      <a:lvl4pPr marL="1632118" algn="l" defTabSz="1088078" rtl="0" eaLnBrk="1" latinLnBrk="0" hangingPunct="1">
        <a:defRPr sz="2200" kern="1200">
          <a:solidFill>
            <a:schemeClr val="tx1"/>
          </a:solidFill>
          <a:latin typeface="+mn-lt"/>
          <a:ea typeface="+mn-ea"/>
          <a:cs typeface="+mn-cs"/>
        </a:defRPr>
      </a:lvl4pPr>
      <a:lvl5pPr marL="2176156" algn="l" defTabSz="1088078" rtl="0" eaLnBrk="1" latinLnBrk="0" hangingPunct="1">
        <a:defRPr sz="2200" kern="1200">
          <a:solidFill>
            <a:schemeClr val="tx1"/>
          </a:solidFill>
          <a:latin typeface="+mn-lt"/>
          <a:ea typeface="+mn-ea"/>
          <a:cs typeface="+mn-cs"/>
        </a:defRPr>
      </a:lvl5pPr>
      <a:lvl6pPr marL="2720196" algn="l" defTabSz="1088078" rtl="0" eaLnBrk="1" latinLnBrk="0" hangingPunct="1">
        <a:defRPr sz="2200" kern="1200">
          <a:solidFill>
            <a:schemeClr val="tx1"/>
          </a:solidFill>
          <a:latin typeface="+mn-lt"/>
          <a:ea typeface="+mn-ea"/>
          <a:cs typeface="+mn-cs"/>
        </a:defRPr>
      </a:lvl6pPr>
      <a:lvl7pPr marL="3264234" algn="l" defTabSz="1088078" rtl="0" eaLnBrk="1" latinLnBrk="0" hangingPunct="1">
        <a:defRPr sz="2200" kern="1200">
          <a:solidFill>
            <a:schemeClr val="tx1"/>
          </a:solidFill>
          <a:latin typeface="+mn-lt"/>
          <a:ea typeface="+mn-ea"/>
          <a:cs typeface="+mn-cs"/>
        </a:defRPr>
      </a:lvl7pPr>
      <a:lvl8pPr marL="3808274" algn="l" defTabSz="1088078" rtl="0" eaLnBrk="1" latinLnBrk="0" hangingPunct="1">
        <a:defRPr sz="2200" kern="1200">
          <a:solidFill>
            <a:schemeClr val="tx1"/>
          </a:solidFill>
          <a:latin typeface="+mn-lt"/>
          <a:ea typeface="+mn-ea"/>
          <a:cs typeface="+mn-cs"/>
        </a:defRPr>
      </a:lvl8pPr>
      <a:lvl9pPr marL="4352314" algn="l" defTabSz="1088078"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6">
          <p15:clr>
            <a:srgbClr val="5ACBF0"/>
          </p15:clr>
        </p15:guide>
        <p15:guide id="3" pos="2424">
          <p15:clr>
            <a:srgbClr val="5ACBF0"/>
          </p15:clr>
        </p15:guide>
        <p15:guide id="4" pos="1848">
          <p15:clr>
            <a:srgbClr val="5ACBF0"/>
          </p15:clr>
        </p15:guide>
        <p15:guide id="5" pos="1296">
          <p15:clr>
            <a:srgbClr val="5ACBF0"/>
          </p15:clr>
        </p15:guide>
        <p15:guide id="6" pos="720">
          <p15:clr>
            <a:srgbClr val="5ACBF0"/>
          </p15:clr>
        </p15:guide>
        <p15:guide id="7" pos="144">
          <p15:clr>
            <a:srgbClr val="5ACBF0"/>
          </p15:clr>
        </p15:guide>
        <p15:guide id="8" pos="4127">
          <p15:clr>
            <a:srgbClr val="5ACBF0"/>
          </p15:clr>
        </p15:guide>
        <p15:guide id="9" pos="4680">
          <p15:clr>
            <a:srgbClr val="5ACBF0"/>
          </p15:clr>
        </p15:guide>
        <p15:guide id="10" pos="5256">
          <p15:clr>
            <a:srgbClr val="5ACBF0"/>
          </p15:clr>
        </p15:guide>
        <p15:guide id="11" pos="5808">
          <p15:clr>
            <a:srgbClr val="5ACBF0"/>
          </p15:clr>
        </p15:guide>
        <p15:guide id="12" pos="6384">
          <p15:clr>
            <a:srgbClr val="5ACBF0"/>
          </p15:clr>
        </p15:guide>
        <p15:guide id="13" pos="6936">
          <p15:clr>
            <a:srgbClr val="5ACBF0"/>
          </p15:clr>
        </p15:guide>
        <p15:guide id="14" pos="7512">
          <p15:clr>
            <a:srgbClr val="5ACBF0"/>
          </p15:clr>
        </p15:guide>
        <p15:guide id="15" orient="horz" pos="168">
          <p15:clr>
            <a:srgbClr val="5ACBF0"/>
          </p15:clr>
        </p15:guide>
        <p15:guide id="16" orient="horz" pos="744">
          <p15:clr>
            <a:srgbClr val="5ACBF0"/>
          </p15:clr>
        </p15:guide>
        <p15:guide id="17" orient="horz" pos="1320">
          <p15:clr>
            <a:srgbClr val="5ACBF0"/>
          </p15:clr>
        </p15:guide>
        <p15:guide id="18" orient="horz" pos="1872">
          <p15:clr>
            <a:srgbClr val="5ACBF0"/>
          </p15:clr>
        </p15:guide>
        <p15:guide id="19" orient="horz" pos="2448">
          <p15:clr>
            <a:srgbClr val="5ACBF0"/>
          </p15:clr>
        </p15:guide>
        <p15:guide id="20" orient="horz" pos="3000">
          <p15:clr>
            <a:srgbClr val="5ACBF0"/>
          </p15:clr>
        </p15:guide>
        <p15:guide id="21" orient="horz" pos="3576">
          <p15:clr>
            <a:srgbClr val="5ACBF0"/>
          </p15:clr>
        </p15:guide>
        <p15:guide id="22" orient="horz" pos="4128">
          <p15:clr>
            <a:srgbClr val="5ACBF0"/>
          </p15:clr>
        </p15:guide>
        <p15:guide id="23" pos="240">
          <p15:clr>
            <a:srgbClr val="F26B43"/>
          </p15:clr>
        </p15:guide>
        <p15:guide id="24" pos="7440">
          <p15:clr>
            <a:srgbClr val="F26B43"/>
          </p15:clr>
        </p15:guide>
        <p15:guide id="25" orient="horz" pos="264">
          <p15:clr>
            <a:srgbClr val="F26B43"/>
          </p15:clr>
        </p15:guide>
        <p15:guide id="26" orient="horz" pos="4032">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278622590"/>
      </p:ext>
    </p:extLst>
  </p:cSld>
  <p:clrMap bg1="lt1" tx1="dk1" bg2="lt2" tx2="dk2" accent1="accent1" accent2="accent2" accent3="accent3" accent4="accent4" accent5="accent5" accent6="accent6" hlink="hlink" folHlink="folHlink"/>
  <p:sldLayoutIdLst>
    <p:sldLayoutId id="2147483978" r:id="rId1"/>
    <p:sldLayoutId id="2147483981" r:id="rId2"/>
    <p:sldLayoutId id="2147483982" r:id="rId3"/>
    <p:sldLayoutId id="2147483983" r:id="rId4"/>
    <p:sldLayoutId id="2147483984" r:id="rId5"/>
    <p:sldLayoutId id="2147483985" r:id="rId6"/>
    <p:sldLayoutId id="2147483986" r:id="rId7"/>
    <p:sldLayoutId id="2147483987" r:id="rId8"/>
    <p:sldLayoutId id="2147483988" r:id="rId9"/>
    <p:sldLayoutId id="2147483992" r:id="rId10"/>
    <p:sldLayoutId id="2147483993" r:id="rId11"/>
    <p:sldLayoutId id="2147483994" r:id="rId12"/>
    <p:sldLayoutId id="2147483995" r:id="rId13"/>
    <p:sldLayoutId id="2147483996" r:id="rId14"/>
    <p:sldLayoutId id="2147483997" r:id="rId15"/>
    <p:sldLayoutId id="2147484003" r:id="rId16"/>
    <p:sldLayoutId id="2147484004" r:id="rId17"/>
    <p:sldLayoutId id="2147484007" r:id="rId18"/>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2220989214"/>
      </p:ext>
    </p:extLst>
  </p:cSld>
  <p:clrMap bg1="lt1" tx1="dk1" bg2="lt2" tx2="dk2" accent1="accent1" accent2="accent2" accent3="accent3" accent4="accent4" accent5="accent5" accent6="accent6" hlink="hlink" folHlink="folHlink"/>
  <p:sldLayoutIdLst>
    <p:sldLayoutId id="2147484010" r:id="rId1"/>
    <p:sldLayoutId id="2147484054" r:id="rId2"/>
    <p:sldLayoutId id="2147484055" r:id="rId3"/>
    <p:sldLayoutId id="2147484056" r:id="rId4"/>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8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23358" y="211754"/>
            <a:ext cx="832104" cy="179673"/>
          </a:xfrm>
          <a:prstGeom prst="rect">
            <a:avLst/>
          </a:prstGeom>
        </p:spPr>
      </p:pic>
    </p:spTree>
    <p:extLst>
      <p:ext uri="{BB962C8B-B14F-4D97-AF65-F5344CB8AC3E}">
        <p14:creationId xmlns:p14="http://schemas.microsoft.com/office/powerpoint/2010/main" val="780951677"/>
      </p:ext>
    </p:extLst>
  </p:cSld>
  <p:clrMap bg1="lt1" tx1="dk1" bg2="lt2" tx2="dk2" accent1="accent1" accent2="accent2" accent3="accent3" accent4="accent4" accent5="accent5" accent6="accent6" hlink="hlink" folHlink="folHlink"/>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430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7" name="Rectangle 6"/>
          <p:cNvSpPr/>
          <p:nvPr userDrawn="1"/>
        </p:nvSpPr>
        <p:spPr>
          <a:xfrm>
            <a:off x="1589" y="5181601"/>
            <a:ext cx="12188825" cy="1676400"/>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defTabSz="1088105"/>
            <a:endParaRPr lang="en-US" sz="1200" dirty="0" err="1">
              <a:solidFill>
                <a:prstClr val="white"/>
              </a:solidFill>
            </a:endParaRPr>
          </a:p>
        </p:txBody>
      </p:sp>
      <p:sp>
        <p:nvSpPr>
          <p:cNvPr id="16" name="Rectangle 15"/>
          <p:cNvSpPr/>
          <p:nvPr userDrawn="1"/>
        </p:nvSpPr>
        <p:spPr>
          <a:xfrm>
            <a:off x="6372225" y="5507921"/>
            <a:ext cx="5957529" cy="1350080"/>
          </a:xfrm>
          <a:prstGeom prst="rect">
            <a:avLst/>
          </a:prstGeom>
          <a:blipFill dpi="0" rotWithShape="1">
            <a:blip r:embed="rId6" cstate="print">
              <a:alphaModFix amt="8000"/>
              <a:extLst>
                <a:ext uri="{28A0092B-C50C-407E-A947-70E740481C1C}">
                  <a14:useLocalDpi xmlns:a14="http://schemas.microsoft.com/office/drawing/2010/main" val="0"/>
                </a:ext>
              </a:extLst>
            </a:blip>
            <a:srcRect/>
            <a:stretch>
              <a:fillRect t="21718"/>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solidFill>
                <a:srgbClr val="00BCF2"/>
              </a:solidFill>
            </a:endParaRP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238196" y="6348616"/>
            <a:ext cx="1084768" cy="399025"/>
          </a:xfrm>
          <a:prstGeom prst="rect">
            <a:avLst/>
          </a:prstGeom>
        </p:spPr>
      </p:pic>
      <p:sp>
        <p:nvSpPr>
          <p:cNvPr id="20" name="Pentagon 19"/>
          <p:cNvSpPr/>
          <p:nvPr userDrawn="1"/>
        </p:nvSpPr>
        <p:spPr>
          <a:xfrm>
            <a:off x="3903345" y="1981200"/>
            <a:ext cx="2435612" cy="2468880"/>
          </a:xfrm>
          <a:prstGeom prst="homePlate">
            <a:avLst>
              <a:gd name="adj" fmla="val 8333"/>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defTabSz="1088105" fontAlgn="base">
              <a:spcBef>
                <a:spcPct val="0"/>
              </a:spcBef>
              <a:spcAft>
                <a:spcPts val="300"/>
              </a:spcAft>
              <a:buClr>
                <a:prstClr val="white"/>
              </a:buClr>
              <a:buSzPct val="100000"/>
            </a:pPr>
            <a:endParaRPr lang="en-US" sz="1400" dirty="0">
              <a:solidFill>
                <a:prstClr val="white"/>
              </a:solidFill>
              <a:ea typeface="Segoe UI" pitchFamily="34" charset="0"/>
              <a:cs typeface="Segoe UI" pitchFamily="34" charset="0"/>
            </a:endParaRPr>
          </a:p>
        </p:txBody>
      </p:sp>
      <p:sp>
        <p:nvSpPr>
          <p:cNvPr id="21" name="Chevron 20"/>
          <p:cNvSpPr/>
          <p:nvPr userDrawn="1"/>
        </p:nvSpPr>
        <p:spPr>
          <a:xfrm>
            <a:off x="6207392" y="1981200"/>
            <a:ext cx="2761785" cy="2468880"/>
          </a:xfrm>
          <a:prstGeom prst="chevron">
            <a:avLst>
              <a:gd name="adj" fmla="val 8450"/>
            </a:avLst>
          </a:prstGeom>
          <a:solidFill>
            <a:schemeClr val="bg2">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t"/>
          <a:lstStyle/>
          <a:p>
            <a:pPr defTabSz="1088105" fontAlgn="base">
              <a:spcBef>
                <a:spcPct val="0"/>
              </a:spcBef>
              <a:spcAft>
                <a:spcPts val="300"/>
              </a:spcAft>
              <a:buClr>
                <a:prstClr val="white"/>
              </a:buClr>
              <a:buSzPct val="100000"/>
            </a:pPr>
            <a:endParaRPr lang="en-US" sz="1400" dirty="0">
              <a:solidFill>
                <a:prstClr val="white"/>
              </a:solidFill>
              <a:ea typeface="Segoe UI" pitchFamily="34" charset="0"/>
              <a:cs typeface="Segoe UI" pitchFamily="34" charset="0"/>
            </a:endParaRPr>
          </a:p>
        </p:txBody>
      </p:sp>
      <p:sp>
        <p:nvSpPr>
          <p:cNvPr id="23" name="Text Placeholder 16"/>
          <p:cNvSpPr txBox="1">
            <a:spLocks/>
          </p:cNvSpPr>
          <p:nvPr userDrawn="1"/>
        </p:nvSpPr>
        <p:spPr>
          <a:xfrm>
            <a:off x="4010024" y="1981200"/>
            <a:ext cx="2085974" cy="495300"/>
          </a:xfrm>
          <a:prstGeom prst="rect">
            <a:avLst/>
          </a:prstGeom>
        </p:spPr>
        <p:txBody>
          <a:bodyPr lIns="0"/>
          <a:lstStyle>
            <a:lvl1pPr marL="0" indent="0" algn="l" defTabSz="896214" rtl="0" eaLnBrk="1" latinLnBrk="0" hangingPunct="1">
              <a:spcBef>
                <a:spcPct val="20000"/>
              </a:spcBef>
              <a:buFontTx/>
              <a:buNone/>
              <a:defRPr sz="3000" kern="1200">
                <a:solidFill>
                  <a:schemeClr val="bg2"/>
                </a:solidFill>
                <a:latin typeface="Segoe UI Light" panose="020B0502040204020203"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solidFill>
                  <a:srgbClr val="FFFFFF"/>
                </a:solidFill>
              </a:rPr>
              <a:t>Objectives</a:t>
            </a:r>
          </a:p>
        </p:txBody>
      </p:sp>
      <p:sp>
        <p:nvSpPr>
          <p:cNvPr id="27" name="Text Placeholder 16"/>
          <p:cNvSpPr txBox="1">
            <a:spLocks/>
          </p:cNvSpPr>
          <p:nvPr userDrawn="1"/>
        </p:nvSpPr>
        <p:spPr>
          <a:xfrm>
            <a:off x="6480104" y="1981200"/>
            <a:ext cx="2128909" cy="495300"/>
          </a:xfrm>
          <a:prstGeom prst="rect">
            <a:avLst/>
          </a:prstGeom>
        </p:spPr>
        <p:txBody>
          <a:bodyPr lIns="0"/>
          <a:lstStyle>
            <a:lvl1pPr marL="0" indent="0" algn="l" defTabSz="896214" rtl="0" eaLnBrk="1" latinLnBrk="0" hangingPunct="1">
              <a:spcBef>
                <a:spcPct val="20000"/>
              </a:spcBef>
              <a:buFontTx/>
              <a:buNone/>
              <a:defRPr sz="3000" kern="1200">
                <a:solidFill>
                  <a:schemeClr val="bg2"/>
                </a:solidFill>
                <a:latin typeface="Segoe UI Light" panose="020B0502040204020203"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r>
              <a:rPr lang="en-US" dirty="0">
                <a:solidFill>
                  <a:srgbClr val="FFFFFF"/>
                </a:solidFill>
              </a:rPr>
              <a:t>Strategy</a:t>
            </a:r>
          </a:p>
        </p:txBody>
      </p:sp>
    </p:spTree>
    <p:extLst>
      <p:ext uri="{BB962C8B-B14F-4D97-AF65-F5344CB8AC3E}">
        <p14:creationId xmlns:p14="http://schemas.microsoft.com/office/powerpoint/2010/main" val="543562347"/>
      </p:ext>
    </p:extLst>
  </p:cSld>
  <p:clrMap bg1="lt1" tx1="dk1" bg2="lt2" tx2="dk2" accent1="accent1" accent2="accent2" accent3="accent3" accent4="accent4" accent5="accent5" accent6="accent6" hlink="hlink" folHlink="folHlink"/>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216">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3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bwMode="invGray">
          <a:xfrm>
            <a:off x="11120916" y="211754"/>
            <a:ext cx="834546" cy="178771"/>
          </a:xfrm>
          <a:prstGeom prst="rect">
            <a:avLst/>
          </a:prstGeom>
        </p:spPr>
      </p:pic>
    </p:spTree>
    <p:extLst>
      <p:ext uri="{BB962C8B-B14F-4D97-AF65-F5344CB8AC3E}">
        <p14:creationId xmlns:p14="http://schemas.microsoft.com/office/powerpoint/2010/main" val="1964158235"/>
      </p:ext>
    </p:extLst>
  </p:cSld>
  <p:clrMap bg1="lt1" tx1="dk1" bg2="lt2" tx2="dk2" accent1="accent1" accent2="accent2" accent3="accent3" accent4="accent4" accent5="accent5" accent6="accent6" hlink="hlink" folHlink="folHlink"/>
  <p:sldLayoutIdLst>
    <p:sldLayoutId id="2147484016" r:id="rId1"/>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27215896"/>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89291627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4"/>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32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pic>
        <p:nvPicPr>
          <p:cNvPr id="6" name="Picture 5"/>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1" y="470410"/>
            <a:ext cx="1278487" cy="280186"/>
          </a:xfrm>
          <a:prstGeom prst="rect">
            <a:avLst/>
          </a:prstGeom>
        </p:spPr>
      </p:pic>
    </p:spTree>
    <p:extLst>
      <p:ext uri="{BB962C8B-B14F-4D97-AF65-F5344CB8AC3E}">
        <p14:creationId xmlns:p14="http://schemas.microsoft.com/office/powerpoint/2010/main" val="3298429122"/>
      </p:ext>
    </p:extLst>
  </p:cSld>
  <p:clrMap bg1="lt1" tx1="dk1" bg2="lt2" tx2="dk2" accent1="accent1" accent2="accent2" accent3="accent3" accent4="accent4" accent5="accent5" accent6="accent6" hlink="hlink" folHlink="folHlink"/>
  <p:sldLayoutIdLst>
    <p:sldLayoutId id="2147484028" r:id="rId1"/>
  </p:sldLayoutIdLst>
  <p:transition spd="slow">
    <p:fade/>
  </p:transition>
  <p:hf hdr="0" ftr="0" dt="0"/>
  <p:txStyles>
    <p:titleStyle>
      <a:lvl1pPr algn="l" defTabSz="896214" rtl="0" eaLnBrk="1" latinLnBrk="0" hangingPunct="1">
        <a:spcBef>
          <a:spcPct val="0"/>
        </a:spcBef>
        <a:buNone/>
        <a:defRPr sz="5000" kern="1200">
          <a:solidFill>
            <a:schemeClr val="bg2"/>
          </a:solidFill>
          <a:latin typeface="Segoe UI Light" pitchFamily="34" charset="0"/>
          <a:ea typeface="+mj-ea"/>
          <a:cs typeface="+mj-cs"/>
        </a:defRPr>
      </a:lvl1pPr>
    </p:titleStyle>
    <p:body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896214" rtl="0" eaLnBrk="1" latinLnBrk="0" hangingPunct="1">
        <a:defRPr sz="1765" kern="1200">
          <a:solidFill>
            <a:schemeClr val="tx1"/>
          </a:solidFill>
          <a:latin typeface="+mn-lt"/>
          <a:ea typeface="+mn-ea"/>
          <a:cs typeface="+mn-cs"/>
        </a:defRPr>
      </a:lvl1pPr>
      <a:lvl2pPr marL="448107" algn="l" defTabSz="896214" rtl="0" eaLnBrk="1" latinLnBrk="0" hangingPunct="1">
        <a:defRPr sz="1765" kern="1200">
          <a:solidFill>
            <a:schemeClr val="tx1"/>
          </a:solidFill>
          <a:latin typeface="+mn-lt"/>
          <a:ea typeface="+mn-ea"/>
          <a:cs typeface="+mn-cs"/>
        </a:defRPr>
      </a:lvl2pPr>
      <a:lvl3pPr marL="896214" algn="l" defTabSz="896214" rtl="0" eaLnBrk="1" latinLnBrk="0" hangingPunct="1">
        <a:defRPr sz="1765" kern="1200">
          <a:solidFill>
            <a:schemeClr val="tx1"/>
          </a:solidFill>
          <a:latin typeface="+mn-lt"/>
          <a:ea typeface="+mn-ea"/>
          <a:cs typeface="+mn-cs"/>
        </a:defRPr>
      </a:lvl3pPr>
      <a:lvl4pPr marL="1344321" algn="l" defTabSz="896214" rtl="0" eaLnBrk="1" latinLnBrk="0" hangingPunct="1">
        <a:defRPr sz="1765" kern="1200">
          <a:solidFill>
            <a:schemeClr val="tx1"/>
          </a:solidFill>
          <a:latin typeface="+mn-lt"/>
          <a:ea typeface="+mn-ea"/>
          <a:cs typeface="+mn-cs"/>
        </a:defRPr>
      </a:lvl4pPr>
      <a:lvl5pPr marL="1792429" algn="l" defTabSz="896214" rtl="0" eaLnBrk="1" latinLnBrk="0" hangingPunct="1">
        <a:defRPr sz="1765" kern="1200">
          <a:solidFill>
            <a:schemeClr val="tx1"/>
          </a:solidFill>
          <a:latin typeface="+mn-lt"/>
          <a:ea typeface="+mn-ea"/>
          <a:cs typeface="+mn-cs"/>
        </a:defRPr>
      </a:lvl5pPr>
      <a:lvl6pPr marL="2240535" algn="l" defTabSz="896214" rtl="0" eaLnBrk="1" latinLnBrk="0" hangingPunct="1">
        <a:defRPr sz="1765" kern="1200">
          <a:solidFill>
            <a:schemeClr val="tx1"/>
          </a:solidFill>
          <a:latin typeface="+mn-lt"/>
          <a:ea typeface="+mn-ea"/>
          <a:cs typeface="+mn-cs"/>
        </a:defRPr>
      </a:lvl6pPr>
      <a:lvl7pPr marL="2688642" algn="l" defTabSz="896214" rtl="0" eaLnBrk="1" latinLnBrk="0" hangingPunct="1">
        <a:defRPr sz="1765" kern="1200">
          <a:solidFill>
            <a:schemeClr val="tx1"/>
          </a:solidFill>
          <a:latin typeface="+mn-lt"/>
          <a:ea typeface="+mn-ea"/>
          <a:cs typeface="+mn-cs"/>
        </a:defRPr>
      </a:lvl7pPr>
      <a:lvl8pPr marL="3136749" algn="l" defTabSz="896214" rtl="0" eaLnBrk="1" latinLnBrk="0" hangingPunct="1">
        <a:defRPr sz="1765" kern="1200">
          <a:solidFill>
            <a:schemeClr val="tx1"/>
          </a:solidFill>
          <a:latin typeface="+mn-lt"/>
          <a:ea typeface="+mn-ea"/>
          <a:cs typeface="+mn-cs"/>
        </a:defRPr>
      </a:lvl8pPr>
      <a:lvl9pPr marL="3584856" algn="l" defTabSz="896214" rtl="0" eaLnBrk="1" latinLnBrk="0" hangingPunct="1">
        <a:defRPr sz="1765"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rot="5400000">
            <a:off x="10325051" y="1906413"/>
            <a:ext cx="4214127" cy="401304"/>
          </a:xfrm>
          <a:prstGeom prst="rect">
            <a:avLst/>
          </a:prstGeom>
        </p:spPr>
      </p:pic>
    </p:spTree>
    <p:extLst>
      <p:ext uri="{BB962C8B-B14F-4D97-AF65-F5344CB8AC3E}">
        <p14:creationId xmlns:p14="http://schemas.microsoft.com/office/powerpoint/2010/main" val="4181612001"/>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376739388"/>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 y="323023"/>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150853" y="1600201"/>
            <a:ext cx="11890296" cy="4559531"/>
          </a:xfrm>
          <a:prstGeom prst="rect">
            <a:avLst/>
          </a:prstGeom>
        </p:spPr>
        <p:txBody>
          <a:bodyPr vert="horz" lIns="182880" tIns="91440" rIns="18288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40563898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13" r:id="rId12"/>
    <p:sldLayoutId id="2147483714" r:id="rId13"/>
    <p:sldLayoutId id="2147483715" r:id="rId14"/>
    <p:sldLayoutId id="2147483716" r:id="rId15"/>
    <p:sldLayoutId id="2147483717" r:id="rId16"/>
    <p:sldLayoutId id="2147483718" r:id="rId17"/>
    <p:sldLayoutId id="2147483719" r:id="rId18"/>
    <p:sldLayoutId id="2147483720" r:id="rId19"/>
    <p:sldLayoutId id="2147483721" r:id="rId20"/>
    <p:sldLayoutId id="2147483722" r:id="rId21"/>
    <p:sldLayoutId id="2147483723" r:id="rId22"/>
    <p:sldLayoutId id="2147483725" r:id="rId23"/>
    <p:sldLayoutId id="2147483726" r:id="rId24"/>
    <p:sldLayoutId id="2147483727" r:id="rId25"/>
    <p:sldLayoutId id="2147483729" r:id="rId26"/>
    <p:sldLayoutId id="2147483730" r:id="rId27"/>
    <p:sldLayoutId id="2147483732" r:id="rId28"/>
    <p:sldLayoutId id="2147483733" r:id="rId29"/>
    <p:sldLayoutId id="2147483735" r:id="rId30"/>
    <p:sldLayoutId id="2147483739" r:id="rId31"/>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bg2"/>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rgbClr val="0072C6"/>
        </a:buClr>
        <a:buSzPct val="100000"/>
        <a:buFont typeface="Wingdings" pitchFamily="2" charset="2"/>
        <a:buNone/>
        <a:defRPr sz="2400" kern="1200">
          <a:solidFill>
            <a:schemeClr val="tx2"/>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3551">
          <p15:clr>
            <a:srgbClr val="5ACBF0"/>
          </p15:clr>
        </p15:guide>
        <p15:guide id="2" pos="2975">
          <p15:clr>
            <a:srgbClr val="5ACBF0"/>
          </p15:clr>
        </p15:guide>
        <p15:guide id="3" pos="2399">
          <p15:clr>
            <a:srgbClr val="5ACBF0"/>
          </p15:clr>
        </p15:guide>
        <p15:guide id="4" pos="1823">
          <p15:clr>
            <a:srgbClr val="5ACBF0"/>
          </p15:clr>
        </p15:guide>
        <p15:guide id="5" pos="1247">
          <p15:clr>
            <a:srgbClr val="5ACBF0"/>
          </p15:clr>
        </p15:guide>
        <p15:guide id="6" pos="671">
          <p15:clr>
            <a:srgbClr val="5ACBF0"/>
          </p15:clr>
        </p15:guide>
        <p15:guide id="7" pos="95">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44">
          <p15:clr>
            <a:srgbClr val="5ACBF0"/>
          </p15:clr>
        </p15:guide>
        <p15:guide id="16" orient="horz" pos="720">
          <p15:clr>
            <a:srgbClr val="5ACBF0"/>
          </p15:clr>
        </p15:guide>
        <p15:guide id="17" orient="horz" pos="1296">
          <p15:clr>
            <a:srgbClr val="5ACBF0"/>
          </p15:clr>
        </p15:guide>
        <p15:guide id="18" orient="horz" pos="1872">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pos="191">
          <p15:clr>
            <a:srgbClr val="F26B43"/>
          </p15:clr>
        </p15:guide>
        <p15:guide id="24" pos="7487">
          <p15:clr>
            <a:srgbClr val="F26B43"/>
          </p15:clr>
        </p15:guide>
        <p15:guide id="25" orient="horz" pos="240">
          <p15:clr>
            <a:srgbClr val="F26B43"/>
          </p15:clr>
        </p15:guide>
        <p15:guide id="26" orient="horz" pos="4080">
          <p15:clr>
            <a:srgbClr val="F26B43"/>
          </p15:clr>
        </p15:guide>
        <p15:guide id="27" pos="3839">
          <p15:clr>
            <a:srgbClr val="F26B43"/>
          </p15:clr>
        </p15:guide>
        <p15:guide id="28" orient="horz" pos="2160">
          <p15:clr>
            <a:srgbClr val="F26B43"/>
          </p15:clr>
        </p15:guide>
        <p15:guide id="29" orient="horz" pos="816">
          <p15:clr>
            <a:srgbClr val="F26B43"/>
          </p15:clr>
        </p15:guide>
        <p15:guide id="30" orient="horz" pos="1008">
          <p15:clr>
            <a:srgbClr val="F26B43"/>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34158604"/>
      </p:ext>
    </p:extLst>
  </p:cSld>
  <p:clrMap bg1="lt1" tx1="dk1" bg2="lt2" tx2="dk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6"/>
            <a:ext cx="11655840" cy="899665"/>
          </a:xfrm>
          <a:prstGeom prst="rect">
            <a:avLst/>
          </a:prstGeom>
        </p:spPr>
        <p:txBody>
          <a:bodyPr vert="horz" wrap="square" lIns="143407" tIns="89629" rIns="143407" bIns="89629" rtlCol="0" anchor="t">
            <a:noAutofit/>
          </a:bodyPr>
          <a:lstStyle/>
          <a:p>
            <a:r>
              <a:rPr lang="en-US" dirty="0"/>
              <a:t>Click to edit Master title style</a:t>
            </a:r>
          </a:p>
        </p:txBody>
      </p:sp>
      <p:sp>
        <p:nvSpPr>
          <p:cNvPr id="4" name="Text Placeholder 3"/>
          <p:cNvSpPr>
            <a:spLocks noGrp="1"/>
          </p:cNvSpPr>
          <p:nvPr>
            <p:ph type="body" idx="1"/>
          </p:nvPr>
        </p:nvSpPr>
        <p:spPr>
          <a:xfrm>
            <a:off x="269244" y="1189183"/>
            <a:ext cx="11653521" cy="2075373"/>
          </a:xfrm>
          <a:prstGeom prst="rect">
            <a:avLst/>
          </a:prstGeom>
        </p:spPr>
        <p:txBody>
          <a:bodyPr vert="horz" wrap="square" lIns="143407" tIns="89629" rIns="143407" bIns="89629"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2806205"/>
      </p:ext>
    </p:extLst>
  </p:cSld>
  <p:clrMap bg1="lt1" tx1="dk1" bg2="lt2" tx2="dk2" accent1="accent1" accent2="accent2" accent3="accent3" accent4="accent4" accent5="accent5" accent6="accent6" hlink="hlink" folHlink="folHlink"/>
  <p:transition>
    <p:fade/>
  </p:transition>
  <p:txStyles>
    <p:titleStyle>
      <a:lvl1pPr algn="l" defTabSz="914274" rtl="0" eaLnBrk="1" latinLnBrk="0" hangingPunct="1">
        <a:lnSpc>
          <a:spcPct val="90000"/>
        </a:lnSpc>
        <a:spcBef>
          <a:spcPct val="0"/>
        </a:spcBef>
        <a:buNone/>
        <a:defRPr lang="en-US" sz="5300"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1"/>
              </a:gs>
              <a:gs pos="100000">
                <a:schemeClr val="tx1"/>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74" rtl="0" eaLnBrk="1" latinLnBrk="0" hangingPunct="1">
        <a:defRPr sz="1800" kern="1200">
          <a:solidFill>
            <a:schemeClr val="tx1"/>
          </a:solidFill>
          <a:latin typeface="+mn-lt"/>
          <a:ea typeface="+mn-ea"/>
          <a:cs typeface="+mn-cs"/>
        </a:defRPr>
      </a:lvl1pPr>
      <a:lvl2pPr marL="457137" algn="l" defTabSz="914274" rtl="0" eaLnBrk="1" latinLnBrk="0" hangingPunct="1">
        <a:defRPr sz="1800" kern="1200">
          <a:solidFill>
            <a:schemeClr val="tx1"/>
          </a:solidFill>
          <a:latin typeface="+mn-lt"/>
          <a:ea typeface="+mn-ea"/>
          <a:cs typeface="+mn-cs"/>
        </a:defRPr>
      </a:lvl2pPr>
      <a:lvl3pPr marL="914274" algn="l" defTabSz="914274" rtl="0" eaLnBrk="1" latinLnBrk="0" hangingPunct="1">
        <a:defRPr sz="1800" kern="1200">
          <a:solidFill>
            <a:schemeClr val="tx1"/>
          </a:solidFill>
          <a:latin typeface="+mn-lt"/>
          <a:ea typeface="+mn-ea"/>
          <a:cs typeface="+mn-cs"/>
        </a:defRPr>
      </a:lvl3pPr>
      <a:lvl4pPr marL="1371411" algn="l" defTabSz="914274" rtl="0" eaLnBrk="1" latinLnBrk="0" hangingPunct="1">
        <a:defRPr sz="1800" kern="1200">
          <a:solidFill>
            <a:schemeClr val="tx1"/>
          </a:solidFill>
          <a:latin typeface="+mn-lt"/>
          <a:ea typeface="+mn-ea"/>
          <a:cs typeface="+mn-cs"/>
        </a:defRPr>
      </a:lvl4pPr>
      <a:lvl5pPr marL="1828547" algn="l" defTabSz="914274" rtl="0" eaLnBrk="1" latinLnBrk="0" hangingPunct="1">
        <a:defRPr sz="1800" kern="1200">
          <a:solidFill>
            <a:schemeClr val="tx1"/>
          </a:solidFill>
          <a:latin typeface="+mn-lt"/>
          <a:ea typeface="+mn-ea"/>
          <a:cs typeface="+mn-cs"/>
        </a:defRPr>
      </a:lvl5pPr>
      <a:lvl6pPr marL="2285685" algn="l" defTabSz="914274" rtl="0" eaLnBrk="1" latinLnBrk="0" hangingPunct="1">
        <a:defRPr sz="1800" kern="1200">
          <a:solidFill>
            <a:schemeClr val="tx1"/>
          </a:solidFill>
          <a:latin typeface="+mn-lt"/>
          <a:ea typeface="+mn-ea"/>
          <a:cs typeface="+mn-cs"/>
        </a:defRPr>
      </a:lvl6pPr>
      <a:lvl7pPr marL="2742821" algn="l" defTabSz="914274" rtl="0" eaLnBrk="1" latinLnBrk="0" hangingPunct="1">
        <a:defRPr sz="1800" kern="1200">
          <a:solidFill>
            <a:schemeClr val="tx1"/>
          </a:solidFill>
          <a:latin typeface="+mn-lt"/>
          <a:ea typeface="+mn-ea"/>
          <a:cs typeface="+mn-cs"/>
        </a:defRPr>
      </a:lvl7pPr>
      <a:lvl8pPr marL="3199958" algn="l" defTabSz="914274" rtl="0" eaLnBrk="1" latinLnBrk="0" hangingPunct="1">
        <a:defRPr sz="1800" kern="1200">
          <a:solidFill>
            <a:schemeClr val="tx1"/>
          </a:solidFill>
          <a:latin typeface="+mn-lt"/>
          <a:ea typeface="+mn-ea"/>
          <a:cs typeface="+mn-cs"/>
        </a:defRPr>
      </a:lvl8pPr>
      <a:lvl9pPr marL="3657096" algn="l" defTabSz="914274"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3"/>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7214"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0" y="303521"/>
            <a:ext cx="11704320" cy="1097801"/>
          </a:xfrm>
          <a:prstGeom prst="rect">
            <a:avLst/>
          </a:prstGeom>
        </p:spPr>
        <p:txBody>
          <a:bodyPr vert="horz" lIns="91440" tIns="45720" rIns="91440" bIns="45720" rtlCol="0" anchor="t" anchorCtr="0">
            <a:noAutofit/>
          </a:bodyPr>
          <a:lstStyle/>
          <a:p>
            <a:endParaRPr lang="en-US" dirty="0"/>
          </a:p>
        </p:txBody>
      </p:sp>
      <p:sp>
        <p:nvSpPr>
          <p:cNvPr id="3" name="Text Placeholder 2"/>
          <p:cNvSpPr>
            <a:spLocks noGrp="1"/>
          </p:cNvSpPr>
          <p:nvPr>
            <p:ph type="body" idx="1"/>
          </p:nvPr>
        </p:nvSpPr>
        <p:spPr>
          <a:xfrm>
            <a:off x="274320" y="1600096"/>
            <a:ext cx="11704320" cy="4526342"/>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56182781"/>
      </p:ext>
    </p:extLst>
  </p:cSld>
  <p:clrMap bg1="lt1" tx1="dk1" bg2="lt2" tx2="dk2" accent1="accent1" accent2="accent2" accent3="accent3" accent4="accent4" accent5="accent5" accent6="accent6" hlink="hlink" folHlink="folHlink"/>
  <p:hf sldNum="0" hdr="0" ftr="0" dt="0"/>
  <p:txStyles>
    <p:titleStyle>
      <a:lvl1pPr algn="l" defTabSz="448107" rtl="0" eaLnBrk="1" latinLnBrk="0" hangingPunct="1">
        <a:lnSpc>
          <a:spcPct val="90000"/>
        </a:lnSpc>
        <a:spcBef>
          <a:spcPct val="0"/>
        </a:spcBef>
        <a:buNone/>
        <a:defRPr lang="en-US" sz="4312" kern="1200" spc="0" smtClean="0">
          <a:solidFill>
            <a:schemeClr val="tx1"/>
          </a:solidFill>
          <a:latin typeface="+mj-lt"/>
          <a:ea typeface="+mj-ea"/>
          <a:cs typeface="Segoe UI Light" pitchFamily="34" charset="0"/>
        </a:defRPr>
      </a:lvl1pPr>
    </p:titleStyle>
    <p:bodyStyle>
      <a:lvl1pPr marL="336080" indent="-336080" algn="l" defTabSz="448107" rtl="0" eaLnBrk="1" latinLnBrk="0" hangingPunct="1">
        <a:spcBef>
          <a:spcPct val="20000"/>
        </a:spcBef>
        <a:buFont typeface="Arial"/>
        <a:buChar char="•"/>
        <a:defRPr sz="3136" b="0" i="0" kern="1200">
          <a:solidFill>
            <a:schemeClr val="tx1"/>
          </a:solidFill>
          <a:latin typeface="Segoe UI" pitchFamily="34" charset="0"/>
          <a:ea typeface="Segoe UI" pitchFamily="34" charset="0"/>
          <a:cs typeface="Segoe UI" pitchFamily="34" charset="0"/>
        </a:defRPr>
      </a:lvl1pPr>
      <a:lvl2pPr marL="728174" indent="-280067" algn="l" defTabSz="448107" rtl="0" eaLnBrk="1" latinLnBrk="0" hangingPunct="1">
        <a:spcBef>
          <a:spcPct val="20000"/>
        </a:spcBef>
        <a:buFont typeface="Arial"/>
        <a:buChar char="–"/>
        <a:defRPr sz="2745" b="0" i="0" kern="1200">
          <a:solidFill>
            <a:schemeClr val="tx1"/>
          </a:solidFill>
          <a:latin typeface="Segoe UI" pitchFamily="34" charset="0"/>
          <a:ea typeface="Segoe UI" pitchFamily="34" charset="0"/>
          <a:cs typeface="Segoe UI" pitchFamily="34" charset="0"/>
        </a:defRPr>
      </a:lvl2pPr>
      <a:lvl3pPr marL="1120268" indent="-224054" algn="l" defTabSz="448107" rtl="0" eaLnBrk="1" latinLnBrk="0" hangingPunct="1">
        <a:spcBef>
          <a:spcPct val="20000"/>
        </a:spcBef>
        <a:buFont typeface="Arial"/>
        <a:buChar char="•"/>
        <a:defRPr sz="2353" b="0" i="0" kern="1200">
          <a:solidFill>
            <a:schemeClr val="tx1"/>
          </a:solidFill>
          <a:latin typeface="Segoe UI" pitchFamily="34" charset="0"/>
          <a:ea typeface="Segoe UI" pitchFamily="34" charset="0"/>
          <a:cs typeface="Segoe UI" pitchFamily="34" charset="0"/>
        </a:defRPr>
      </a:lvl3pPr>
      <a:lvl4pPr marL="1568375" indent="-224054" algn="l" defTabSz="448107" rtl="0" eaLnBrk="1" latinLnBrk="0" hangingPunct="1">
        <a:spcBef>
          <a:spcPct val="20000"/>
        </a:spcBef>
        <a:buFont typeface="Arial"/>
        <a:buChar char="–"/>
        <a:defRPr sz="1961" b="0" i="0" kern="1200">
          <a:solidFill>
            <a:schemeClr val="tx1"/>
          </a:solidFill>
          <a:latin typeface="Segoe UI" pitchFamily="34" charset="0"/>
          <a:ea typeface="Segoe UI" pitchFamily="34" charset="0"/>
          <a:cs typeface="Segoe UI" pitchFamily="34" charset="0"/>
        </a:defRPr>
      </a:lvl4pPr>
      <a:lvl5pPr marL="2016482" indent="-224054" algn="l" defTabSz="448107" rtl="0" eaLnBrk="1" latinLnBrk="0" hangingPunct="1">
        <a:spcBef>
          <a:spcPct val="20000"/>
        </a:spcBef>
        <a:buFont typeface="Arial"/>
        <a:buChar char="»"/>
        <a:defRPr sz="1961" b="0" i="0" kern="1200">
          <a:solidFill>
            <a:schemeClr val="tx1"/>
          </a:solidFill>
          <a:latin typeface="Segoe UI" pitchFamily="34" charset="0"/>
          <a:ea typeface="Segoe UI" pitchFamily="34" charset="0"/>
          <a:cs typeface="Segoe UI" pitchFamily="34" charset="0"/>
        </a:defRPr>
      </a:lvl5pPr>
      <a:lvl6pPr marL="2464589" indent="-224054" algn="l" defTabSz="448107" rtl="0" eaLnBrk="1" latinLnBrk="0" hangingPunct="1">
        <a:spcBef>
          <a:spcPct val="20000"/>
        </a:spcBef>
        <a:buFont typeface="Arial"/>
        <a:buChar char="•"/>
        <a:defRPr sz="1961" kern="1200">
          <a:solidFill>
            <a:schemeClr val="tx1"/>
          </a:solidFill>
          <a:latin typeface="+mn-lt"/>
          <a:ea typeface="+mn-ea"/>
          <a:cs typeface="+mn-cs"/>
        </a:defRPr>
      </a:lvl6pPr>
      <a:lvl7pPr marL="2912697" indent="-224054" algn="l" defTabSz="448107" rtl="0" eaLnBrk="1" latinLnBrk="0" hangingPunct="1">
        <a:spcBef>
          <a:spcPct val="20000"/>
        </a:spcBef>
        <a:buFont typeface="Arial"/>
        <a:buChar char="•"/>
        <a:defRPr sz="1961" kern="1200">
          <a:solidFill>
            <a:schemeClr val="tx1"/>
          </a:solidFill>
          <a:latin typeface="+mn-lt"/>
          <a:ea typeface="+mn-ea"/>
          <a:cs typeface="+mn-cs"/>
        </a:defRPr>
      </a:lvl7pPr>
      <a:lvl8pPr marL="3360804" indent="-224054" algn="l" defTabSz="448107" rtl="0" eaLnBrk="1" latinLnBrk="0" hangingPunct="1">
        <a:spcBef>
          <a:spcPct val="20000"/>
        </a:spcBef>
        <a:buFont typeface="Arial"/>
        <a:buChar char="•"/>
        <a:defRPr sz="1961" kern="1200">
          <a:solidFill>
            <a:schemeClr val="tx1"/>
          </a:solidFill>
          <a:latin typeface="+mn-lt"/>
          <a:ea typeface="+mn-ea"/>
          <a:cs typeface="+mn-cs"/>
        </a:defRPr>
      </a:lvl8pPr>
      <a:lvl9pPr marL="3808911" indent="-224054" algn="l" defTabSz="448107" rtl="0" eaLnBrk="1" latinLnBrk="0" hangingPunct="1">
        <a:spcBef>
          <a:spcPct val="20000"/>
        </a:spcBef>
        <a:buFont typeface="Arial"/>
        <a:buChar char="•"/>
        <a:defRPr sz="1961" kern="1200">
          <a:solidFill>
            <a:schemeClr val="tx1"/>
          </a:solidFill>
          <a:latin typeface="+mn-lt"/>
          <a:ea typeface="+mn-ea"/>
          <a:cs typeface="+mn-cs"/>
        </a:defRPr>
      </a:lvl9pPr>
    </p:bodyStyle>
    <p:otherStyle>
      <a:defPPr>
        <a:defRPr lang="en-US"/>
      </a:defPPr>
      <a:lvl1pPr marL="0" algn="l" defTabSz="448107" rtl="0" eaLnBrk="1" latinLnBrk="0" hangingPunct="1">
        <a:defRPr sz="1765" kern="1200">
          <a:solidFill>
            <a:schemeClr val="tx1"/>
          </a:solidFill>
          <a:latin typeface="+mn-lt"/>
          <a:ea typeface="+mn-ea"/>
          <a:cs typeface="+mn-cs"/>
        </a:defRPr>
      </a:lvl1pPr>
      <a:lvl2pPr marL="448107" algn="l" defTabSz="448107" rtl="0" eaLnBrk="1" latinLnBrk="0" hangingPunct="1">
        <a:defRPr sz="1765" kern="1200">
          <a:solidFill>
            <a:schemeClr val="tx1"/>
          </a:solidFill>
          <a:latin typeface="+mn-lt"/>
          <a:ea typeface="+mn-ea"/>
          <a:cs typeface="+mn-cs"/>
        </a:defRPr>
      </a:lvl2pPr>
      <a:lvl3pPr marL="896214" algn="l" defTabSz="448107" rtl="0" eaLnBrk="1" latinLnBrk="0" hangingPunct="1">
        <a:defRPr sz="1765" kern="1200">
          <a:solidFill>
            <a:schemeClr val="tx1"/>
          </a:solidFill>
          <a:latin typeface="+mn-lt"/>
          <a:ea typeface="+mn-ea"/>
          <a:cs typeface="+mn-cs"/>
        </a:defRPr>
      </a:lvl3pPr>
      <a:lvl4pPr marL="1344321" algn="l" defTabSz="448107" rtl="0" eaLnBrk="1" latinLnBrk="0" hangingPunct="1">
        <a:defRPr sz="1765" kern="1200">
          <a:solidFill>
            <a:schemeClr val="tx1"/>
          </a:solidFill>
          <a:latin typeface="+mn-lt"/>
          <a:ea typeface="+mn-ea"/>
          <a:cs typeface="+mn-cs"/>
        </a:defRPr>
      </a:lvl4pPr>
      <a:lvl5pPr marL="1792429" algn="l" defTabSz="448107" rtl="0" eaLnBrk="1" latinLnBrk="0" hangingPunct="1">
        <a:defRPr sz="1765" kern="1200">
          <a:solidFill>
            <a:schemeClr val="tx1"/>
          </a:solidFill>
          <a:latin typeface="+mn-lt"/>
          <a:ea typeface="+mn-ea"/>
          <a:cs typeface="+mn-cs"/>
        </a:defRPr>
      </a:lvl5pPr>
      <a:lvl6pPr marL="2240535" algn="l" defTabSz="448107" rtl="0" eaLnBrk="1" latinLnBrk="0" hangingPunct="1">
        <a:defRPr sz="1765" kern="1200">
          <a:solidFill>
            <a:schemeClr val="tx1"/>
          </a:solidFill>
          <a:latin typeface="+mn-lt"/>
          <a:ea typeface="+mn-ea"/>
          <a:cs typeface="+mn-cs"/>
        </a:defRPr>
      </a:lvl6pPr>
      <a:lvl7pPr marL="2688642" algn="l" defTabSz="448107" rtl="0" eaLnBrk="1" latinLnBrk="0" hangingPunct="1">
        <a:defRPr sz="1765" kern="1200">
          <a:solidFill>
            <a:schemeClr val="tx1"/>
          </a:solidFill>
          <a:latin typeface="+mn-lt"/>
          <a:ea typeface="+mn-ea"/>
          <a:cs typeface="+mn-cs"/>
        </a:defRPr>
      </a:lvl7pPr>
      <a:lvl8pPr marL="3136749" algn="l" defTabSz="448107" rtl="0" eaLnBrk="1" latinLnBrk="0" hangingPunct="1">
        <a:defRPr sz="1765" kern="1200">
          <a:solidFill>
            <a:schemeClr val="tx1"/>
          </a:solidFill>
          <a:latin typeface="+mn-lt"/>
          <a:ea typeface="+mn-ea"/>
          <a:cs typeface="+mn-cs"/>
        </a:defRPr>
      </a:lvl8pPr>
      <a:lvl9pPr marL="3584856" algn="l" defTabSz="44810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F26B43"/>
          </p15:clr>
        </p15:guide>
        <p15:guide id="2" pos="447">
          <p15:clr>
            <a:srgbClr val="F26B43"/>
          </p15:clr>
        </p15:guide>
        <p15:guide id="3" pos="7445">
          <p15:clr>
            <a:srgbClr val="F26B43"/>
          </p15:clr>
        </p15:guide>
        <p15:guide id="4" orient="horz" pos="907">
          <p15:clr>
            <a:srgbClr val="F26B43"/>
          </p15:clr>
        </p15:guide>
        <p15:guide id="5" orient="horz" pos="1051">
          <p15:clr>
            <a:srgbClr val="F26B43"/>
          </p15:clr>
        </p15:guide>
        <p15:guide id="6" orient="horz" pos="4219">
          <p15:clr>
            <a:srgbClr val="F26B43"/>
          </p15:clr>
        </p15:guide>
        <p15:guide id="7" pos="7382">
          <p15:clr>
            <a:srgbClr val="F26B43"/>
          </p15:clr>
        </p15:guide>
      </p15:sldGuideLst>
    </p:ext>
  </p:extLst>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150263859"/>
      </p:ext>
    </p:extLst>
  </p:cSld>
  <p:clrMap bg1="dk1" tx1="lt1" bg2="dk2" tx2="lt2" accent1="accent1" accent2="accent2" accent3="accent3" accent4="accent4" accent5="accent5" accent6="accent6" hlink="hlink" folHlink="folHlink"/>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9"/>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66003334"/>
      </p:ext>
    </p:extLst>
  </p:cSld>
  <p:clrMap bg1="dk1" tx1="lt1" bg2="dk2" tx2="lt2" accent1="accent1" accent2="accent2" accent3="accent3" accent4="accent4" accent5="accent5" accent6="accent6" hlink="hlink" folHlink="folHlink"/>
  <p:transition>
    <p:fade/>
  </p:transition>
  <p:txStyles>
    <p:titleStyle>
      <a:lvl1pPr algn="l" defTabSz="914293"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18" marR="0" indent="-33611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46" marR="0" indent="-236528"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275"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3pPr>
      <a:lvl4pPr marL="1008354"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4pPr>
      <a:lvl5pPr marL="1232432" marR="0" indent="-224079" algn="l" defTabSz="91429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765" kern="1200" spc="0" baseline="0">
          <a:gradFill>
            <a:gsLst>
              <a:gs pos="1250">
                <a:schemeClr val="tx1"/>
              </a:gs>
              <a:gs pos="100000">
                <a:schemeClr val="tx1"/>
              </a:gs>
            </a:gsLst>
            <a:lin ang="5400000" scaled="0"/>
          </a:gradFill>
          <a:latin typeface="+mn-lt"/>
          <a:ea typeface="+mn-ea"/>
          <a:cs typeface="+mn-cs"/>
        </a:defRPr>
      </a:lvl5pPr>
      <a:lvl6pPr marL="2514307"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456"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602"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750" indent="-228574" algn="l" defTabSz="914293"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293" rtl="0" eaLnBrk="1" latinLnBrk="0" hangingPunct="1">
        <a:defRPr sz="1765" kern="1200">
          <a:solidFill>
            <a:schemeClr val="tx1"/>
          </a:solidFill>
          <a:latin typeface="+mn-lt"/>
          <a:ea typeface="+mn-ea"/>
          <a:cs typeface="+mn-cs"/>
        </a:defRPr>
      </a:lvl1pPr>
      <a:lvl2pPr marL="457147" algn="l" defTabSz="914293" rtl="0" eaLnBrk="1" latinLnBrk="0" hangingPunct="1">
        <a:defRPr sz="1765" kern="1200">
          <a:solidFill>
            <a:schemeClr val="tx1"/>
          </a:solidFill>
          <a:latin typeface="+mn-lt"/>
          <a:ea typeface="+mn-ea"/>
          <a:cs typeface="+mn-cs"/>
        </a:defRPr>
      </a:lvl2pPr>
      <a:lvl3pPr marL="914293" algn="l" defTabSz="914293" rtl="0" eaLnBrk="1" latinLnBrk="0" hangingPunct="1">
        <a:defRPr sz="1765" kern="1200">
          <a:solidFill>
            <a:schemeClr val="tx1"/>
          </a:solidFill>
          <a:latin typeface="+mn-lt"/>
          <a:ea typeface="+mn-ea"/>
          <a:cs typeface="+mn-cs"/>
        </a:defRPr>
      </a:lvl3pPr>
      <a:lvl4pPr marL="1371441" algn="l" defTabSz="914293" rtl="0" eaLnBrk="1" latinLnBrk="0" hangingPunct="1">
        <a:defRPr sz="1765" kern="1200">
          <a:solidFill>
            <a:schemeClr val="tx1"/>
          </a:solidFill>
          <a:latin typeface="+mn-lt"/>
          <a:ea typeface="+mn-ea"/>
          <a:cs typeface="+mn-cs"/>
        </a:defRPr>
      </a:lvl4pPr>
      <a:lvl5pPr marL="1828587" algn="l" defTabSz="914293" rtl="0" eaLnBrk="1" latinLnBrk="0" hangingPunct="1">
        <a:defRPr sz="1765" kern="1200">
          <a:solidFill>
            <a:schemeClr val="tx1"/>
          </a:solidFill>
          <a:latin typeface="+mn-lt"/>
          <a:ea typeface="+mn-ea"/>
          <a:cs typeface="+mn-cs"/>
        </a:defRPr>
      </a:lvl5pPr>
      <a:lvl6pPr marL="2285736" algn="l" defTabSz="914293" rtl="0" eaLnBrk="1" latinLnBrk="0" hangingPunct="1">
        <a:defRPr sz="1765" kern="1200">
          <a:solidFill>
            <a:schemeClr val="tx1"/>
          </a:solidFill>
          <a:latin typeface="+mn-lt"/>
          <a:ea typeface="+mn-ea"/>
          <a:cs typeface="+mn-cs"/>
        </a:defRPr>
      </a:lvl6pPr>
      <a:lvl7pPr marL="2742881" algn="l" defTabSz="914293" rtl="0" eaLnBrk="1" latinLnBrk="0" hangingPunct="1">
        <a:defRPr sz="1765" kern="1200">
          <a:solidFill>
            <a:schemeClr val="tx1"/>
          </a:solidFill>
          <a:latin typeface="+mn-lt"/>
          <a:ea typeface="+mn-ea"/>
          <a:cs typeface="+mn-cs"/>
        </a:defRPr>
      </a:lvl7pPr>
      <a:lvl8pPr marL="3200029" algn="l" defTabSz="914293" rtl="0" eaLnBrk="1" latinLnBrk="0" hangingPunct="1">
        <a:defRPr sz="1765" kern="1200">
          <a:solidFill>
            <a:schemeClr val="tx1"/>
          </a:solidFill>
          <a:latin typeface="+mn-lt"/>
          <a:ea typeface="+mn-ea"/>
          <a:cs typeface="+mn-cs"/>
        </a:defRPr>
      </a:lvl8pPr>
      <a:lvl9pPr marL="3657176" algn="l" defTabSz="914293"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249" y="228601"/>
            <a:ext cx="11151917" cy="747897"/>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520836" y="1447801"/>
            <a:ext cx="11155093" cy="205594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47693006"/>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Lst>
  <p:transition>
    <p:fade/>
  </p:transition>
  <p:hf hdr="0" ftr="0" dt="0"/>
  <p:txStyles>
    <p:titleStyle>
      <a:lvl1pPr algn="l" defTabSz="914149" rtl="0" eaLnBrk="1" latinLnBrk="0" hangingPunct="1">
        <a:lnSpc>
          <a:spcPct val="90000"/>
        </a:lnSpc>
        <a:spcBef>
          <a:spcPct val="0"/>
        </a:spcBef>
        <a:buNone/>
        <a:defRPr lang="en-US" sz="4400" b="0" kern="1200" cap="none" spc="-100" baseline="0" dirty="0" smtClean="0">
          <a:ln w="3175">
            <a:noFill/>
          </a:ln>
          <a:solidFill>
            <a:schemeClr val="tx1">
              <a:lumMod val="75000"/>
              <a:lumOff val="25000"/>
            </a:schemeClr>
          </a:solidFill>
          <a:effectLst/>
          <a:latin typeface="+mj-lt"/>
          <a:ea typeface="+mn-ea"/>
          <a:cs typeface="Arial" charset="0"/>
        </a:defRPr>
      </a:lvl1pPr>
    </p:titleStyle>
    <p:bodyStyle>
      <a:lvl1pPr marL="339646" marR="0" indent="-339646" algn="l" defTabSz="914149" rtl="0" eaLnBrk="1" fontAlgn="auto" latinLnBrk="0" hangingPunct="1">
        <a:lnSpc>
          <a:spcPct val="90000"/>
        </a:lnSpc>
        <a:spcBef>
          <a:spcPct val="20000"/>
        </a:spcBef>
        <a:spcAft>
          <a:spcPts val="0"/>
        </a:spcAft>
        <a:buClrTx/>
        <a:buSzPct val="80000"/>
        <a:buFont typeface="Arial" pitchFamily="34" charset="0"/>
        <a:buChar char="•"/>
        <a:tabLst/>
        <a:defRPr sz="3600" kern="1200" spc="-71" baseline="0">
          <a:gradFill>
            <a:gsLst>
              <a:gs pos="1250">
                <a:schemeClr val="bg2"/>
              </a:gs>
              <a:gs pos="100000">
                <a:schemeClr val="bg2"/>
              </a:gs>
            </a:gsLst>
            <a:lin ang="5400000" scaled="0"/>
          </a:gradFill>
          <a:latin typeface="+mj-lt"/>
          <a:ea typeface="+mn-ea"/>
          <a:cs typeface="+mn-cs"/>
        </a:defRPr>
      </a:lvl1pPr>
      <a:lvl2pPr marL="572954" marR="0" indent="-233309" algn="l" defTabSz="914149"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bg2"/>
              </a:gs>
              <a:gs pos="100000">
                <a:schemeClr val="bg2"/>
              </a:gs>
            </a:gsLst>
            <a:lin ang="5400000" scaled="0"/>
          </a:gradFill>
          <a:latin typeface="+mn-lt"/>
          <a:ea typeface="+mn-ea"/>
          <a:cs typeface="+mn-cs"/>
        </a:defRPr>
      </a:lvl2pPr>
      <a:lvl3pPr marL="798327" marR="0" indent="-225372" algn="l" defTabSz="914149" rtl="0" eaLnBrk="1" fontAlgn="auto" latinLnBrk="0" hangingPunct="1">
        <a:lnSpc>
          <a:spcPct val="90000"/>
        </a:lnSpc>
        <a:spcBef>
          <a:spcPct val="20000"/>
        </a:spcBef>
        <a:spcAft>
          <a:spcPts val="0"/>
        </a:spcAft>
        <a:buClrTx/>
        <a:buSzPct val="90000"/>
        <a:buFont typeface="Wingdings" pitchFamily="2" charset="2"/>
        <a:buChar char=""/>
        <a:tabLst>
          <a:tab pos="798327" algn="l"/>
        </a:tabLst>
        <a:defRPr sz="2400" kern="1200" spc="0" baseline="0">
          <a:gradFill>
            <a:gsLst>
              <a:gs pos="1250">
                <a:schemeClr val="bg2"/>
              </a:gs>
              <a:gs pos="100000">
                <a:schemeClr val="bg2"/>
              </a:gs>
            </a:gsLst>
            <a:lin ang="5400000" scaled="0"/>
          </a:gradFill>
          <a:latin typeface="+mn-lt"/>
          <a:ea typeface="+mn-ea"/>
          <a:cs typeface="+mn-cs"/>
        </a:defRPr>
      </a:lvl3pPr>
      <a:lvl4pPr marL="1030047" marR="0" indent="-231720" algn="l" defTabSz="914149" rtl="0" eaLnBrk="1" fontAlgn="auto" latinLnBrk="0" hangingPunct="1">
        <a:lnSpc>
          <a:spcPct val="90000"/>
        </a:lnSpc>
        <a:spcBef>
          <a:spcPct val="20000"/>
        </a:spcBef>
        <a:spcAft>
          <a:spcPts val="0"/>
        </a:spcAft>
        <a:buClrTx/>
        <a:buSzPct val="90000"/>
        <a:buFont typeface="Wingdings" pitchFamily="2" charset="2"/>
        <a:buChar char=""/>
        <a:tabLst/>
        <a:defRPr sz="2000" kern="1200" spc="0" baseline="0">
          <a:gradFill>
            <a:gsLst>
              <a:gs pos="1250">
                <a:schemeClr val="bg2"/>
              </a:gs>
              <a:gs pos="100000">
                <a:schemeClr val="bg2"/>
              </a:gs>
            </a:gsLst>
            <a:lin ang="5400000" scaled="0"/>
          </a:gradFill>
          <a:latin typeface="+mn-lt"/>
          <a:ea typeface="+mn-ea"/>
          <a:cs typeface="+mn-cs"/>
        </a:defRPr>
      </a:lvl4pPr>
      <a:lvl5pPr marL="1255419" marR="0" indent="-225372" algn="l" defTabSz="914149" rtl="0" eaLnBrk="1" fontAlgn="auto" latinLnBrk="0" hangingPunct="1">
        <a:lnSpc>
          <a:spcPct val="90000"/>
        </a:lnSpc>
        <a:spcBef>
          <a:spcPct val="20000"/>
        </a:spcBef>
        <a:spcAft>
          <a:spcPts val="0"/>
        </a:spcAft>
        <a:buClrTx/>
        <a:buSzPct val="90000"/>
        <a:buFont typeface="Wingdings" pitchFamily="2" charset="2"/>
        <a:buChar char=""/>
        <a:tabLst>
          <a:tab pos="1255419" algn="l"/>
        </a:tabLst>
        <a:defRPr sz="2000" kern="1200" spc="0" baseline="0">
          <a:gradFill>
            <a:gsLst>
              <a:gs pos="1250">
                <a:schemeClr val="bg2"/>
              </a:gs>
              <a:gs pos="100000">
                <a:schemeClr val="bg2"/>
              </a:gs>
            </a:gsLst>
            <a:lin ang="5400000" scaled="0"/>
          </a:gradFill>
          <a:latin typeface="+mn-lt"/>
          <a:ea typeface="+mn-ea"/>
          <a:cs typeface="+mn-cs"/>
        </a:defRPr>
      </a:lvl5pPr>
      <a:lvl6pPr marL="2513912" indent="-228537" algn="l" defTabSz="914149"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0986" indent="-228537" algn="l" defTabSz="914149"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062" indent="-228537" algn="l" defTabSz="914149"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137" indent="-228537" algn="l" defTabSz="9141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49" rtl="0" eaLnBrk="1" latinLnBrk="0" hangingPunct="1">
        <a:defRPr sz="1900" kern="1200">
          <a:solidFill>
            <a:schemeClr val="tx1"/>
          </a:solidFill>
          <a:latin typeface="+mn-lt"/>
          <a:ea typeface="+mn-ea"/>
          <a:cs typeface="+mn-cs"/>
        </a:defRPr>
      </a:lvl1pPr>
      <a:lvl2pPr marL="457076" algn="l" defTabSz="914149" rtl="0" eaLnBrk="1" latinLnBrk="0" hangingPunct="1">
        <a:defRPr sz="1900" kern="1200">
          <a:solidFill>
            <a:schemeClr val="tx1"/>
          </a:solidFill>
          <a:latin typeface="+mn-lt"/>
          <a:ea typeface="+mn-ea"/>
          <a:cs typeface="+mn-cs"/>
        </a:defRPr>
      </a:lvl2pPr>
      <a:lvl3pPr marL="914149" algn="l" defTabSz="914149" rtl="0" eaLnBrk="1" latinLnBrk="0" hangingPunct="1">
        <a:defRPr sz="1900" kern="1200">
          <a:solidFill>
            <a:schemeClr val="tx1"/>
          </a:solidFill>
          <a:latin typeface="+mn-lt"/>
          <a:ea typeface="+mn-ea"/>
          <a:cs typeface="+mn-cs"/>
        </a:defRPr>
      </a:lvl3pPr>
      <a:lvl4pPr marL="1371225" algn="l" defTabSz="914149" rtl="0" eaLnBrk="1" latinLnBrk="0" hangingPunct="1">
        <a:defRPr sz="1900" kern="1200">
          <a:solidFill>
            <a:schemeClr val="tx1"/>
          </a:solidFill>
          <a:latin typeface="+mn-lt"/>
          <a:ea typeface="+mn-ea"/>
          <a:cs typeface="+mn-cs"/>
        </a:defRPr>
      </a:lvl4pPr>
      <a:lvl5pPr marL="1828300" algn="l" defTabSz="914149" rtl="0" eaLnBrk="1" latinLnBrk="0" hangingPunct="1">
        <a:defRPr sz="1900" kern="1200">
          <a:solidFill>
            <a:schemeClr val="tx1"/>
          </a:solidFill>
          <a:latin typeface="+mn-lt"/>
          <a:ea typeface="+mn-ea"/>
          <a:cs typeface="+mn-cs"/>
        </a:defRPr>
      </a:lvl5pPr>
      <a:lvl6pPr marL="2285374" algn="l" defTabSz="914149" rtl="0" eaLnBrk="1" latinLnBrk="0" hangingPunct="1">
        <a:defRPr sz="1900" kern="1200">
          <a:solidFill>
            <a:schemeClr val="tx1"/>
          </a:solidFill>
          <a:latin typeface="+mn-lt"/>
          <a:ea typeface="+mn-ea"/>
          <a:cs typeface="+mn-cs"/>
        </a:defRPr>
      </a:lvl6pPr>
      <a:lvl7pPr marL="2742449" algn="l" defTabSz="914149" rtl="0" eaLnBrk="1" latinLnBrk="0" hangingPunct="1">
        <a:defRPr sz="1900" kern="1200">
          <a:solidFill>
            <a:schemeClr val="tx1"/>
          </a:solidFill>
          <a:latin typeface="+mn-lt"/>
          <a:ea typeface="+mn-ea"/>
          <a:cs typeface="+mn-cs"/>
        </a:defRPr>
      </a:lvl7pPr>
      <a:lvl8pPr marL="3199525" algn="l" defTabSz="914149" rtl="0" eaLnBrk="1" latinLnBrk="0" hangingPunct="1">
        <a:defRPr sz="1900" kern="1200">
          <a:solidFill>
            <a:schemeClr val="tx1"/>
          </a:solidFill>
          <a:latin typeface="+mn-lt"/>
          <a:ea typeface="+mn-ea"/>
          <a:cs typeface="+mn-cs"/>
        </a:defRPr>
      </a:lvl8pPr>
      <a:lvl9pPr marL="3656598" algn="l" defTabSz="914149"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fld id="{FAADACFB-7C71-4E89-89D2-7BBA40B7BFA9}" type="slidenum">
              <a:rPr lang="en-US" smtClean="0">
                <a:solidFill>
                  <a:srgbClr val="505050"/>
                </a:solidFill>
              </a:rPr>
              <a:pPr/>
              <a:t>‹#›</a:t>
            </a:fld>
            <a:endParaRPr lang="en-US" dirty="0">
              <a:solidFill>
                <a:srgbClr val="505050"/>
              </a:solidFill>
            </a:endParaRPr>
          </a:p>
        </p:txBody>
      </p:sp>
    </p:spTree>
    <p:extLst>
      <p:ext uri="{BB962C8B-B14F-4D97-AF65-F5344CB8AC3E}">
        <p14:creationId xmlns:p14="http://schemas.microsoft.com/office/powerpoint/2010/main" val="2583427337"/>
      </p:ext>
    </p:extLst>
  </p:cSld>
  <p:clrMap bg1="lt1" tx1="dk1" bg2="lt2" tx2="dk2" accent1="accent1" accent2="accent2" accent3="accent3" accent4="accent4" accent5="accent5" accent6="accent6" hlink="hlink" folHlink="folHlink"/>
  <p:sldLayoutIdLst>
    <p:sldLayoutId id="2147483762" r:id="rId1"/>
    <p:sldLayoutId id="2147483767" r:id="rId2"/>
    <p:sldLayoutId id="2147483768" r:id="rId3"/>
    <p:sldLayoutId id="2147483769" r:id="rId4"/>
    <p:sldLayoutId id="2147483770" r:id="rId5"/>
    <p:sldLayoutId id="2147483771" r:id="rId6"/>
    <p:sldLayoutId id="2147483772" r:id="rId7"/>
    <p:sldLayoutId id="2147483773" r:id="rId8"/>
    <p:sldLayoutId id="2147483777" r:id="rId9"/>
    <p:sldLayoutId id="2147483778" r:id="rId10"/>
    <p:sldLayoutId id="2147483779" r:id="rId11"/>
    <p:sldLayoutId id="2147483780" r:id="rId12"/>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69"/>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4"/>
            <a:ext cx="8382000"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8105"/>
            <a:endParaRPr lang="en-US" dirty="0">
              <a:solidFill>
                <a:srgbClr val="505050"/>
              </a:solidFill>
            </a:endParaRPr>
          </a:p>
        </p:txBody>
      </p:sp>
      <p:sp>
        <p:nvSpPr>
          <p:cNvPr id="15" name="Text Placeholder 14"/>
          <p:cNvSpPr>
            <a:spLocks noGrp="1"/>
          </p:cNvSpPr>
          <p:nvPr>
            <p:ph type="body" idx="1"/>
          </p:nvPr>
        </p:nvSpPr>
        <p:spPr>
          <a:xfrm>
            <a:off x="344124" y="1600200"/>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4"/>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8105"/>
            <a:fld id="{FAADACFB-7C71-4E89-89D2-7BBA40B7BFA9}" type="slidenum">
              <a:rPr lang="en-US" smtClean="0">
                <a:solidFill>
                  <a:srgbClr val="505050"/>
                </a:solidFill>
              </a:rPr>
              <a:pPr defTabSz="1088105"/>
              <a:t>‹#›</a:t>
            </a:fld>
            <a:endParaRPr lang="en-US" dirty="0">
              <a:solidFill>
                <a:srgbClr val="505050"/>
              </a:solidFill>
            </a:endParaRPr>
          </a:p>
        </p:txBody>
      </p:sp>
    </p:spTree>
    <p:extLst>
      <p:ext uri="{BB962C8B-B14F-4D97-AF65-F5344CB8AC3E}">
        <p14:creationId xmlns:p14="http://schemas.microsoft.com/office/powerpoint/2010/main" val="3071042347"/>
      </p:ext>
    </p:extLst>
  </p:cSld>
  <p:clrMap bg1="lt1" tx1="dk1" bg2="lt2" tx2="dk2" accent1="accent1" accent2="accent2" accent3="accent3" accent4="accent4" accent5="accent5" accent6="accent6" hlink="hlink" folHlink="folHlink"/>
  <p:sldLayoutIdLst>
    <p:sldLayoutId id="2147483788" r:id="rId1"/>
    <p:sldLayoutId id="2147483791" r:id="rId2"/>
    <p:sldLayoutId id="2147483792" r:id="rId3"/>
    <p:sldLayoutId id="2147483793" r:id="rId4"/>
    <p:sldLayoutId id="2147483794" r:id="rId5"/>
    <p:sldLayoutId id="2147483795" r:id="rId6"/>
    <p:sldLayoutId id="2147483796" r:id="rId7"/>
    <p:sldLayoutId id="2147483797" r:id="rId8"/>
    <p:sldLayoutId id="2147483798" r:id="rId9"/>
    <p:sldLayoutId id="2147483799" r:id="rId10"/>
    <p:sldLayoutId id="2147483800" r:id="rId11"/>
    <p:sldLayoutId id="2147483801" r:id="rId12"/>
    <p:sldLayoutId id="2147483802" r:id="rId13"/>
    <p:sldLayoutId id="2147483803" r:id="rId14"/>
    <p:sldLayoutId id="2147483806" r:id="rId15"/>
    <p:sldLayoutId id="2147483808" r:id="rId16"/>
    <p:sldLayoutId id="2147483809" r:id="rId17"/>
  </p:sldLayoutIdLst>
  <p:transition>
    <p:fade/>
  </p:transition>
  <p:hf hdr="0" ftr="0" dt="0"/>
  <p:txStyles>
    <p:titleStyle>
      <a:lvl1pPr marL="0" algn="l" defTabSz="1088105"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8105"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6070" indent="-194396" algn="l" defTabSz="1088105"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712" indent="-173236" algn="l" defTabSz="1088105"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354" indent="-177204"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389" indent="-179849" algn="l" defTabSz="1088105"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2290"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6342"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80396"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4448" indent="-272026" algn="l" defTabSz="1088105"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8105" rtl="0" eaLnBrk="1" latinLnBrk="0" hangingPunct="1">
        <a:defRPr sz="2200" kern="1200">
          <a:solidFill>
            <a:schemeClr val="tx1"/>
          </a:solidFill>
          <a:latin typeface="+mn-lt"/>
          <a:ea typeface="+mn-ea"/>
          <a:cs typeface="+mn-cs"/>
        </a:defRPr>
      </a:lvl1pPr>
      <a:lvl2pPr marL="544053" algn="l" defTabSz="1088105" rtl="0" eaLnBrk="1" latinLnBrk="0" hangingPunct="1">
        <a:defRPr sz="2200" kern="1200">
          <a:solidFill>
            <a:schemeClr val="tx1"/>
          </a:solidFill>
          <a:latin typeface="+mn-lt"/>
          <a:ea typeface="+mn-ea"/>
          <a:cs typeface="+mn-cs"/>
        </a:defRPr>
      </a:lvl2pPr>
      <a:lvl3pPr marL="1088105" algn="l" defTabSz="1088105" rtl="0" eaLnBrk="1" latinLnBrk="0" hangingPunct="1">
        <a:defRPr sz="2200" kern="1200">
          <a:solidFill>
            <a:schemeClr val="tx1"/>
          </a:solidFill>
          <a:latin typeface="+mn-lt"/>
          <a:ea typeface="+mn-ea"/>
          <a:cs typeface="+mn-cs"/>
        </a:defRPr>
      </a:lvl3pPr>
      <a:lvl4pPr marL="1632159" algn="l" defTabSz="1088105" rtl="0" eaLnBrk="1" latinLnBrk="0" hangingPunct="1">
        <a:defRPr sz="2200" kern="1200">
          <a:solidFill>
            <a:schemeClr val="tx1"/>
          </a:solidFill>
          <a:latin typeface="+mn-lt"/>
          <a:ea typeface="+mn-ea"/>
          <a:cs typeface="+mn-cs"/>
        </a:defRPr>
      </a:lvl4pPr>
      <a:lvl5pPr marL="2176211" algn="l" defTabSz="1088105" rtl="0" eaLnBrk="1" latinLnBrk="0" hangingPunct="1">
        <a:defRPr sz="2200" kern="1200">
          <a:solidFill>
            <a:schemeClr val="tx1"/>
          </a:solidFill>
          <a:latin typeface="+mn-lt"/>
          <a:ea typeface="+mn-ea"/>
          <a:cs typeface="+mn-cs"/>
        </a:defRPr>
      </a:lvl5pPr>
      <a:lvl6pPr marL="2720264" algn="l" defTabSz="1088105" rtl="0" eaLnBrk="1" latinLnBrk="0" hangingPunct="1">
        <a:defRPr sz="2200" kern="1200">
          <a:solidFill>
            <a:schemeClr val="tx1"/>
          </a:solidFill>
          <a:latin typeface="+mn-lt"/>
          <a:ea typeface="+mn-ea"/>
          <a:cs typeface="+mn-cs"/>
        </a:defRPr>
      </a:lvl6pPr>
      <a:lvl7pPr marL="3264316" algn="l" defTabSz="1088105" rtl="0" eaLnBrk="1" latinLnBrk="0" hangingPunct="1">
        <a:defRPr sz="2200" kern="1200">
          <a:solidFill>
            <a:schemeClr val="tx1"/>
          </a:solidFill>
          <a:latin typeface="+mn-lt"/>
          <a:ea typeface="+mn-ea"/>
          <a:cs typeface="+mn-cs"/>
        </a:defRPr>
      </a:lvl7pPr>
      <a:lvl8pPr marL="3808369" algn="l" defTabSz="1088105" rtl="0" eaLnBrk="1" latinLnBrk="0" hangingPunct="1">
        <a:defRPr sz="2200" kern="1200">
          <a:solidFill>
            <a:schemeClr val="tx1"/>
          </a:solidFill>
          <a:latin typeface="+mn-lt"/>
          <a:ea typeface="+mn-ea"/>
          <a:cs typeface="+mn-cs"/>
        </a:defRPr>
      </a:lvl8pPr>
      <a:lvl9pPr marL="4352422" algn="l" defTabSz="1088105"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70"/>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3"/>
            <a:ext cx="8381999"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344124" y="1600201"/>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1328546720"/>
      </p:ext>
    </p:extLst>
  </p:cSld>
  <p:clrMap bg1="lt1" tx1="dk1" bg2="lt2" tx2="dk2" accent1="accent1" accent2="accent2" accent3="accent3" accent4="accent4" accent5="accent5" accent6="accent6" hlink="hlink" folHlink="folHlink"/>
  <p:sldLayoutIdLst>
    <p:sldLayoutId id="2147483812" r:id="rId1"/>
    <p:sldLayoutId id="2147483814" r:id="rId2"/>
    <p:sldLayoutId id="2147483815" r:id="rId3"/>
    <p:sldLayoutId id="2147483816" r:id="rId4"/>
    <p:sldLayoutId id="2147483817" r:id="rId5"/>
    <p:sldLayoutId id="2147483818" r:id="rId6"/>
    <p:sldLayoutId id="2147483819" r:id="rId7"/>
    <p:sldLayoutId id="2147483820" r:id="rId8"/>
    <p:sldLayoutId id="2147483823" r:id="rId9"/>
    <p:sldLayoutId id="2147483825" r:id="rId10"/>
    <p:sldLayoutId id="2147483826" r:id="rId11"/>
    <p:sldLayoutId id="2147483827" r:id="rId12"/>
    <p:sldLayoutId id="2147483828" r:id="rId13"/>
    <p:sldLayoutId id="2147483829" r:id="rId14"/>
    <p:sldLayoutId id="2147483830" r:id="rId15"/>
    <p:sldLayoutId id="2147483836" r:id="rId16"/>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6485992"/>
            <a:ext cx="12192000" cy="372008"/>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txBox="1">
            <a:spLocks/>
          </p:cNvSpPr>
          <p:nvPr userDrawn="1"/>
        </p:nvSpPr>
        <p:spPr>
          <a:xfrm>
            <a:off x="2" y="6485993"/>
            <a:ext cx="2286000" cy="372007"/>
          </a:xfrm>
          <a:prstGeom prst="rect">
            <a:avLst/>
          </a:prstGeom>
        </p:spPr>
        <p:txBody>
          <a:bodyPr lIns="373290" tIns="37328" rIns="74658" bIns="3732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784" dirty="0">
                <a:solidFill>
                  <a:srgbClr val="000000">
                    <a:lumMod val="50000"/>
                    <a:lumOff val="50000"/>
                  </a:srgbClr>
                </a:solidFill>
                <a:ea typeface="Segoe UI" pitchFamily="34" charset="0"/>
                <a:cs typeface="Segoe UI" pitchFamily="34" charset="0"/>
              </a:rPr>
              <a:t>EPG | MICROSOFT CONFIDENTIAL</a:t>
            </a:r>
          </a:p>
        </p:txBody>
      </p:sp>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pPr defTabSz="914367"/>
            <a:endParaRPr lang="en-US" dirty="0">
              <a:solidFill>
                <a:srgbClr val="000000">
                  <a:lumMod val="50000"/>
                  <a:lumOff val="50000"/>
                </a:srgbClr>
              </a:solidFill>
            </a:endParaRPr>
          </a:p>
        </p:txBody>
      </p:sp>
      <p:sp>
        <p:nvSpPr>
          <p:cNvPr id="10"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pPr defTabSz="914367"/>
            <a:fld id="{C69A5621-A4E1-4322-9D22-14AC39B4BE7D}" type="slidenum">
              <a:rPr lang="en-US" smtClean="0">
                <a:solidFill>
                  <a:srgbClr val="000000">
                    <a:tint val="75000"/>
                  </a:srgbClr>
                </a:solidFill>
              </a:rPr>
              <a:pPr defTabSz="914367"/>
              <a:t>‹#›</a:t>
            </a:fld>
            <a:endParaRPr lang="en-US">
              <a:solidFill>
                <a:srgbClr val="000000">
                  <a:tint val="75000"/>
                </a:srgbClr>
              </a:solidFill>
            </a:endParaRPr>
          </a:p>
        </p:txBody>
      </p:sp>
    </p:spTree>
    <p:extLst>
      <p:ext uri="{BB962C8B-B14F-4D97-AF65-F5344CB8AC3E}">
        <p14:creationId xmlns:p14="http://schemas.microsoft.com/office/powerpoint/2010/main" val="508999882"/>
      </p:ext>
    </p:extLst>
  </p:cSld>
  <p:clrMap bg1="lt1" tx1="dk1" bg2="lt2" tx2="dk2" accent1="accent1" accent2="accent2" accent3="accent3" accent4="accent4" accent5="accent5" accent6="accent6" hlink="hlink" folHlink="folHlink"/>
  <p:sldLayoutIdLst>
    <p:sldLayoutId id="2147483885" r:id="rId1"/>
    <p:sldLayoutId id="2147483886" r:id="rId2"/>
    <p:sldLayoutId id="2147483887" r:id="rId3"/>
    <p:sldLayoutId id="2147483888" r:id="rId4"/>
    <p:sldLayoutId id="2147483889" r:id="rId5"/>
    <p:sldLayoutId id="2147483890" r:id="rId6"/>
    <p:sldLayoutId id="2147483891" r:id="rId7"/>
    <p:sldLayoutId id="2147483892" r:id="rId8"/>
    <p:sldLayoutId id="2147483893" r:id="rId9"/>
    <p:sldLayoutId id="2147483894" r:id="rId10"/>
    <p:sldLayoutId id="2147483895" r:id="rId11"/>
    <p:sldLayoutId id="2147483896" r:id="rId12"/>
    <p:sldLayoutId id="2147483897" r:id="rId13"/>
    <p:sldLayoutId id="2147483898" r:id="rId14"/>
    <p:sldLayoutId id="2147483899" r:id="rId15"/>
    <p:sldLayoutId id="2147483900" r:id="rId16"/>
    <p:sldLayoutId id="2147483901" r:id="rId17"/>
    <p:sldLayoutId id="2147483902" r:id="rId18"/>
    <p:sldLayoutId id="2147483903" r:id="rId19"/>
    <p:sldLayoutId id="2147483904" r:id="rId20"/>
    <p:sldLayoutId id="2147483905" r:id="rId21"/>
    <p:sldLayoutId id="2147483906" r:id="rId22"/>
    <p:sldLayoutId id="2147483907" r:id="rId23"/>
    <p:sldLayoutId id="2147483908" r:id="rId24"/>
    <p:sldLayoutId id="2147483909" r:id="rId25"/>
    <p:sldLayoutId id="2147483910" r:id="rId26"/>
    <p:sldLayoutId id="2147483911" r:id="rId27"/>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99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921"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6485992"/>
            <a:ext cx="12192000" cy="372008"/>
          </a:xfrm>
          <a:prstGeom prst="rect">
            <a:avLst/>
          </a:prstGeom>
          <a:solidFill>
            <a:srgbClr val="D2D2D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0" rIns="0" bIns="45720" numCol="1" rtlCol="0" anchor="ctr" anchorCtr="0" compatLnSpc="1">
            <a:prstTxWarp prst="textNoShape">
              <a:avLst/>
            </a:prstTxWarp>
          </a:bodyPr>
          <a:lstStyle/>
          <a:p>
            <a:pPr algn="ctr" defTabSz="914102" fontAlgn="base">
              <a:spcBef>
                <a:spcPct val="0"/>
              </a:spcBef>
              <a:spcAft>
                <a:spcPct val="0"/>
              </a:spcAft>
            </a:pPr>
            <a:endParaRPr lang="en-US" sz="1961" dirty="0">
              <a:gradFill>
                <a:gsLst>
                  <a:gs pos="0">
                    <a:srgbClr val="FFFFFF"/>
                  </a:gs>
                  <a:gs pos="100000">
                    <a:srgbClr val="FFFFFF"/>
                  </a:gs>
                </a:gsLst>
                <a:lin ang="5400000" scaled="0"/>
              </a:gradFill>
            </a:endParaRPr>
          </a:p>
        </p:txBody>
      </p:sp>
      <p:sp>
        <p:nvSpPr>
          <p:cNvPr id="2" name="Title Placeholder 1"/>
          <p:cNvSpPr>
            <a:spLocks noGrp="1"/>
          </p:cNvSpPr>
          <p:nvPr>
            <p:ph type="title"/>
          </p:nvPr>
        </p:nvSpPr>
        <p:spPr>
          <a:xfrm>
            <a:off x="268928" y="29110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2184808"/>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2"/>
          <p:cNvSpPr txBox="1">
            <a:spLocks/>
          </p:cNvSpPr>
          <p:nvPr userDrawn="1"/>
        </p:nvSpPr>
        <p:spPr>
          <a:xfrm>
            <a:off x="2" y="6485993"/>
            <a:ext cx="2286000" cy="372007"/>
          </a:xfrm>
          <a:prstGeom prst="rect">
            <a:avLst/>
          </a:prstGeom>
        </p:spPr>
        <p:txBody>
          <a:bodyPr lIns="373290" tIns="37328" rIns="74658" bIns="37328" anchor="ctr">
            <a:noAutofit/>
          </a:bodyPr>
          <a:lstStyle>
            <a:defPPr>
              <a:defRPr lang="en-US"/>
            </a:defPPr>
            <a:lvl1pPr marL="0" algn="l" defTabSz="1306092" rtl="0" eaLnBrk="1" latinLnBrk="0" hangingPunct="1">
              <a:defRPr sz="2600" kern="1200">
                <a:solidFill>
                  <a:schemeClr val="tx1"/>
                </a:solidFill>
                <a:latin typeface="+mn-lt"/>
                <a:ea typeface="+mn-ea"/>
                <a:cs typeface="+mn-cs"/>
              </a:defRPr>
            </a:lvl1pPr>
            <a:lvl2pPr marL="653046" algn="l" defTabSz="1306092" rtl="0" eaLnBrk="1" latinLnBrk="0" hangingPunct="1">
              <a:defRPr sz="2600" kern="1200">
                <a:solidFill>
                  <a:schemeClr val="tx1"/>
                </a:solidFill>
                <a:latin typeface="+mn-lt"/>
                <a:ea typeface="+mn-ea"/>
                <a:cs typeface="+mn-cs"/>
              </a:defRPr>
            </a:lvl2pPr>
            <a:lvl3pPr marL="1306092" algn="l" defTabSz="1306092" rtl="0" eaLnBrk="1" latinLnBrk="0" hangingPunct="1">
              <a:defRPr sz="2600" kern="1200">
                <a:solidFill>
                  <a:schemeClr val="tx1"/>
                </a:solidFill>
                <a:latin typeface="+mn-lt"/>
                <a:ea typeface="+mn-ea"/>
                <a:cs typeface="+mn-cs"/>
              </a:defRPr>
            </a:lvl3pPr>
            <a:lvl4pPr marL="1959139" algn="l" defTabSz="1306092" rtl="0" eaLnBrk="1" latinLnBrk="0" hangingPunct="1">
              <a:defRPr sz="2600" kern="1200">
                <a:solidFill>
                  <a:schemeClr val="tx1"/>
                </a:solidFill>
                <a:latin typeface="+mn-lt"/>
                <a:ea typeface="+mn-ea"/>
                <a:cs typeface="+mn-cs"/>
              </a:defRPr>
            </a:lvl4pPr>
            <a:lvl5pPr marL="2612185" algn="l" defTabSz="1306092" rtl="0" eaLnBrk="1" latinLnBrk="0" hangingPunct="1">
              <a:defRPr sz="2600" kern="1200">
                <a:solidFill>
                  <a:schemeClr val="tx1"/>
                </a:solidFill>
                <a:latin typeface="+mn-lt"/>
                <a:ea typeface="+mn-ea"/>
                <a:cs typeface="+mn-cs"/>
              </a:defRPr>
            </a:lvl5pPr>
            <a:lvl6pPr marL="3265231" algn="l" defTabSz="1306092" rtl="0" eaLnBrk="1" latinLnBrk="0" hangingPunct="1">
              <a:defRPr sz="2600" kern="1200">
                <a:solidFill>
                  <a:schemeClr val="tx1"/>
                </a:solidFill>
                <a:latin typeface="+mn-lt"/>
                <a:ea typeface="+mn-ea"/>
                <a:cs typeface="+mn-cs"/>
              </a:defRPr>
            </a:lvl6pPr>
            <a:lvl7pPr marL="3918276" algn="l" defTabSz="1306092" rtl="0" eaLnBrk="1" latinLnBrk="0" hangingPunct="1">
              <a:defRPr sz="2600" kern="1200">
                <a:solidFill>
                  <a:schemeClr val="tx1"/>
                </a:solidFill>
                <a:latin typeface="+mn-lt"/>
                <a:ea typeface="+mn-ea"/>
                <a:cs typeface="+mn-cs"/>
              </a:defRPr>
            </a:lvl7pPr>
            <a:lvl8pPr marL="4571323" algn="l" defTabSz="1306092" rtl="0" eaLnBrk="1" latinLnBrk="0" hangingPunct="1">
              <a:defRPr sz="2600" kern="1200">
                <a:solidFill>
                  <a:schemeClr val="tx1"/>
                </a:solidFill>
                <a:latin typeface="+mn-lt"/>
                <a:ea typeface="+mn-ea"/>
                <a:cs typeface="+mn-cs"/>
              </a:defRPr>
            </a:lvl8pPr>
            <a:lvl9pPr marL="5224369" algn="l" defTabSz="1306092" rtl="0" eaLnBrk="1" latinLnBrk="0" hangingPunct="1">
              <a:defRPr sz="2600" kern="1200">
                <a:solidFill>
                  <a:schemeClr val="tx1"/>
                </a:solidFill>
                <a:latin typeface="+mn-lt"/>
                <a:ea typeface="+mn-ea"/>
                <a:cs typeface="+mn-cs"/>
              </a:defRPr>
            </a:lvl9pPr>
          </a:lstStyle>
          <a:p>
            <a:r>
              <a:rPr lang="en-US" sz="784" dirty="0">
                <a:solidFill>
                  <a:srgbClr val="000000">
                    <a:lumMod val="50000"/>
                    <a:lumOff val="50000"/>
                  </a:srgbClr>
                </a:solidFill>
                <a:ea typeface="Segoe UI" pitchFamily="34" charset="0"/>
                <a:cs typeface="Segoe UI" pitchFamily="34" charset="0"/>
              </a:rPr>
              <a:t>EPG | MICROSOFT CONFIDENTIAL</a:t>
            </a:r>
          </a:p>
        </p:txBody>
      </p:sp>
      <p:sp>
        <p:nvSpPr>
          <p:cNvPr id="3" name="Footer Placeholder 2"/>
          <p:cNvSpPr>
            <a:spLocks noGrp="1"/>
          </p:cNvSpPr>
          <p:nvPr>
            <p:ph type="ftr" sz="quarter" idx="3"/>
          </p:nvPr>
        </p:nvSpPr>
        <p:spPr>
          <a:xfrm>
            <a:off x="2480399" y="6485993"/>
            <a:ext cx="9112201" cy="364224"/>
          </a:xfrm>
          <a:prstGeom prst="rect">
            <a:avLst/>
          </a:prstGeom>
        </p:spPr>
        <p:txBody>
          <a:bodyPr vert="horz" lIns="91440" tIns="45720" rIns="91440" bIns="45720" rtlCol="0" anchor="ctr"/>
          <a:lstStyle>
            <a:lvl1pPr algn="l">
              <a:defRPr sz="784">
                <a:solidFill>
                  <a:schemeClr val="tx1">
                    <a:lumMod val="50000"/>
                    <a:lumOff val="50000"/>
                  </a:schemeClr>
                </a:solidFill>
              </a:defRPr>
            </a:lvl1pPr>
          </a:lstStyle>
          <a:p>
            <a:pPr defTabSz="914367"/>
            <a:endParaRPr lang="en-US" dirty="0">
              <a:solidFill>
                <a:srgbClr val="000000">
                  <a:lumMod val="50000"/>
                  <a:lumOff val="50000"/>
                </a:srgbClr>
              </a:solidFill>
            </a:endParaRPr>
          </a:p>
        </p:txBody>
      </p:sp>
      <p:sp>
        <p:nvSpPr>
          <p:cNvPr id="10" name="Slide Number Placeholder 9"/>
          <p:cNvSpPr>
            <a:spLocks noGrp="1"/>
          </p:cNvSpPr>
          <p:nvPr>
            <p:ph type="sldNum" sz="quarter" idx="4"/>
          </p:nvPr>
        </p:nvSpPr>
        <p:spPr>
          <a:xfrm>
            <a:off x="11592601" y="6485992"/>
            <a:ext cx="599400" cy="364224"/>
          </a:xfrm>
          <a:prstGeom prst="rect">
            <a:avLst/>
          </a:prstGeom>
        </p:spPr>
        <p:txBody>
          <a:bodyPr vert="horz" lIns="91440" tIns="45720" rIns="91440" bIns="45720" rtlCol="0" anchor="ctr"/>
          <a:lstStyle>
            <a:lvl1pPr algn="r">
              <a:defRPr sz="784">
                <a:solidFill>
                  <a:schemeClr val="tx1">
                    <a:tint val="75000"/>
                  </a:schemeClr>
                </a:solidFill>
              </a:defRPr>
            </a:lvl1pPr>
          </a:lstStyle>
          <a:p>
            <a:pPr defTabSz="914367"/>
            <a:fld id="{C69A5621-A4E1-4322-9D22-14AC39B4BE7D}" type="slidenum">
              <a:rPr lang="en-US" smtClean="0">
                <a:solidFill>
                  <a:srgbClr val="000000">
                    <a:tint val="75000"/>
                  </a:srgbClr>
                </a:solidFill>
              </a:rPr>
              <a:pPr defTabSz="914367"/>
              <a:t>‹#›</a:t>
            </a:fld>
            <a:endParaRPr lang="en-US">
              <a:solidFill>
                <a:srgbClr val="000000">
                  <a:tint val="75000"/>
                </a:srgbClr>
              </a:solidFill>
            </a:endParaRPr>
          </a:p>
        </p:txBody>
      </p:sp>
    </p:spTree>
    <p:extLst>
      <p:ext uri="{BB962C8B-B14F-4D97-AF65-F5344CB8AC3E}">
        <p14:creationId xmlns:p14="http://schemas.microsoft.com/office/powerpoint/2010/main" val="122078110"/>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 id="2147483926" r:id="rId12"/>
    <p:sldLayoutId id="2147483927" r:id="rId13"/>
    <p:sldLayoutId id="2147483928" r:id="rId14"/>
    <p:sldLayoutId id="2147483929" r:id="rId15"/>
    <p:sldLayoutId id="2147483930" r:id="rId16"/>
    <p:sldLayoutId id="2147483931" r:id="rId17"/>
    <p:sldLayoutId id="2147483932" r:id="rId18"/>
    <p:sldLayoutId id="2147483933" r:id="rId19"/>
    <p:sldLayoutId id="2147483934" r:id="rId20"/>
    <p:sldLayoutId id="2147483935" r:id="rId21"/>
    <p:sldLayoutId id="2147483936" r:id="rId22"/>
    <p:sldLayoutId id="2147483937" r:id="rId23"/>
    <p:sldLayoutId id="2147483938" r:id="rId24"/>
    <p:sldLayoutId id="2147483939" r:id="rId25"/>
    <p:sldLayoutId id="2147483940" r:id="rId26"/>
    <p:sldLayoutId id="2147483942" r:id="rId27"/>
  </p:sldLayoutIdLst>
  <p:transition>
    <p:fade/>
  </p:transition>
  <p:hf hdr="0" ftr="0" dt="0"/>
  <p:txStyles>
    <p:titleStyle>
      <a:lvl1pPr algn="l" defTabSz="914367" rtl="0" eaLnBrk="1" latinLnBrk="0" hangingPunct="1">
        <a:lnSpc>
          <a:spcPct val="90000"/>
        </a:lnSpc>
        <a:spcBef>
          <a:spcPct val="0"/>
        </a:spcBef>
        <a:buNone/>
        <a:defRPr lang="en-US" sz="5294" b="0" kern="1200" cap="none" spc="-100" baseline="0" dirty="0" smtClean="0">
          <a:ln w="3175">
            <a:noFill/>
          </a:ln>
          <a:gradFill>
            <a:gsLst>
              <a:gs pos="1250">
                <a:schemeClr val="tx1"/>
              </a:gs>
              <a:gs pos="99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
          <a:schemeClr val="tx1"/>
        </a:buClr>
        <a:buSzPct val="90000"/>
        <a:buFont typeface="Arial" pitchFamily="34" charset="0"/>
        <a:buChar char="•"/>
        <a:tabLst/>
        <a:defRPr sz="3921" kern="1200" spc="0" baseline="0">
          <a:gradFill>
            <a:gsLst>
              <a:gs pos="1250">
                <a:schemeClr val="tx1"/>
              </a:gs>
              <a:gs pos="99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rgbClr val="404040"/>
              </a:gs>
              <a:gs pos="99000">
                <a:srgbClr val="404040"/>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rgbClr val="404040"/>
              </a:gs>
              <a:gs pos="99000">
                <a:srgbClr val="404040"/>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orient="horz" pos="763">
          <p15:clr>
            <a:srgbClr val="A4A3A4"/>
          </p15:clr>
        </p15:guide>
        <p15:guide id="4" orient="horz" pos="1339">
          <p15:clr>
            <a:srgbClr val="A4A3A4"/>
          </p15:clr>
        </p15:guide>
        <p15:guide id="5" orient="horz" pos="1915">
          <p15:clr>
            <a:srgbClr val="A4A3A4"/>
          </p15:clr>
        </p15:guide>
        <p15:guide id="6" orient="horz" pos="2491">
          <p15:clr>
            <a:srgbClr val="A4A3A4"/>
          </p15:clr>
        </p15:guide>
        <p15:guide id="7" orient="horz" pos="3067">
          <p15:clr>
            <a:srgbClr val="A4A3A4"/>
          </p15:clr>
        </p15:guide>
        <p15:guide id="8" orient="horz" pos="3643">
          <p15:clr>
            <a:srgbClr val="A4A3A4"/>
          </p15:clr>
        </p15:guide>
        <p15:guide id="9" orient="horz" pos="4219">
          <p15:clr>
            <a:srgbClr val="5ACBF0"/>
          </p15:clr>
        </p15:guide>
        <p15:guide id="10" pos="749">
          <p15:clr>
            <a:srgbClr val="A4A3A4"/>
          </p15:clr>
        </p15:guide>
        <p15:guide id="11" pos="1325">
          <p15:clr>
            <a:srgbClr val="A4A3A4"/>
          </p15:clr>
        </p15:guide>
        <p15:guide id="12" pos="1901">
          <p15:clr>
            <a:srgbClr val="A4A3A4"/>
          </p15:clr>
        </p15:guide>
        <p15:guide id="13" pos="2477">
          <p15:clr>
            <a:srgbClr val="A4A3A4"/>
          </p15:clr>
        </p15:guide>
        <p15:guide id="14" pos="3053">
          <p15:clr>
            <a:srgbClr val="A4A3A4"/>
          </p15:clr>
        </p15:guide>
        <p15:guide id="15" pos="3629">
          <p15:clr>
            <a:srgbClr val="A4A3A4"/>
          </p15:clr>
        </p15:guide>
        <p15:guide id="16" pos="4205">
          <p15:clr>
            <a:srgbClr val="A4A3A4"/>
          </p15:clr>
        </p15:guide>
        <p15:guide id="17" pos="4781">
          <p15:clr>
            <a:srgbClr val="A4A3A4"/>
          </p15:clr>
        </p15:guide>
        <p15:guide id="18" pos="5357">
          <p15:clr>
            <a:srgbClr val="A4A3A4"/>
          </p15:clr>
        </p15:guide>
        <p15:guide id="19" pos="5933">
          <p15:clr>
            <a:srgbClr val="A4A3A4"/>
          </p15:clr>
        </p15:guide>
        <p15:guide id="20" pos="6509">
          <p15:clr>
            <a:srgbClr val="A4A3A4"/>
          </p15:clr>
        </p15:guide>
        <p15:guide id="21" pos="7085">
          <p15:clr>
            <a:srgbClr val="A4A3A4"/>
          </p15:clr>
        </p15:guide>
        <p15:guide id="22" pos="7661">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9397" y="267870"/>
            <a:ext cx="12192000" cy="646042"/>
          </a:xfrm>
          <a:prstGeom prst="rect">
            <a:avLst/>
          </a:prstGeom>
        </p:spPr>
        <p:txBody>
          <a:bodyPr vert="horz" lIns="320040" tIns="152357" rIns="53325" bIns="53325" rtlCol="0" anchor="ctr">
            <a:normAutofit/>
          </a:bodyPr>
          <a:lstStyle/>
          <a:p>
            <a:endParaRPr lang="en-US" dirty="0"/>
          </a:p>
        </p:txBody>
      </p:sp>
      <p:sp>
        <p:nvSpPr>
          <p:cNvPr id="7" name="Footer Placeholder 6"/>
          <p:cNvSpPr>
            <a:spLocks noGrp="1"/>
          </p:cNvSpPr>
          <p:nvPr>
            <p:ph type="ftr" sz="quarter" idx="3"/>
          </p:nvPr>
        </p:nvSpPr>
        <p:spPr>
          <a:xfrm>
            <a:off x="3048000" y="6477873"/>
            <a:ext cx="8381999" cy="380127"/>
          </a:xfrm>
          <a:prstGeom prst="rect">
            <a:avLst/>
          </a:prstGeom>
        </p:spPr>
        <p:txBody>
          <a:bodyPr vert="horz" lIns="76179" tIns="38089" rIns="76179" bIns="38089" rtlCol="0" anchor="ctr"/>
          <a:lstStyle>
            <a:lvl1pPr algn="l">
              <a:defRPr sz="800">
                <a:solidFill>
                  <a:schemeClr val="tx1"/>
                </a:solidFill>
                <a:latin typeface="Segoe UI" pitchFamily="34" charset="0"/>
                <a:ea typeface="Segoe UI" pitchFamily="34" charset="0"/>
                <a:cs typeface="Segoe UI" pitchFamily="34" charset="0"/>
              </a:defRPr>
            </a:lvl1pPr>
          </a:lstStyle>
          <a:p>
            <a:pPr defTabSz="1087896"/>
            <a:endParaRPr lang="en-US" dirty="0">
              <a:solidFill>
                <a:srgbClr val="505050"/>
              </a:solidFill>
            </a:endParaRPr>
          </a:p>
        </p:txBody>
      </p:sp>
      <p:sp>
        <p:nvSpPr>
          <p:cNvPr id="15" name="Text Placeholder 14"/>
          <p:cNvSpPr>
            <a:spLocks noGrp="1"/>
          </p:cNvSpPr>
          <p:nvPr>
            <p:ph type="body" idx="1"/>
          </p:nvPr>
        </p:nvSpPr>
        <p:spPr>
          <a:xfrm>
            <a:off x="344124" y="1600201"/>
            <a:ext cx="11327267" cy="45720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9" name="Slide Number Placeholder 18"/>
          <p:cNvSpPr>
            <a:spLocks noGrp="1"/>
          </p:cNvSpPr>
          <p:nvPr>
            <p:ph type="sldNum" sz="quarter" idx="4"/>
          </p:nvPr>
        </p:nvSpPr>
        <p:spPr>
          <a:xfrm>
            <a:off x="11430002" y="6477875"/>
            <a:ext cx="761998" cy="380126"/>
          </a:xfrm>
          <a:prstGeom prst="rect">
            <a:avLst/>
          </a:prstGeom>
        </p:spPr>
        <p:txBody>
          <a:bodyPr vert="horz" lIns="91440" tIns="45720" rIns="91440" bIns="45720" rtlCol="0" anchor="ctr"/>
          <a:lstStyle>
            <a:lvl1pPr algn="r">
              <a:defRPr sz="800">
                <a:solidFill>
                  <a:schemeClr val="tx1"/>
                </a:solidFill>
                <a:latin typeface="Segoe UI" pitchFamily="34" charset="0"/>
                <a:ea typeface="Segoe UI" pitchFamily="34" charset="0"/>
                <a:cs typeface="Segoe UI" pitchFamily="34" charset="0"/>
              </a:defRPr>
            </a:lvl1pPr>
          </a:lstStyle>
          <a:p>
            <a:pPr defTabSz="1087896"/>
            <a:fld id="{FAADACFB-7C71-4E89-89D2-7BBA40B7BFA9}" type="slidenum">
              <a:rPr lang="en-US" smtClean="0">
                <a:solidFill>
                  <a:srgbClr val="505050"/>
                </a:solidFill>
              </a:rPr>
              <a:pPr defTabSz="1087896"/>
              <a:t>‹#›</a:t>
            </a:fld>
            <a:endParaRPr lang="en-US" dirty="0">
              <a:solidFill>
                <a:srgbClr val="505050"/>
              </a:solidFill>
            </a:endParaRPr>
          </a:p>
        </p:txBody>
      </p:sp>
    </p:spTree>
    <p:extLst>
      <p:ext uri="{BB962C8B-B14F-4D97-AF65-F5344CB8AC3E}">
        <p14:creationId xmlns:p14="http://schemas.microsoft.com/office/powerpoint/2010/main" val="65126674"/>
      </p:ext>
    </p:extLst>
  </p:cSld>
  <p:clrMap bg1="lt1" tx1="dk1" bg2="lt2" tx2="dk2" accent1="accent1" accent2="accent2" accent3="accent3" accent4="accent4" accent5="accent5" accent6="accent6" hlink="hlink" folHlink="folHlink"/>
  <p:sldLayoutIdLst>
    <p:sldLayoutId id="2147483947" r:id="rId1"/>
    <p:sldLayoutId id="2147483949" r:id="rId2"/>
    <p:sldLayoutId id="2147483950" r:id="rId3"/>
    <p:sldLayoutId id="2147483951" r:id="rId4"/>
    <p:sldLayoutId id="2147483952" r:id="rId5"/>
    <p:sldLayoutId id="2147483953" r:id="rId6"/>
    <p:sldLayoutId id="2147483954" r:id="rId7"/>
    <p:sldLayoutId id="2147483955" r:id="rId8"/>
    <p:sldLayoutId id="2147483960" r:id="rId9"/>
    <p:sldLayoutId id="2147483961" r:id="rId10"/>
    <p:sldLayoutId id="2147483962" r:id="rId11"/>
    <p:sldLayoutId id="2147483963" r:id="rId12"/>
    <p:sldLayoutId id="2147483964" r:id="rId13"/>
    <p:sldLayoutId id="2147483970" r:id="rId14"/>
    <p:sldLayoutId id="2147483972" r:id="rId15"/>
    <p:sldLayoutId id="2147483974" r:id="rId16"/>
    <p:sldLayoutId id="2147483975" r:id="rId17"/>
  </p:sldLayoutIdLst>
  <p:transition>
    <p:fade/>
  </p:transition>
  <p:hf hdr="0" ftr="0" dt="0"/>
  <p:txStyles>
    <p:titleStyle>
      <a:lvl1pPr marL="0" algn="l" defTabSz="1087896" rtl="0" eaLnBrk="1" latinLnBrk="0" hangingPunct="1">
        <a:lnSpc>
          <a:spcPct val="90000"/>
        </a:lnSpc>
        <a:spcBef>
          <a:spcPct val="0"/>
        </a:spcBef>
        <a:buNone/>
        <a:defRPr lang="en-US" sz="4000" kern="1200" spc="-58" baseline="0" dirty="0">
          <a:solidFill>
            <a:schemeClr val="tx1"/>
          </a:solidFill>
          <a:latin typeface="Segoe UI Light" pitchFamily="34" charset="0"/>
          <a:ea typeface="Segoe UI" pitchFamily="34" charset="0"/>
          <a:cs typeface="Segoe UI" pitchFamily="34" charset="0"/>
        </a:defRPr>
      </a:lvl1pPr>
    </p:titleStyle>
    <p:bodyStyle>
      <a:lvl1pPr marL="0" indent="0" algn="l" defTabSz="1087896" rtl="0" eaLnBrk="1" latinLnBrk="0" hangingPunct="1">
        <a:spcBef>
          <a:spcPts val="1800"/>
        </a:spcBef>
        <a:buClr>
          <a:schemeClr val="accent4"/>
        </a:buClr>
        <a:buSzPct val="100000"/>
        <a:buFont typeface="Wingdings" pitchFamily="2" charset="2"/>
        <a:buNone/>
        <a:defRPr sz="2400" kern="1200">
          <a:solidFill>
            <a:schemeClr val="tx1"/>
          </a:solidFill>
          <a:latin typeface="Segoe UI" pitchFamily="34" charset="0"/>
          <a:ea typeface="Segoe UI" pitchFamily="34" charset="0"/>
          <a:cs typeface="Segoe UI" pitchFamily="34" charset="0"/>
        </a:defRPr>
      </a:lvl1pPr>
      <a:lvl2pPr marL="475979" indent="-194358" algn="l" defTabSz="1087896" rtl="0" eaLnBrk="1" latinLnBrk="0" hangingPunct="1">
        <a:spcBef>
          <a:spcPct val="20000"/>
        </a:spcBef>
        <a:buFont typeface="Arial" pitchFamily="34" charset="0"/>
        <a:buChar char="•"/>
        <a:defRPr sz="1800" kern="1200">
          <a:solidFill>
            <a:schemeClr val="tx1"/>
          </a:solidFill>
          <a:latin typeface="Segoe UI" pitchFamily="34" charset="0"/>
          <a:ea typeface="Segoe UI" pitchFamily="34" charset="0"/>
          <a:cs typeface="Segoe UI" pitchFamily="34" charset="0"/>
        </a:defRPr>
      </a:lvl2pPr>
      <a:lvl3pPr marL="761566" indent="-173202" algn="l" defTabSz="1087896" rtl="0" eaLnBrk="1" latinLnBrk="0" hangingPunct="1">
        <a:spcBef>
          <a:spcPct val="20000"/>
        </a:spcBef>
        <a:buFont typeface="Arial" pitchFamily="34" charset="0"/>
        <a:buChar char="•"/>
        <a:defRPr sz="1600" kern="1200">
          <a:solidFill>
            <a:schemeClr val="tx1"/>
          </a:solidFill>
          <a:latin typeface="Segoe UI" pitchFamily="34" charset="0"/>
          <a:ea typeface="Segoe UI" pitchFamily="34" charset="0"/>
          <a:cs typeface="Segoe UI" pitchFamily="34" charset="0"/>
        </a:defRPr>
      </a:lvl3pPr>
      <a:lvl4pPr marL="1047153" indent="-177170"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4pPr>
      <a:lvl5pPr marL="1285142" indent="-179814" algn="l" defTabSz="1087896" rtl="0" eaLnBrk="1" latinLnBrk="0" hangingPunct="1">
        <a:spcBef>
          <a:spcPct val="20000"/>
        </a:spcBef>
        <a:buFont typeface="Arial" pitchFamily="34" charset="0"/>
        <a:buChar char="»"/>
        <a:defRPr sz="1400" kern="1200">
          <a:solidFill>
            <a:schemeClr val="tx1"/>
          </a:solidFill>
          <a:latin typeface="Segoe UI" pitchFamily="34" charset="0"/>
          <a:ea typeface="Segoe UI" pitchFamily="34" charset="0"/>
          <a:cs typeface="Segoe UI" pitchFamily="34" charset="0"/>
        </a:defRPr>
      </a:lvl5pPr>
      <a:lvl6pPr marL="2991716"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6pPr>
      <a:lvl7pPr marL="353566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7pPr>
      <a:lvl8pPr marL="4079613"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8pPr>
      <a:lvl9pPr marL="4623560" indent="-271973" algn="l" defTabSz="1087896" rtl="0" eaLnBrk="1" latinLnBrk="0" hangingPunct="1">
        <a:spcBef>
          <a:spcPct val="20000"/>
        </a:spcBef>
        <a:buFont typeface="Arial" pitchFamily="34" charset="0"/>
        <a:buChar char="•"/>
        <a:defRPr sz="2500" kern="1200">
          <a:solidFill>
            <a:schemeClr val="tx1"/>
          </a:solidFill>
          <a:latin typeface="+mn-lt"/>
          <a:ea typeface="+mn-ea"/>
          <a:cs typeface="+mn-cs"/>
        </a:defRPr>
      </a:lvl9pPr>
    </p:bodyStyle>
    <p:otherStyle>
      <a:defPPr>
        <a:defRPr lang="en-US"/>
      </a:defPPr>
      <a:lvl1pPr marL="0" algn="l" defTabSz="1087896" rtl="0" eaLnBrk="1" latinLnBrk="0" hangingPunct="1">
        <a:defRPr sz="2200" kern="1200">
          <a:solidFill>
            <a:schemeClr val="tx1"/>
          </a:solidFill>
          <a:latin typeface="+mn-lt"/>
          <a:ea typeface="+mn-ea"/>
          <a:cs typeface="+mn-cs"/>
        </a:defRPr>
      </a:lvl1pPr>
      <a:lvl2pPr marL="543949" algn="l" defTabSz="1087896" rtl="0" eaLnBrk="1" latinLnBrk="0" hangingPunct="1">
        <a:defRPr sz="2200" kern="1200">
          <a:solidFill>
            <a:schemeClr val="tx1"/>
          </a:solidFill>
          <a:latin typeface="+mn-lt"/>
          <a:ea typeface="+mn-ea"/>
          <a:cs typeface="+mn-cs"/>
        </a:defRPr>
      </a:lvl2pPr>
      <a:lvl3pPr marL="1087896" algn="l" defTabSz="1087896" rtl="0" eaLnBrk="1" latinLnBrk="0" hangingPunct="1">
        <a:defRPr sz="2200" kern="1200">
          <a:solidFill>
            <a:schemeClr val="tx1"/>
          </a:solidFill>
          <a:latin typeface="+mn-lt"/>
          <a:ea typeface="+mn-ea"/>
          <a:cs typeface="+mn-cs"/>
        </a:defRPr>
      </a:lvl3pPr>
      <a:lvl4pPr marL="1631846" algn="l" defTabSz="1087896" rtl="0" eaLnBrk="1" latinLnBrk="0" hangingPunct="1">
        <a:defRPr sz="2200" kern="1200">
          <a:solidFill>
            <a:schemeClr val="tx1"/>
          </a:solidFill>
          <a:latin typeface="+mn-lt"/>
          <a:ea typeface="+mn-ea"/>
          <a:cs typeface="+mn-cs"/>
        </a:defRPr>
      </a:lvl4pPr>
      <a:lvl5pPr marL="2175793" algn="l" defTabSz="1087896" rtl="0" eaLnBrk="1" latinLnBrk="0" hangingPunct="1">
        <a:defRPr sz="2200" kern="1200">
          <a:solidFill>
            <a:schemeClr val="tx1"/>
          </a:solidFill>
          <a:latin typeface="+mn-lt"/>
          <a:ea typeface="+mn-ea"/>
          <a:cs typeface="+mn-cs"/>
        </a:defRPr>
      </a:lvl5pPr>
      <a:lvl6pPr marL="2719741" algn="l" defTabSz="1087896" rtl="0" eaLnBrk="1" latinLnBrk="0" hangingPunct="1">
        <a:defRPr sz="2200" kern="1200">
          <a:solidFill>
            <a:schemeClr val="tx1"/>
          </a:solidFill>
          <a:latin typeface="+mn-lt"/>
          <a:ea typeface="+mn-ea"/>
          <a:cs typeface="+mn-cs"/>
        </a:defRPr>
      </a:lvl6pPr>
      <a:lvl7pPr marL="3263689" algn="l" defTabSz="1087896" rtl="0" eaLnBrk="1" latinLnBrk="0" hangingPunct="1">
        <a:defRPr sz="2200" kern="1200">
          <a:solidFill>
            <a:schemeClr val="tx1"/>
          </a:solidFill>
          <a:latin typeface="+mn-lt"/>
          <a:ea typeface="+mn-ea"/>
          <a:cs typeface="+mn-cs"/>
        </a:defRPr>
      </a:lvl7pPr>
      <a:lvl8pPr marL="3807638" algn="l" defTabSz="1087896" rtl="0" eaLnBrk="1" latinLnBrk="0" hangingPunct="1">
        <a:defRPr sz="2200" kern="1200">
          <a:solidFill>
            <a:schemeClr val="tx1"/>
          </a:solidFill>
          <a:latin typeface="+mn-lt"/>
          <a:ea typeface="+mn-ea"/>
          <a:cs typeface="+mn-cs"/>
        </a:defRPr>
      </a:lvl8pPr>
      <a:lvl9pPr marL="4351586" algn="l" defTabSz="1087896" rtl="0" eaLnBrk="1" latinLnBrk="0" hangingPunct="1">
        <a:defRPr sz="22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55">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guide id="15" orient="horz" pos="1872">
          <p15:clr>
            <a:srgbClr val="5ACBF0"/>
          </p15:clr>
        </p15:guide>
        <p15:guide id="16" orient="horz" pos="1296">
          <p15:clr>
            <a:srgbClr val="5ACBF0"/>
          </p15:clr>
        </p15:guide>
        <p15:guide id="17" orient="horz" pos="720">
          <p15:clr>
            <a:srgbClr val="5ACBF0"/>
          </p15:clr>
        </p15:guide>
        <p15:guide id="18" orient="horz" pos="144">
          <p15:clr>
            <a:srgbClr val="5ACBF0"/>
          </p15:clr>
        </p15:guide>
        <p15:guide id="19" orient="horz" pos="2448">
          <p15:clr>
            <a:srgbClr val="5ACBF0"/>
          </p15:clr>
        </p15:guide>
        <p15:guide id="20" orient="horz" pos="3024">
          <p15:clr>
            <a:srgbClr val="5ACBF0"/>
          </p15:clr>
        </p15:guide>
        <p15:guide id="21" orient="horz" pos="3600">
          <p15:clr>
            <a:srgbClr val="5ACBF0"/>
          </p15:clr>
        </p15:guide>
        <p15:guide id="22" orient="horz" pos="4176">
          <p15:clr>
            <a:srgbClr val="5ACBF0"/>
          </p15:clr>
        </p15:guide>
        <p15:guide id="23" orient="horz" pos="2160">
          <p15:clr>
            <a:srgbClr val="F26B43"/>
          </p15:clr>
        </p15:guide>
        <p15:guide id="24" orient="horz" pos="240">
          <p15:clr>
            <a:srgbClr val="F26B43"/>
          </p15:clr>
        </p15:guide>
        <p15:guide id="25" orient="horz" pos="4080">
          <p15:clr>
            <a:srgbClr val="F26B43"/>
          </p15:clr>
        </p15:guide>
        <p15:guide id="26" pos="3839">
          <p15:clr>
            <a:srgbClr val="F26B43"/>
          </p15:clr>
        </p15:guide>
        <p15:guide id="27" pos="191">
          <p15:clr>
            <a:srgbClr val="F26B43"/>
          </p15:clr>
        </p15:guide>
        <p15:guide id="28" pos="7487">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xml"/><Relationship Id="rId1" Type="http://schemas.openxmlformats.org/officeDocument/2006/relationships/slideLayout" Target="../slideLayouts/slideLayout199.xml"/><Relationship Id="rId4" Type="http://schemas.microsoft.com/office/2007/relationships/hdphoto" Target="../media/hdphoto1.wdp"/></Relationships>
</file>

<file path=ppt/slides/_rels/slide10.xml.rels><?xml version="1.0" encoding="UTF-8" standalone="yes"?>
<Relationships xmlns="http://schemas.openxmlformats.org/package/2006/relationships"><Relationship Id="rId3" Type="http://schemas.openxmlformats.org/officeDocument/2006/relationships/image" Target="../media/image83.emf"/><Relationship Id="rId2" Type="http://schemas.openxmlformats.org/officeDocument/2006/relationships/image" Target="../media/image82.emf"/><Relationship Id="rId1" Type="http://schemas.openxmlformats.org/officeDocument/2006/relationships/slideLayout" Target="../slideLayouts/slideLayout6.xml"/><Relationship Id="rId5" Type="http://schemas.openxmlformats.org/officeDocument/2006/relationships/image" Target="../media/image85.emf"/><Relationship Id="rId4" Type="http://schemas.openxmlformats.org/officeDocument/2006/relationships/image" Target="../media/image84.emf"/></Relationships>
</file>

<file path=ppt/slides/_rels/slide11.xml.rels><?xml version="1.0" encoding="UTF-8" standalone="yes"?>
<Relationships xmlns="http://schemas.openxmlformats.org/package/2006/relationships"><Relationship Id="rId2" Type="http://schemas.openxmlformats.org/officeDocument/2006/relationships/image" Target="../media/image86.emf"/><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8" Type="http://schemas.openxmlformats.org/officeDocument/2006/relationships/image" Target="../media/image93.png"/><Relationship Id="rId3" Type="http://schemas.openxmlformats.org/officeDocument/2006/relationships/image" Target="../media/image88.png"/><Relationship Id="rId7" Type="http://schemas.openxmlformats.org/officeDocument/2006/relationships/image" Target="../media/image92.png"/><Relationship Id="rId2" Type="http://schemas.openxmlformats.org/officeDocument/2006/relationships/image" Target="../media/image87.png"/><Relationship Id="rId1" Type="http://schemas.openxmlformats.org/officeDocument/2006/relationships/slideLayout" Target="../slideLayouts/slideLayout6.xml"/><Relationship Id="rId6" Type="http://schemas.openxmlformats.org/officeDocument/2006/relationships/image" Target="../media/image91.emf"/><Relationship Id="rId5" Type="http://schemas.openxmlformats.org/officeDocument/2006/relationships/image" Target="../media/image90.png"/><Relationship Id="rId4" Type="http://schemas.openxmlformats.org/officeDocument/2006/relationships/image" Target="../media/image89.png"/></Relationships>
</file>

<file path=ppt/slides/_rels/slide13.xml.rels><?xml version="1.0" encoding="UTF-8" standalone="yes"?>
<Relationships xmlns="http://schemas.openxmlformats.org/package/2006/relationships"><Relationship Id="rId3" Type="http://schemas.openxmlformats.org/officeDocument/2006/relationships/image" Target="../media/image94.emf"/><Relationship Id="rId7" Type="http://schemas.openxmlformats.org/officeDocument/2006/relationships/image" Target="../media/image98.png"/><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14.xml.rels><?xml version="1.0" encoding="UTF-8" standalone="yes"?>
<Relationships xmlns="http://schemas.openxmlformats.org/package/2006/relationships"><Relationship Id="rId8" Type="http://schemas.openxmlformats.org/officeDocument/2006/relationships/image" Target="../media/image104.gif"/><Relationship Id="rId3" Type="http://schemas.openxmlformats.org/officeDocument/2006/relationships/image" Target="../media/image99.png"/><Relationship Id="rId7" Type="http://schemas.openxmlformats.org/officeDocument/2006/relationships/image" Target="../media/image103.jpeg"/><Relationship Id="rId2" Type="http://schemas.openxmlformats.org/officeDocument/2006/relationships/notesSlide" Target="../notesSlides/notesSlide9.xml"/><Relationship Id="rId1" Type="http://schemas.openxmlformats.org/officeDocument/2006/relationships/slideLayout" Target="../slideLayouts/slideLayout194.xml"/><Relationship Id="rId6" Type="http://schemas.openxmlformats.org/officeDocument/2006/relationships/image" Target="../media/image102.pn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jpeg"/><Relationship Id="rId9" Type="http://schemas.openxmlformats.org/officeDocument/2006/relationships/image" Target="../media/image105.jpe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94.xml"/></Relationships>
</file>

<file path=ppt/slides/_rels/slide16.xml.rels><?xml version="1.0" encoding="UTF-8" standalone="yes"?>
<Relationships xmlns="http://schemas.openxmlformats.org/package/2006/relationships"><Relationship Id="rId8" Type="http://schemas.openxmlformats.org/officeDocument/2006/relationships/image" Target="../media/image110.jpeg"/><Relationship Id="rId3" Type="http://schemas.openxmlformats.org/officeDocument/2006/relationships/hyperlink" Target="mailto:amashika@microsoft.com" TargetMode="External"/><Relationship Id="rId7" Type="http://schemas.microsoft.com/office/2007/relationships/hdphoto" Target="../media/hdphoto4.wdp"/><Relationship Id="rId2" Type="http://schemas.openxmlformats.org/officeDocument/2006/relationships/notesSlide" Target="../notesSlides/notesSlide11.xml"/><Relationship Id="rId1" Type="http://schemas.openxmlformats.org/officeDocument/2006/relationships/slideLayout" Target="../slideLayouts/slideLayout198.xml"/><Relationship Id="rId6" Type="http://schemas.openxmlformats.org/officeDocument/2006/relationships/image" Target="../media/image109.png"/><Relationship Id="rId5" Type="http://schemas.openxmlformats.org/officeDocument/2006/relationships/image" Target="../media/image108.jpg"/><Relationship Id="rId4" Type="http://schemas.openxmlformats.org/officeDocument/2006/relationships/image" Target="../media/image107.png"/><Relationship Id="rId9" Type="http://schemas.openxmlformats.org/officeDocument/2006/relationships/image" Target="file://localhost/Users/curt.cutler/Desktop/clients/Microsoft/100260920%20-%20MICR%20Creative%20Sols%20for%20WW%20Public%20Sector/working/psd/MS%20images/MSB09_George_003.jpg" TargetMode="External"/></Relationships>
</file>

<file path=ppt/slides/_rels/slide2.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37.jpeg"/><Relationship Id="rId7" Type="http://schemas.openxmlformats.org/officeDocument/2006/relationships/image" Target="../media/image41.emf"/><Relationship Id="rId2" Type="http://schemas.openxmlformats.org/officeDocument/2006/relationships/notesSlide" Target="../notesSlides/notesSlide2.xml"/><Relationship Id="rId1" Type="http://schemas.openxmlformats.org/officeDocument/2006/relationships/slideLayout" Target="../slideLayouts/slideLayout194.xml"/><Relationship Id="rId6" Type="http://schemas.openxmlformats.org/officeDocument/2006/relationships/image" Target="../media/image40.emf"/><Relationship Id="rId11" Type="http://schemas.openxmlformats.org/officeDocument/2006/relationships/image" Target="../media/image45.png"/><Relationship Id="rId5" Type="http://schemas.openxmlformats.org/officeDocument/2006/relationships/image" Target="../media/image39.emf"/><Relationship Id="rId10" Type="http://schemas.openxmlformats.org/officeDocument/2006/relationships/image" Target="../media/image44.png"/><Relationship Id="rId4" Type="http://schemas.openxmlformats.org/officeDocument/2006/relationships/image" Target="../media/image38.jpeg"/><Relationship Id="rId9" Type="http://schemas.openxmlformats.org/officeDocument/2006/relationships/image" Target="../media/image43.png"/></Relationships>
</file>

<file path=ppt/slides/_rels/slide3.xml.rels><?xml version="1.0" encoding="UTF-8" standalone="yes"?>
<Relationships xmlns="http://schemas.openxmlformats.org/package/2006/relationships"><Relationship Id="rId3" Type="http://schemas.openxmlformats.org/officeDocument/2006/relationships/image" Target="../media/image39.emf"/><Relationship Id="rId7" Type="http://schemas.openxmlformats.org/officeDocument/2006/relationships/image" Target="../media/image38.jpeg"/><Relationship Id="rId2" Type="http://schemas.openxmlformats.org/officeDocument/2006/relationships/notesSlide" Target="../notesSlides/notesSlide3.xml"/><Relationship Id="rId1" Type="http://schemas.openxmlformats.org/officeDocument/2006/relationships/slideLayout" Target="../slideLayouts/slideLayout194.xml"/><Relationship Id="rId6" Type="http://schemas.openxmlformats.org/officeDocument/2006/relationships/image" Target="../media/image42.emf"/><Relationship Id="rId5" Type="http://schemas.openxmlformats.org/officeDocument/2006/relationships/image" Target="../media/image41.emf"/><Relationship Id="rId4" Type="http://schemas.openxmlformats.org/officeDocument/2006/relationships/image" Target="../media/image40.emf"/></Relationships>
</file>

<file path=ppt/slides/_rels/slide4.xml.rels><?xml version="1.0" encoding="UTF-8" standalone="yes"?>
<Relationships xmlns="http://schemas.openxmlformats.org/package/2006/relationships"><Relationship Id="rId3" Type="http://schemas.openxmlformats.org/officeDocument/2006/relationships/image" Target="../media/image46.emf"/><Relationship Id="rId2" Type="http://schemas.openxmlformats.org/officeDocument/2006/relationships/notesSlide" Target="../notesSlides/notesSlide4.xml"/><Relationship Id="rId1" Type="http://schemas.openxmlformats.org/officeDocument/2006/relationships/slideLayout" Target="../slideLayouts/slideLayout195.xml"/></Relationships>
</file>

<file path=ppt/slides/_rels/slide5.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image" Target="../media/image48.png"/><Relationship Id="rId26" Type="http://schemas.openxmlformats.org/officeDocument/2006/relationships/image" Target="../media/image55.emf"/><Relationship Id="rId3" Type="http://schemas.openxmlformats.org/officeDocument/2006/relationships/tags" Target="../tags/tag8.xml"/><Relationship Id="rId21" Type="http://schemas.openxmlformats.org/officeDocument/2006/relationships/image" Target="../media/image50.emf"/><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image" Target="../media/image47.png"/><Relationship Id="rId25" Type="http://schemas.openxmlformats.org/officeDocument/2006/relationships/image" Target="../media/image54.emf"/><Relationship Id="rId2" Type="http://schemas.openxmlformats.org/officeDocument/2006/relationships/tags" Target="../tags/tag7.xml"/><Relationship Id="rId16" Type="http://schemas.openxmlformats.org/officeDocument/2006/relationships/notesSlide" Target="../notesSlides/notesSlide5.xml"/><Relationship Id="rId20" Type="http://schemas.microsoft.com/office/2007/relationships/hdphoto" Target="../media/hdphoto2.wdp"/><Relationship Id="rId29" Type="http://schemas.openxmlformats.org/officeDocument/2006/relationships/image" Target="../media/image58.emf"/><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image" Target="../media/image53.emf"/><Relationship Id="rId32" Type="http://schemas.microsoft.com/office/2007/relationships/hdphoto" Target="../media/hdphoto3.wdp"/><Relationship Id="rId5" Type="http://schemas.openxmlformats.org/officeDocument/2006/relationships/tags" Target="../tags/tag10.xml"/><Relationship Id="rId15" Type="http://schemas.openxmlformats.org/officeDocument/2006/relationships/slideLayout" Target="../slideLayouts/slideLayout194.xml"/><Relationship Id="rId23" Type="http://schemas.openxmlformats.org/officeDocument/2006/relationships/image" Target="../media/image52.emf"/><Relationship Id="rId28" Type="http://schemas.openxmlformats.org/officeDocument/2006/relationships/image" Target="../media/image57.emf"/><Relationship Id="rId10" Type="http://schemas.openxmlformats.org/officeDocument/2006/relationships/tags" Target="../tags/tag15.xml"/><Relationship Id="rId19" Type="http://schemas.openxmlformats.org/officeDocument/2006/relationships/image" Target="../media/image49.png"/><Relationship Id="rId31" Type="http://schemas.openxmlformats.org/officeDocument/2006/relationships/image" Target="../media/image60.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image" Target="../media/image51.emf"/><Relationship Id="rId27" Type="http://schemas.openxmlformats.org/officeDocument/2006/relationships/image" Target="../media/image56.emf"/><Relationship Id="rId30" Type="http://schemas.openxmlformats.org/officeDocument/2006/relationships/image" Target="../media/image59.emf"/></Relationships>
</file>

<file path=ppt/slides/_rels/slide6.xml.rels><?xml version="1.0" encoding="UTF-8" standalone="yes"?>
<Relationships xmlns="http://schemas.openxmlformats.org/package/2006/relationships"><Relationship Id="rId8" Type="http://schemas.openxmlformats.org/officeDocument/2006/relationships/image" Target="../media/image63.jpg"/><Relationship Id="rId3" Type="http://schemas.openxmlformats.org/officeDocument/2006/relationships/image" Target="../media/image61.jpe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96.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62.png"/><Relationship Id="rId9" Type="http://schemas.openxmlformats.org/officeDocument/2006/relationships/image" Target="../media/image64.jpg"/></Relationships>
</file>

<file path=ppt/slides/_rels/slide7.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jpeg"/><Relationship Id="rId2" Type="http://schemas.openxmlformats.org/officeDocument/2006/relationships/notesSlide" Target="../notesSlides/notesSlide7.xml"/><Relationship Id="rId1" Type="http://schemas.openxmlformats.org/officeDocument/2006/relationships/slideLayout" Target="../slideLayouts/slideLayout197.xml"/><Relationship Id="rId6" Type="http://schemas.openxmlformats.org/officeDocument/2006/relationships/image" Target="../media/image68.jpeg"/><Relationship Id="rId5" Type="http://schemas.openxmlformats.org/officeDocument/2006/relationships/image" Target="../media/image67.jpeg"/><Relationship Id="rId4" Type="http://schemas.openxmlformats.org/officeDocument/2006/relationships/image" Target="../media/image66.png"/></Relationships>
</file>

<file path=ppt/slides/_rels/slide8.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jpeg"/><Relationship Id="rId1" Type="http://schemas.openxmlformats.org/officeDocument/2006/relationships/slideLayout" Target="../slideLayouts/slideLayout194.xml"/><Relationship Id="rId4" Type="http://schemas.openxmlformats.org/officeDocument/2006/relationships/image" Target="../media/image72.emf"/></Relationships>
</file>

<file path=ppt/slides/_rels/slide9.xml.rels><?xml version="1.0" encoding="UTF-8" standalone="yes"?>
<Relationships xmlns="http://schemas.openxmlformats.org/package/2006/relationships"><Relationship Id="rId8" Type="http://schemas.openxmlformats.org/officeDocument/2006/relationships/image" Target="../media/image79.emf"/><Relationship Id="rId3" Type="http://schemas.openxmlformats.org/officeDocument/2006/relationships/image" Target="../media/image74.emf"/><Relationship Id="rId7" Type="http://schemas.openxmlformats.org/officeDocument/2006/relationships/image" Target="../media/image78.emf"/><Relationship Id="rId2" Type="http://schemas.openxmlformats.org/officeDocument/2006/relationships/image" Target="../media/image73.emf"/><Relationship Id="rId1" Type="http://schemas.openxmlformats.org/officeDocument/2006/relationships/slideLayout" Target="../slideLayouts/slideLayout6.xml"/><Relationship Id="rId6" Type="http://schemas.openxmlformats.org/officeDocument/2006/relationships/image" Target="../media/image77.png"/><Relationship Id="rId5" Type="http://schemas.openxmlformats.org/officeDocument/2006/relationships/image" Target="../media/image76.emf"/><Relationship Id="rId10" Type="http://schemas.openxmlformats.org/officeDocument/2006/relationships/image" Target="../media/image81.emf"/><Relationship Id="rId4" Type="http://schemas.openxmlformats.org/officeDocument/2006/relationships/image" Target="../media/image75.emf"/><Relationship Id="rId9" Type="http://schemas.openxmlformats.org/officeDocument/2006/relationships/image" Target="../media/image80.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03758" y="4869166"/>
            <a:ext cx="6300242" cy="1200155"/>
          </a:xfrm>
        </p:spPr>
        <p:txBody>
          <a:bodyPr>
            <a:normAutofit/>
          </a:bodyPr>
          <a:lstStyle/>
          <a:p>
            <a:r>
              <a:rPr lang="ru-RU" sz="2800" dirty="0"/>
              <a:t>Александр </a:t>
            </a:r>
            <a:r>
              <a:rPr lang="ru-RU" sz="2800" dirty="0" err="1"/>
              <a:t>Машика</a:t>
            </a:r>
            <a:r>
              <a:rPr lang="ru-RU" sz="2800" dirty="0"/>
              <a:t>, </a:t>
            </a:r>
            <a:r>
              <a:rPr lang="en-US" sz="2800" dirty="0"/>
              <a:t>Microsoft</a:t>
            </a:r>
          </a:p>
          <a:p>
            <a:r>
              <a:rPr lang="en-US" sz="2800" dirty="0"/>
              <a:t>e-mail: amashika@microsoft.com</a:t>
            </a:r>
          </a:p>
          <a:p>
            <a:r>
              <a:rPr lang="ru-RU" sz="2800" dirty="0"/>
              <a:t>Октябрь 2016 г.</a:t>
            </a:r>
          </a:p>
        </p:txBody>
      </p:sp>
      <p:pic>
        <p:nvPicPr>
          <p:cNvPr id="6" name="Picture 5"/>
          <p:cNvPicPr>
            <a:picLocks noChangeAspect="1"/>
          </p:cNvPicPr>
          <p:nvPr/>
        </p:nvPicPr>
        <p:blipFill rotWithShape="1">
          <a:blip r:embed="rId3" cstate="print">
            <a:extLst>
              <a:ext uri="{BEBA8EAE-BF5A-486C-A8C5-ECC9F3942E4B}">
                <a14:imgProps xmlns:a14="http://schemas.microsoft.com/office/drawing/2010/main">
                  <a14:imgLayer r:embed="rId4">
                    <a14:imgEffect>
                      <a14:artisticPencilGrayscale trans="65000"/>
                    </a14:imgEffect>
                    <a14:imgEffect>
                      <a14:sharpenSoften amount="50000"/>
                    </a14:imgEffect>
                  </a14:imgLayer>
                </a14:imgProps>
              </a:ext>
              <a:ext uri="{28A0092B-C50C-407E-A947-70E740481C1C}">
                <a14:useLocalDpi xmlns:a14="http://schemas.microsoft.com/office/drawing/2010/main" val="0"/>
              </a:ext>
            </a:extLst>
          </a:blip>
          <a:srcRect l="40635" r="9225"/>
          <a:stretch/>
        </p:blipFill>
        <p:spPr>
          <a:xfrm>
            <a:off x="7574850" y="-5895"/>
            <a:ext cx="4603532" cy="6858000"/>
          </a:xfrm>
          <a:prstGeom prst="rect">
            <a:avLst/>
          </a:prstGeom>
        </p:spPr>
      </p:pic>
      <p:sp>
        <p:nvSpPr>
          <p:cNvPr id="4" name="Rectangle 2"/>
          <p:cNvSpPr>
            <a:spLocks noChangeArrowheads="1"/>
          </p:cNvSpPr>
          <p:nvPr/>
        </p:nvSpPr>
        <p:spPr bwMode="auto">
          <a:xfrm>
            <a:off x="129309" y="1356568"/>
            <a:ext cx="7361382" cy="25545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53958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ru-RU" altLang="ru-RU" sz="4000" dirty="0">
                <a:solidFill>
                  <a:schemeClr val="bg2"/>
                </a:solidFill>
                <a:latin typeface="Segoe UI Light" pitchFamily="34" charset="0"/>
                <a:ea typeface="+mj-ea"/>
                <a:cs typeface="+mj-cs"/>
              </a:rPr>
              <a:t>Технологии </a:t>
            </a:r>
            <a:r>
              <a:rPr lang="en-US" altLang="ru-RU" sz="4000" dirty="0">
                <a:solidFill>
                  <a:schemeClr val="bg2"/>
                </a:solidFill>
                <a:latin typeface="Segoe UI Light" pitchFamily="34" charset="0"/>
                <a:ea typeface="+mj-ea"/>
                <a:cs typeface="+mj-cs"/>
              </a:rPr>
              <a:t>Microsoft</a:t>
            </a:r>
            <a:r>
              <a:rPr lang="ru-RU" altLang="ru-RU" sz="4000" dirty="0">
                <a:solidFill>
                  <a:schemeClr val="bg2"/>
                </a:solidFill>
                <a:latin typeface="Segoe UI Light" pitchFamily="34" charset="0"/>
                <a:ea typeface="+mj-ea"/>
                <a:cs typeface="+mj-cs"/>
              </a:rPr>
              <a:t> для повышения эффективности управления муниципальными образованиями</a:t>
            </a:r>
          </a:p>
        </p:txBody>
      </p:sp>
    </p:spTree>
    <p:extLst>
      <p:ext uri="{BB962C8B-B14F-4D97-AF65-F5344CB8AC3E}">
        <p14:creationId xmlns:p14="http://schemas.microsoft.com/office/powerpoint/2010/main" val="2415281964"/>
      </p:ext>
    </p:extLst>
  </p:cSld>
  <p:clrMapOvr>
    <a:masterClrMapping/>
  </p:clrMapOvr>
  <p:transition spd="slow">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Сбор данных</a:t>
            </a:r>
          </a:p>
        </p:txBody>
      </p:sp>
      <p:pic>
        <p:nvPicPr>
          <p:cNvPr id="8" name="Рисунок 7"/>
          <p:cNvPicPr>
            <a:picLocks noChangeAspect="1"/>
          </p:cNvPicPr>
          <p:nvPr/>
        </p:nvPicPr>
        <p:blipFill>
          <a:blip r:embed="rId2"/>
          <a:stretch>
            <a:fillRect/>
          </a:stretch>
        </p:blipFill>
        <p:spPr>
          <a:xfrm>
            <a:off x="417016" y="3926159"/>
            <a:ext cx="5800977" cy="2437696"/>
          </a:xfrm>
          <a:prstGeom prst="rect">
            <a:avLst/>
          </a:prstGeom>
        </p:spPr>
      </p:pic>
      <p:pic>
        <p:nvPicPr>
          <p:cNvPr id="9" name="Рисунок 8"/>
          <p:cNvPicPr>
            <a:picLocks noChangeAspect="1"/>
          </p:cNvPicPr>
          <p:nvPr/>
        </p:nvPicPr>
        <p:blipFill>
          <a:blip r:embed="rId3"/>
          <a:stretch>
            <a:fillRect/>
          </a:stretch>
        </p:blipFill>
        <p:spPr>
          <a:xfrm>
            <a:off x="6866097" y="1568175"/>
            <a:ext cx="4660883" cy="2230408"/>
          </a:xfrm>
          <a:prstGeom prst="rect">
            <a:avLst/>
          </a:prstGeom>
        </p:spPr>
      </p:pic>
      <p:pic>
        <p:nvPicPr>
          <p:cNvPr id="10" name="Рисунок 9"/>
          <p:cNvPicPr>
            <a:picLocks noChangeAspect="1"/>
          </p:cNvPicPr>
          <p:nvPr/>
        </p:nvPicPr>
        <p:blipFill>
          <a:blip r:embed="rId4"/>
          <a:stretch>
            <a:fillRect/>
          </a:stretch>
        </p:blipFill>
        <p:spPr>
          <a:xfrm>
            <a:off x="6866096" y="3926159"/>
            <a:ext cx="4660883" cy="2437696"/>
          </a:xfrm>
          <a:prstGeom prst="rect">
            <a:avLst/>
          </a:prstGeom>
        </p:spPr>
      </p:pic>
      <p:pic>
        <p:nvPicPr>
          <p:cNvPr id="11" name="Рисунок 10"/>
          <p:cNvPicPr>
            <a:picLocks noChangeAspect="1"/>
          </p:cNvPicPr>
          <p:nvPr/>
        </p:nvPicPr>
        <p:blipFill>
          <a:blip r:embed="rId5"/>
          <a:stretch>
            <a:fillRect/>
          </a:stretch>
        </p:blipFill>
        <p:spPr>
          <a:xfrm>
            <a:off x="417016" y="1568176"/>
            <a:ext cx="5800977" cy="2230408"/>
          </a:xfrm>
          <a:prstGeom prst="rect">
            <a:avLst/>
          </a:prstGeom>
        </p:spPr>
      </p:pic>
    </p:spTree>
    <p:extLst>
      <p:ext uri="{BB962C8B-B14F-4D97-AF65-F5344CB8AC3E}">
        <p14:creationId xmlns:p14="http://schemas.microsoft.com/office/powerpoint/2010/main" val="107654088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a:t>Аналитический отчет</a:t>
            </a:r>
          </a:p>
        </p:txBody>
      </p:sp>
      <p:pic>
        <p:nvPicPr>
          <p:cNvPr id="3" name="Рисунок 2"/>
          <p:cNvPicPr>
            <a:picLocks noChangeAspect="1"/>
          </p:cNvPicPr>
          <p:nvPr/>
        </p:nvPicPr>
        <p:blipFill>
          <a:blip r:embed="rId2"/>
          <a:stretch>
            <a:fillRect/>
          </a:stretch>
        </p:blipFill>
        <p:spPr>
          <a:xfrm>
            <a:off x="323273" y="1514764"/>
            <a:ext cx="11443854" cy="5043054"/>
          </a:xfrm>
          <a:prstGeom prst="rect">
            <a:avLst/>
          </a:prstGeom>
        </p:spPr>
      </p:pic>
    </p:spTree>
    <p:extLst>
      <p:ext uri="{BB962C8B-B14F-4D97-AF65-F5344CB8AC3E}">
        <p14:creationId xmlns:p14="http://schemas.microsoft.com/office/powerpoint/2010/main" val="2409061245"/>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47" name="Group 146"/>
          <p:cNvGrpSpPr/>
          <p:nvPr/>
        </p:nvGrpSpPr>
        <p:grpSpPr>
          <a:xfrm>
            <a:off x="1721891" y="1368863"/>
            <a:ext cx="8742866" cy="832514"/>
            <a:chOff x="1721891" y="1368863"/>
            <a:chExt cx="8742866" cy="832514"/>
          </a:xfrm>
        </p:grpSpPr>
        <p:sp>
          <p:nvSpPr>
            <p:cNvPr id="144" name="Rectangle 143"/>
            <p:cNvSpPr/>
            <p:nvPr/>
          </p:nvSpPr>
          <p:spPr>
            <a:xfrm>
              <a:off x="1721901" y="1368863"/>
              <a:ext cx="8742856" cy="832514"/>
            </a:xfrm>
            <a:prstGeom prst="rect">
              <a:avLst/>
            </a:prstGeom>
            <a:gradFill>
              <a:gsLst>
                <a:gs pos="0">
                  <a:schemeClr val="bg1">
                    <a:lumMod val="85000"/>
                  </a:schemeClr>
                </a:gs>
                <a:gs pos="43000">
                  <a:schemeClr val="bg1">
                    <a:lumMod val="95000"/>
                  </a:schemeClr>
                </a:gs>
                <a:gs pos="83000">
                  <a:schemeClr val="bg1"/>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1800" b="0" i="0" u="none" strike="noStrike" kern="0" cap="none" spc="0" normalizeH="0" baseline="0" noProof="0">
                <a:ln>
                  <a:noFill/>
                </a:ln>
                <a:solidFill>
                  <a:sysClr val="windowText" lastClr="000000"/>
                </a:solidFill>
                <a:effectLst/>
                <a:uLnTx/>
                <a:uFillTx/>
              </a:endParaRPr>
            </a:p>
          </p:txBody>
        </p:sp>
        <p:sp>
          <p:nvSpPr>
            <p:cNvPr id="145" name="TextBox 144"/>
            <p:cNvSpPr txBox="1"/>
            <p:nvPr/>
          </p:nvSpPr>
          <p:spPr>
            <a:xfrm>
              <a:off x="1721891" y="1390432"/>
              <a:ext cx="8742866" cy="400110"/>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dirty="0">
                  <a:ln>
                    <a:noFill/>
                  </a:ln>
                  <a:solidFill>
                    <a:schemeClr val="tx1">
                      <a:lumMod val="75000"/>
                      <a:lumOff val="25000"/>
                    </a:schemeClr>
                  </a:solidFill>
                  <a:effectLst/>
                  <a:uLnTx/>
                  <a:uFillTx/>
                  <a:latin typeface="+mj-lt"/>
                </a:rPr>
                <a:t>Azure IoT Suite                                                                                  Cortana Analytics Suite </a:t>
              </a:r>
              <a:endParaRPr kumimoji="0" lang="ru-RU" sz="2000" b="0" i="0" u="none" strike="noStrike" kern="0" cap="none" spc="0" normalizeH="0" baseline="0" noProof="0" dirty="0">
                <a:ln>
                  <a:noFill/>
                </a:ln>
                <a:solidFill>
                  <a:schemeClr val="tx1">
                    <a:lumMod val="75000"/>
                    <a:lumOff val="25000"/>
                  </a:schemeClr>
                </a:solidFill>
                <a:effectLst/>
                <a:uLnTx/>
                <a:uFillTx/>
                <a:latin typeface="+mj-lt"/>
              </a:endParaRPr>
            </a:p>
          </p:txBody>
        </p:sp>
      </p:grpSp>
      <p:grpSp>
        <p:nvGrpSpPr>
          <p:cNvPr id="142" name="Group 141"/>
          <p:cNvGrpSpPr/>
          <p:nvPr/>
        </p:nvGrpSpPr>
        <p:grpSpPr>
          <a:xfrm>
            <a:off x="10727924" y="2567125"/>
            <a:ext cx="1513066" cy="2132871"/>
            <a:chOff x="10406643" y="2416997"/>
            <a:chExt cx="1513066" cy="2132871"/>
          </a:xfrm>
        </p:grpSpPr>
        <p:grpSp>
          <p:nvGrpSpPr>
            <p:cNvPr id="5" name="Group 4"/>
            <p:cNvGrpSpPr/>
            <p:nvPr/>
          </p:nvGrpSpPr>
          <p:grpSpPr>
            <a:xfrm>
              <a:off x="10406643" y="2416997"/>
              <a:ext cx="458994" cy="2132871"/>
              <a:chOff x="10616471" y="3082745"/>
              <a:chExt cx="468320" cy="2176206"/>
            </a:xfrm>
          </p:grpSpPr>
          <p:cxnSp>
            <p:nvCxnSpPr>
              <p:cNvPr id="6" name="Straight Connector 5"/>
              <p:cNvCxnSpPr/>
              <p:nvPr/>
            </p:nvCxnSpPr>
            <p:spPr>
              <a:xfrm>
                <a:off x="10826434" y="3082745"/>
                <a:ext cx="6378" cy="2169658"/>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cxnSp>
            <p:nvCxnSpPr>
              <p:cNvPr id="7" name="Straight Connector 6"/>
              <p:cNvCxnSpPr/>
              <p:nvPr/>
            </p:nvCxnSpPr>
            <p:spPr>
              <a:xfrm>
                <a:off x="10616471" y="3082745"/>
                <a:ext cx="214604" cy="1"/>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cxnSp>
            <p:nvCxnSpPr>
              <p:cNvPr id="8" name="Straight Connector 7"/>
              <p:cNvCxnSpPr/>
              <p:nvPr/>
            </p:nvCxnSpPr>
            <p:spPr>
              <a:xfrm flipV="1">
                <a:off x="10621113" y="5258632"/>
                <a:ext cx="214604" cy="319"/>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cxnSp>
            <p:nvCxnSpPr>
              <p:cNvPr id="9" name="Straight Connector 8"/>
              <p:cNvCxnSpPr>
                <a:stCxn id="47" idx="3"/>
              </p:cNvCxnSpPr>
              <p:nvPr/>
            </p:nvCxnSpPr>
            <p:spPr>
              <a:xfrm flipV="1">
                <a:off x="10675766" y="4354916"/>
                <a:ext cx="409025" cy="2906"/>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grpSp>
        <p:grpSp>
          <p:nvGrpSpPr>
            <p:cNvPr id="90" name="Group 89"/>
            <p:cNvGrpSpPr/>
            <p:nvPr/>
          </p:nvGrpSpPr>
          <p:grpSpPr>
            <a:xfrm>
              <a:off x="10704518" y="3111836"/>
              <a:ext cx="1215191" cy="1033419"/>
              <a:chOff x="10920388" y="2780901"/>
              <a:chExt cx="1239881" cy="1054416"/>
            </a:xfrm>
          </p:grpSpPr>
          <p:grpSp>
            <p:nvGrpSpPr>
              <p:cNvPr id="91" name="Group 90"/>
              <p:cNvGrpSpPr/>
              <p:nvPr/>
            </p:nvGrpSpPr>
            <p:grpSpPr>
              <a:xfrm>
                <a:off x="11311238" y="2780901"/>
                <a:ext cx="458181" cy="590870"/>
                <a:chOff x="8824650" y="2294433"/>
                <a:chExt cx="368737" cy="475523"/>
              </a:xfrm>
            </p:grpSpPr>
            <p:sp>
              <p:nvSpPr>
                <p:cNvPr id="93" name="Freeform 74"/>
                <p:cNvSpPr>
                  <a:spLocks noEditPoints="1"/>
                </p:cNvSpPr>
                <p:nvPr/>
              </p:nvSpPr>
              <p:spPr bwMode="auto">
                <a:xfrm flipH="1">
                  <a:off x="8824650"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bg1">
                    <a:lumMod val="50000"/>
                  </a:schemeClr>
                </a:solidFill>
                <a:ln>
                  <a:noFill/>
                </a:ln>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chemeClr val="bg1">
                        <a:lumMod val="50000"/>
                      </a:schemeClr>
                    </a:solidFill>
                    <a:effectLst/>
                    <a:uLnTx/>
                    <a:uFillTx/>
                  </a:endParaRPr>
                </a:p>
              </p:txBody>
            </p:sp>
            <p:sp>
              <p:nvSpPr>
                <p:cNvPr id="94" name="Freeform 74"/>
                <p:cNvSpPr>
                  <a:spLocks noEditPoints="1"/>
                </p:cNvSpPr>
                <p:nvPr/>
              </p:nvSpPr>
              <p:spPr bwMode="auto">
                <a:xfrm flipH="1">
                  <a:off x="9017274" y="2294433"/>
                  <a:ext cx="176113" cy="475523"/>
                </a:xfrm>
                <a:custGeom>
                  <a:avLst/>
                  <a:gdLst>
                    <a:gd name="T0" fmla="*/ 417 w 858"/>
                    <a:gd name="T1" fmla="*/ 0 h 2322"/>
                    <a:gd name="T2" fmla="*/ 609 w 858"/>
                    <a:gd name="T3" fmla="*/ 191 h 2322"/>
                    <a:gd name="T4" fmla="*/ 417 w 858"/>
                    <a:gd name="T5" fmla="*/ 377 h 2322"/>
                    <a:gd name="T6" fmla="*/ 226 w 858"/>
                    <a:gd name="T7" fmla="*/ 191 h 2322"/>
                    <a:gd name="T8" fmla="*/ 417 w 858"/>
                    <a:gd name="T9" fmla="*/ 0 h 2322"/>
                    <a:gd name="T10" fmla="*/ 191 w 858"/>
                    <a:gd name="T11" fmla="*/ 2218 h 2322"/>
                    <a:gd name="T12" fmla="*/ 301 w 858"/>
                    <a:gd name="T13" fmla="*/ 2322 h 2322"/>
                    <a:gd name="T14" fmla="*/ 406 w 858"/>
                    <a:gd name="T15" fmla="*/ 2218 h 2322"/>
                    <a:gd name="T16" fmla="*/ 406 w 858"/>
                    <a:gd name="T17" fmla="*/ 1324 h 2322"/>
                    <a:gd name="T18" fmla="*/ 452 w 858"/>
                    <a:gd name="T19" fmla="*/ 1324 h 2322"/>
                    <a:gd name="T20" fmla="*/ 452 w 858"/>
                    <a:gd name="T21" fmla="*/ 2218 h 2322"/>
                    <a:gd name="T22" fmla="*/ 557 w 858"/>
                    <a:gd name="T23" fmla="*/ 2322 h 2322"/>
                    <a:gd name="T24" fmla="*/ 667 w 858"/>
                    <a:gd name="T25" fmla="*/ 2218 h 2322"/>
                    <a:gd name="T26" fmla="*/ 667 w 858"/>
                    <a:gd name="T27" fmla="*/ 679 h 2322"/>
                    <a:gd name="T28" fmla="*/ 713 w 858"/>
                    <a:gd name="T29" fmla="*/ 679 h 2322"/>
                    <a:gd name="T30" fmla="*/ 713 w 858"/>
                    <a:gd name="T31" fmla="*/ 1248 h 2322"/>
                    <a:gd name="T32" fmla="*/ 858 w 858"/>
                    <a:gd name="T33" fmla="*/ 1248 h 2322"/>
                    <a:gd name="T34" fmla="*/ 858 w 858"/>
                    <a:gd name="T35" fmla="*/ 667 h 2322"/>
                    <a:gd name="T36" fmla="*/ 638 w 858"/>
                    <a:gd name="T37" fmla="*/ 418 h 2322"/>
                    <a:gd name="T38" fmla="*/ 215 w 858"/>
                    <a:gd name="T39" fmla="*/ 418 h 2322"/>
                    <a:gd name="T40" fmla="*/ 0 w 858"/>
                    <a:gd name="T41" fmla="*/ 662 h 2322"/>
                    <a:gd name="T42" fmla="*/ 0 w 858"/>
                    <a:gd name="T43" fmla="*/ 1248 h 2322"/>
                    <a:gd name="T44" fmla="*/ 145 w 858"/>
                    <a:gd name="T45" fmla="*/ 1248 h 2322"/>
                    <a:gd name="T46" fmla="*/ 145 w 858"/>
                    <a:gd name="T47" fmla="*/ 679 h 2322"/>
                    <a:gd name="T48" fmla="*/ 197 w 858"/>
                    <a:gd name="T49" fmla="*/ 679 h 2322"/>
                    <a:gd name="T50" fmla="*/ 191 w 858"/>
                    <a:gd name="T51" fmla="*/ 2218 h 2322"/>
                    <a:gd name="T52" fmla="*/ 191 w 858"/>
                    <a:gd name="T53" fmla="*/ 2218 h 2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8" h="2322">
                      <a:moveTo>
                        <a:pt x="417" y="0"/>
                      </a:moveTo>
                      <a:cubicBezTo>
                        <a:pt x="522" y="0"/>
                        <a:pt x="609" y="87"/>
                        <a:pt x="609" y="191"/>
                      </a:cubicBezTo>
                      <a:cubicBezTo>
                        <a:pt x="609" y="296"/>
                        <a:pt x="522" y="377"/>
                        <a:pt x="417" y="377"/>
                      </a:cubicBezTo>
                      <a:cubicBezTo>
                        <a:pt x="313" y="377"/>
                        <a:pt x="226" y="296"/>
                        <a:pt x="226" y="191"/>
                      </a:cubicBezTo>
                      <a:cubicBezTo>
                        <a:pt x="226" y="87"/>
                        <a:pt x="313" y="0"/>
                        <a:pt x="417" y="0"/>
                      </a:cubicBezTo>
                      <a:close/>
                      <a:moveTo>
                        <a:pt x="191" y="2218"/>
                      </a:moveTo>
                      <a:cubicBezTo>
                        <a:pt x="191" y="2276"/>
                        <a:pt x="244" y="2322"/>
                        <a:pt x="301" y="2322"/>
                      </a:cubicBezTo>
                      <a:cubicBezTo>
                        <a:pt x="359" y="2322"/>
                        <a:pt x="406" y="2276"/>
                        <a:pt x="406" y="2218"/>
                      </a:cubicBezTo>
                      <a:cubicBezTo>
                        <a:pt x="406" y="1324"/>
                        <a:pt x="406" y="1324"/>
                        <a:pt x="406" y="1324"/>
                      </a:cubicBezTo>
                      <a:cubicBezTo>
                        <a:pt x="452" y="1324"/>
                        <a:pt x="452" y="1324"/>
                        <a:pt x="452" y="1324"/>
                      </a:cubicBezTo>
                      <a:cubicBezTo>
                        <a:pt x="452" y="2218"/>
                        <a:pt x="452" y="2218"/>
                        <a:pt x="452" y="2218"/>
                      </a:cubicBezTo>
                      <a:cubicBezTo>
                        <a:pt x="452" y="2276"/>
                        <a:pt x="499" y="2322"/>
                        <a:pt x="557" y="2322"/>
                      </a:cubicBezTo>
                      <a:cubicBezTo>
                        <a:pt x="620" y="2322"/>
                        <a:pt x="667" y="2276"/>
                        <a:pt x="667" y="2218"/>
                      </a:cubicBezTo>
                      <a:cubicBezTo>
                        <a:pt x="667" y="679"/>
                        <a:pt x="667" y="679"/>
                        <a:pt x="667" y="679"/>
                      </a:cubicBezTo>
                      <a:cubicBezTo>
                        <a:pt x="713" y="679"/>
                        <a:pt x="713" y="679"/>
                        <a:pt x="713" y="679"/>
                      </a:cubicBezTo>
                      <a:cubicBezTo>
                        <a:pt x="713" y="1248"/>
                        <a:pt x="713" y="1248"/>
                        <a:pt x="713" y="1248"/>
                      </a:cubicBezTo>
                      <a:cubicBezTo>
                        <a:pt x="713" y="1358"/>
                        <a:pt x="858" y="1358"/>
                        <a:pt x="858" y="1248"/>
                      </a:cubicBezTo>
                      <a:cubicBezTo>
                        <a:pt x="858" y="667"/>
                        <a:pt x="858" y="667"/>
                        <a:pt x="858" y="667"/>
                      </a:cubicBezTo>
                      <a:cubicBezTo>
                        <a:pt x="858" y="540"/>
                        <a:pt x="788" y="418"/>
                        <a:pt x="638" y="418"/>
                      </a:cubicBezTo>
                      <a:cubicBezTo>
                        <a:pt x="215" y="418"/>
                        <a:pt x="215" y="418"/>
                        <a:pt x="215" y="418"/>
                      </a:cubicBezTo>
                      <a:cubicBezTo>
                        <a:pt x="81" y="418"/>
                        <a:pt x="0" y="528"/>
                        <a:pt x="0" y="662"/>
                      </a:cubicBezTo>
                      <a:cubicBezTo>
                        <a:pt x="0" y="1248"/>
                        <a:pt x="0" y="1248"/>
                        <a:pt x="0" y="1248"/>
                      </a:cubicBezTo>
                      <a:cubicBezTo>
                        <a:pt x="0" y="1358"/>
                        <a:pt x="145" y="1358"/>
                        <a:pt x="145" y="1248"/>
                      </a:cubicBezTo>
                      <a:cubicBezTo>
                        <a:pt x="145" y="679"/>
                        <a:pt x="145" y="679"/>
                        <a:pt x="145" y="679"/>
                      </a:cubicBezTo>
                      <a:cubicBezTo>
                        <a:pt x="197" y="679"/>
                        <a:pt x="197" y="679"/>
                        <a:pt x="197" y="679"/>
                      </a:cubicBezTo>
                      <a:cubicBezTo>
                        <a:pt x="191" y="2218"/>
                        <a:pt x="191" y="2218"/>
                        <a:pt x="191" y="2218"/>
                      </a:cubicBezTo>
                      <a:cubicBezTo>
                        <a:pt x="191" y="2218"/>
                        <a:pt x="191" y="2218"/>
                        <a:pt x="191" y="2218"/>
                      </a:cubicBezTo>
                      <a:close/>
                    </a:path>
                  </a:pathLst>
                </a:custGeom>
                <a:solidFill>
                  <a:schemeClr val="bg1">
                    <a:lumMod val="50000"/>
                  </a:schemeClr>
                </a:solidFill>
                <a:ln>
                  <a:noFill/>
                </a:ln>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chemeClr val="bg1">
                        <a:lumMod val="50000"/>
                      </a:schemeClr>
                    </a:solidFill>
                    <a:effectLst/>
                    <a:uLnTx/>
                    <a:uFillTx/>
                  </a:endParaRPr>
                </a:p>
              </p:txBody>
            </p:sp>
          </p:grpSp>
          <p:sp>
            <p:nvSpPr>
              <p:cNvPr id="92" name="TextBox 91"/>
              <p:cNvSpPr txBox="1"/>
              <p:nvPr/>
            </p:nvSpPr>
            <p:spPr>
              <a:xfrm>
                <a:off x="10920388" y="3380620"/>
                <a:ext cx="1239881" cy="454697"/>
              </a:xfrm>
              <a:prstGeom prst="rect">
                <a:avLst/>
              </a:prstGeom>
              <a:noFill/>
            </p:spPr>
            <p:txBody>
              <a:bodyPr wrap="square" lIns="179213" tIns="143370" rIns="179213" bIns="143370" rtlCol="0">
                <a:spAutoFit/>
              </a:bodyPr>
              <a:lstStyle/>
              <a:p>
                <a:pPr marL="0" marR="0" lvl="0" indent="0" algn="ctr" defTabSz="914005" eaLnBrk="1" fontAlgn="auto" latinLnBrk="0" hangingPunct="1">
                  <a:lnSpc>
                    <a:spcPct val="90000"/>
                  </a:lnSpc>
                  <a:spcBef>
                    <a:spcPct val="0"/>
                  </a:spcBef>
                  <a:spcAft>
                    <a:spcPts val="588"/>
                  </a:spcAft>
                  <a:buClrTx/>
                  <a:buSzTx/>
                  <a:buFontTx/>
                  <a:buNone/>
                  <a:tabLst/>
                  <a:defRPr/>
                </a:pP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Люди</a:t>
                </a:r>
                <a:endParaRPr kumimoji="0" lang="en-US"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grpSp>
      </p:grpSp>
      <p:grpSp>
        <p:nvGrpSpPr>
          <p:cNvPr id="143" name="Group 142"/>
          <p:cNvGrpSpPr/>
          <p:nvPr/>
        </p:nvGrpSpPr>
        <p:grpSpPr>
          <a:xfrm>
            <a:off x="10409710" y="4912958"/>
            <a:ext cx="1609838" cy="1282658"/>
            <a:chOff x="10409710" y="4762830"/>
            <a:chExt cx="1609838" cy="1282658"/>
          </a:xfrm>
        </p:grpSpPr>
        <p:cxnSp>
          <p:nvCxnSpPr>
            <p:cNvPr id="10" name="Straight Connector 9"/>
            <p:cNvCxnSpPr/>
            <p:nvPr/>
          </p:nvCxnSpPr>
          <p:spPr>
            <a:xfrm flipV="1">
              <a:off x="10409710" y="5246674"/>
              <a:ext cx="520063" cy="6389"/>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grpSp>
          <p:nvGrpSpPr>
            <p:cNvPr id="95" name="Group 94"/>
            <p:cNvGrpSpPr/>
            <p:nvPr/>
          </p:nvGrpSpPr>
          <p:grpSpPr>
            <a:xfrm>
              <a:off x="10865647" y="4762830"/>
              <a:ext cx="1153901" cy="1282658"/>
              <a:chOff x="11084790" y="4760710"/>
              <a:chExt cx="1177345" cy="1308718"/>
            </a:xfrm>
          </p:grpSpPr>
          <p:grpSp>
            <p:nvGrpSpPr>
              <p:cNvPr id="96" name="Group 95"/>
              <p:cNvGrpSpPr/>
              <p:nvPr/>
            </p:nvGrpSpPr>
            <p:grpSpPr>
              <a:xfrm>
                <a:off x="11311897" y="4760710"/>
                <a:ext cx="503712" cy="783392"/>
                <a:chOff x="8597110" y="4718972"/>
                <a:chExt cx="361215" cy="561776"/>
              </a:xfrm>
            </p:grpSpPr>
            <p:sp>
              <p:nvSpPr>
                <p:cNvPr id="98" name="Freeform 68"/>
                <p:cNvSpPr>
                  <a:spLocks/>
                </p:cNvSpPr>
                <p:nvPr/>
              </p:nvSpPr>
              <p:spPr bwMode="auto">
                <a:xfrm rot="16200000">
                  <a:off x="8612012" y="5015484"/>
                  <a:ext cx="273629" cy="256899"/>
                </a:xfrm>
                <a:custGeom>
                  <a:avLst/>
                  <a:gdLst>
                    <a:gd name="T0" fmla="*/ 564 w 1203"/>
                    <a:gd name="T1" fmla="*/ 1129 h 1129"/>
                    <a:gd name="T2" fmla="*/ 0 w 1203"/>
                    <a:gd name="T3" fmla="*/ 565 h 1129"/>
                    <a:gd name="T4" fmla="*/ 564 w 1203"/>
                    <a:gd name="T5" fmla="*/ 0 h 1129"/>
                    <a:gd name="T6" fmla="*/ 1115 w 1203"/>
                    <a:gd name="T7" fmla="*/ 443 h 1129"/>
                    <a:gd name="T8" fmla="*/ 1203 w 1203"/>
                    <a:gd name="T9" fmla="*/ 449 h 1129"/>
                    <a:gd name="T10" fmla="*/ 1055 w 1203"/>
                    <a:gd name="T11" fmla="*/ 599 h 1129"/>
                    <a:gd name="T12" fmla="*/ 876 w 1203"/>
                    <a:gd name="T13" fmla="*/ 426 h 1129"/>
                    <a:gd name="T14" fmla="*/ 963 w 1203"/>
                    <a:gd name="T15" fmla="*/ 432 h 1129"/>
                    <a:gd name="T16" fmla="*/ 431 w 1203"/>
                    <a:gd name="T17" fmla="*/ 166 h 1129"/>
                    <a:gd name="T18" fmla="*/ 165 w 1203"/>
                    <a:gd name="T19" fmla="*/ 698 h 1129"/>
                    <a:gd name="T20" fmla="*/ 564 w 1203"/>
                    <a:gd name="T21" fmla="*/ 985 h 1129"/>
                    <a:gd name="T22" fmla="*/ 564 w 1203"/>
                    <a:gd name="T23" fmla="*/ 1129 h 1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3" h="1129">
                      <a:moveTo>
                        <a:pt x="564" y="1129"/>
                      </a:moveTo>
                      <a:cubicBezTo>
                        <a:pt x="252" y="1129"/>
                        <a:pt x="0" y="877"/>
                        <a:pt x="0" y="565"/>
                      </a:cubicBezTo>
                      <a:cubicBezTo>
                        <a:pt x="0" y="253"/>
                        <a:pt x="252" y="0"/>
                        <a:pt x="564" y="0"/>
                      </a:cubicBezTo>
                      <a:cubicBezTo>
                        <a:pt x="829" y="0"/>
                        <a:pt x="1058" y="184"/>
                        <a:pt x="1115" y="443"/>
                      </a:cubicBezTo>
                      <a:cubicBezTo>
                        <a:pt x="1203" y="449"/>
                        <a:pt x="1203" y="449"/>
                        <a:pt x="1203" y="449"/>
                      </a:cubicBezTo>
                      <a:cubicBezTo>
                        <a:pt x="1055" y="599"/>
                        <a:pt x="1055" y="599"/>
                        <a:pt x="1055" y="599"/>
                      </a:cubicBezTo>
                      <a:cubicBezTo>
                        <a:pt x="876" y="426"/>
                        <a:pt x="876" y="426"/>
                        <a:pt x="876" y="426"/>
                      </a:cubicBezTo>
                      <a:cubicBezTo>
                        <a:pt x="963" y="432"/>
                        <a:pt x="963" y="432"/>
                        <a:pt x="963" y="432"/>
                      </a:cubicBezTo>
                      <a:cubicBezTo>
                        <a:pt x="889" y="212"/>
                        <a:pt x="651" y="93"/>
                        <a:pt x="431" y="166"/>
                      </a:cubicBezTo>
                      <a:cubicBezTo>
                        <a:pt x="211" y="239"/>
                        <a:pt x="92" y="477"/>
                        <a:pt x="165" y="698"/>
                      </a:cubicBezTo>
                      <a:cubicBezTo>
                        <a:pt x="222" y="869"/>
                        <a:pt x="383" y="985"/>
                        <a:pt x="564" y="985"/>
                      </a:cubicBezTo>
                      <a:lnTo>
                        <a:pt x="564" y="1129"/>
                      </a:lnTo>
                      <a:close/>
                    </a:path>
                  </a:pathLst>
                </a:custGeom>
                <a:solidFill>
                  <a:schemeClr val="bg1">
                    <a:lumMod val="50000"/>
                  </a:schemeClr>
                </a:solidFill>
                <a:ln>
                  <a:noFill/>
                </a:ln>
                <a:extLst/>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33333"/>
                    </a:solidFill>
                    <a:effectLst/>
                    <a:uLnTx/>
                    <a:uFillTx/>
                  </a:endParaRPr>
                </a:p>
              </p:txBody>
            </p:sp>
            <p:sp>
              <p:nvSpPr>
                <p:cNvPr id="99" name="Freeform 69"/>
                <p:cNvSpPr>
                  <a:spLocks/>
                </p:cNvSpPr>
                <p:nvPr/>
              </p:nvSpPr>
              <p:spPr bwMode="auto">
                <a:xfrm rot="16200000">
                  <a:off x="8699407" y="4896072"/>
                  <a:ext cx="286127" cy="231709"/>
                </a:xfrm>
                <a:custGeom>
                  <a:avLst/>
                  <a:gdLst>
                    <a:gd name="T0" fmla="*/ 219 w 1258"/>
                    <a:gd name="T1" fmla="*/ 0 h 1018"/>
                    <a:gd name="T2" fmla="*/ 321 w 1258"/>
                    <a:gd name="T3" fmla="*/ 102 h 1018"/>
                    <a:gd name="T4" fmla="*/ 321 w 1258"/>
                    <a:gd name="T5" fmla="*/ 697 h 1018"/>
                    <a:gd name="T6" fmla="*/ 916 w 1258"/>
                    <a:gd name="T7" fmla="*/ 697 h 1018"/>
                    <a:gd name="T8" fmla="*/ 1017 w 1258"/>
                    <a:gd name="T9" fmla="*/ 532 h 1018"/>
                    <a:gd name="T10" fmla="*/ 930 w 1258"/>
                    <a:gd name="T11" fmla="*/ 539 h 1018"/>
                    <a:gd name="T12" fmla="*/ 1110 w 1258"/>
                    <a:gd name="T13" fmla="*/ 365 h 1018"/>
                    <a:gd name="T14" fmla="*/ 1258 w 1258"/>
                    <a:gd name="T15" fmla="*/ 515 h 1018"/>
                    <a:gd name="T16" fmla="*/ 1170 w 1258"/>
                    <a:gd name="T17" fmla="*/ 522 h 1018"/>
                    <a:gd name="T18" fmla="*/ 496 w 1258"/>
                    <a:gd name="T19" fmla="*/ 951 h 1018"/>
                    <a:gd name="T20" fmla="*/ 67 w 1258"/>
                    <a:gd name="T21" fmla="*/ 277 h 1018"/>
                    <a:gd name="T22" fmla="*/ 219 w 1258"/>
                    <a:gd name="T23" fmla="*/ 0 h 10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58" h="1018">
                      <a:moveTo>
                        <a:pt x="219" y="0"/>
                      </a:moveTo>
                      <a:cubicBezTo>
                        <a:pt x="321" y="102"/>
                        <a:pt x="321" y="102"/>
                        <a:pt x="321" y="102"/>
                      </a:cubicBezTo>
                      <a:cubicBezTo>
                        <a:pt x="157" y="266"/>
                        <a:pt x="157" y="533"/>
                        <a:pt x="321" y="697"/>
                      </a:cubicBezTo>
                      <a:cubicBezTo>
                        <a:pt x="486" y="861"/>
                        <a:pt x="752" y="861"/>
                        <a:pt x="916" y="697"/>
                      </a:cubicBezTo>
                      <a:cubicBezTo>
                        <a:pt x="962" y="651"/>
                        <a:pt x="997" y="594"/>
                        <a:pt x="1017" y="532"/>
                      </a:cubicBezTo>
                      <a:cubicBezTo>
                        <a:pt x="930" y="539"/>
                        <a:pt x="930" y="539"/>
                        <a:pt x="930" y="539"/>
                      </a:cubicBezTo>
                      <a:cubicBezTo>
                        <a:pt x="1110" y="365"/>
                        <a:pt x="1110" y="365"/>
                        <a:pt x="1110" y="365"/>
                      </a:cubicBezTo>
                      <a:cubicBezTo>
                        <a:pt x="1258" y="515"/>
                        <a:pt x="1258" y="515"/>
                        <a:pt x="1258" y="515"/>
                      </a:cubicBezTo>
                      <a:cubicBezTo>
                        <a:pt x="1170" y="522"/>
                        <a:pt x="1170" y="522"/>
                        <a:pt x="1170" y="522"/>
                      </a:cubicBezTo>
                      <a:cubicBezTo>
                        <a:pt x="1102" y="826"/>
                        <a:pt x="801" y="1018"/>
                        <a:pt x="496" y="951"/>
                      </a:cubicBezTo>
                      <a:cubicBezTo>
                        <a:pt x="192" y="883"/>
                        <a:pt x="0" y="582"/>
                        <a:pt x="67" y="277"/>
                      </a:cubicBezTo>
                      <a:cubicBezTo>
                        <a:pt x="91" y="172"/>
                        <a:pt x="143" y="76"/>
                        <a:pt x="219" y="0"/>
                      </a:cubicBezTo>
                      <a:close/>
                    </a:path>
                  </a:pathLst>
                </a:custGeom>
                <a:solidFill>
                  <a:schemeClr val="bg1">
                    <a:lumMod val="50000"/>
                  </a:schemeClr>
                </a:solidFill>
                <a:ln>
                  <a:noFill/>
                </a:ln>
                <a:extLst/>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33333"/>
                    </a:solidFill>
                    <a:effectLst/>
                    <a:uLnTx/>
                    <a:uFillTx/>
                  </a:endParaRPr>
                </a:p>
              </p:txBody>
            </p:sp>
            <p:sp>
              <p:nvSpPr>
                <p:cNvPr id="100" name="Freeform 70"/>
                <p:cNvSpPr>
                  <a:spLocks/>
                </p:cNvSpPr>
                <p:nvPr/>
              </p:nvSpPr>
              <p:spPr bwMode="auto">
                <a:xfrm rot="16200000">
                  <a:off x="8591100" y="4724982"/>
                  <a:ext cx="281801" cy="269782"/>
                </a:xfrm>
                <a:custGeom>
                  <a:avLst/>
                  <a:gdLst>
                    <a:gd name="T0" fmla="*/ 220 w 1239"/>
                    <a:gd name="T1" fmla="*/ 1019 h 1185"/>
                    <a:gd name="T2" fmla="*/ 220 w 1239"/>
                    <a:gd name="T3" fmla="*/ 221 h 1185"/>
                    <a:gd name="T4" fmla="*/ 1019 w 1239"/>
                    <a:gd name="T5" fmla="*/ 221 h 1185"/>
                    <a:gd name="T6" fmla="*/ 1019 w 1239"/>
                    <a:gd name="T7" fmla="*/ 1019 h 1185"/>
                    <a:gd name="T8" fmla="*/ 620 w 1239"/>
                    <a:gd name="T9" fmla="*/ 1185 h 1185"/>
                    <a:gd name="T10" fmla="*/ 620 w 1239"/>
                    <a:gd name="T11" fmla="*/ 1041 h 1185"/>
                    <a:gd name="T12" fmla="*/ 1040 w 1239"/>
                    <a:gd name="T13" fmla="*/ 620 h 1185"/>
                    <a:gd name="T14" fmla="*/ 620 w 1239"/>
                    <a:gd name="T15" fmla="*/ 199 h 1185"/>
                    <a:gd name="T16" fmla="*/ 199 w 1239"/>
                    <a:gd name="T17" fmla="*/ 620 h 1185"/>
                    <a:gd name="T18" fmla="*/ 322 w 1239"/>
                    <a:gd name="T19" fmla="*/ 917 h 1185"/>
                    <a:gd name="T20" fmla="*/ 220 w 1239"/>
                    <a:gd name="T21" fmla="*/ 1019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9" h="1185">
                      <a:moveTo>
                        <a:pt x="220" y="1019"/>
                      </a:moveTo>
                      <a:cubicBezTo>
                        <a:pt x="0" y="799"/>
                        <a:pt x="0" y="441"/>
                        <a:pt x="220" y="221"/>
                      </a:cubicBezTo>
                      <a:cubicBezTo>
                        <a:pt x="441" y="0"/>
                        <a:pt x="798" y="0"/>
                        <a:pt x="1019" y="221"/>
                      </a:cubicBezTo>
                      <a:cubicBezTo>
                        <a:pt x="1239" y="441"/>
                        <a:pt x="1239" y="799"/>
                        <a:pt x="1019" y="1019"/>
                      </a:cubicBezTo>
                      <a:cubicBezTo>
                        <a:pt x="913" y="1125"/>
                        <a:pt x="769" y="1185"/>
                        <a:pt x="620" y="1185"/>
                      </a:cubicBezTo>
                      <a:cubicBezTo>
                        <a:pt x="620" y="1041"/>
                        <a:pt x="620" y="1041"/>
                        <a:pt x="620" y="1041"/>
                      </a:cubicBezTo>
                      <a:cubicBezTo>
                        <a:pt x="852" y="1041"/>
                        <a:pt x="1040" y="852"/>
                        <a:pt x="1040" y="620"/>
                      </a:cubicBezTo>
                      <a:cubicBezTo>
                        <a:pt x="1040" y="387"/>
                        <a:pt x="852" y="199"/>
                        <a:pt x="620" y="199"/>
                      </a:cubicBezTo>
                      <a:cubicBezTo>
                        <a:pt x="387" y="199"/>
                        <a:pt x="199" y="387"/>
                        <a:pt x="199" y="620"/>
                      </a:cubicBezTo>
                      <a:cubicBezTo>
                        <a:pt x="199" y="732"/>
                        <a:pt x="243" y="839"/>
                        <a:pt x="322" y="917"/>
                      </a:cubicBezTo>
                      <a:lnTo>
                        <a:pt x="220" y="1019"/>
                      </a:lnTo>
                      <a:close/>
                    </a:path>
                  </a:pathLst>
                </a:custGeom>
                <a:solidFill>
                  <a:schemeClr val="bg1">
                    <a:lumMod val="50000"/>
                  </a:schemeClr>
                </a:solidFill>
                <a:ln>
                  <a:noFill/>
                </a:ln>
                <a:extLst/>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33333"/>
                    </a:solidFill>
                    <a:effectLst/>
                    <a:uLnTx/>
                    <a:uFillTx/>
                  </a:endParaRPr>
                </a:p>
              </p:txBody>
            </p:sp>
          </p:grpSp>
          <p:sp>
            <p:nvSpPr>
              <p:cNvPr id="97" name="TextBox 96"/>
              <p:cNvSpPr txBox="1"/>
              <p:nvPr/>
            </p:nvSpPr>
            <p:spPr>
              <a:xfrm>
                <a:off x="11084790" y="5455396"/>
                <a:ext cx="1177345" cy="614032"/>
              </a:xfrm>
              <a:prstGeom prst="rect">
                <a:avLst/>
              </a:prstGeom>
              <a:noFill/>
            </p:spPr>
            <p:txBody>
              <a:bodyPr wrap="square" lIns="179213" tIns="143370" rIns="179213" bIns="143370" rtlCol="0">
                <a:spAutoFit/>
              </a:bodyPr>
              <a:lstStyle/>
              <a:p>
                <a:pPr marL="0" marR="0" lvl="0" indent="0" defTabSz="914005" eaLnBrk="1" fontAlgn="auto" latinLnBrk="0" hangingPunct="1">
                  <a:lnSpc>
                    <a:spcPct val="90000"/>
                  </a:lnSpc>
                  <a:spcBef>
                    <a:spcPct val="0"/>
                  </a:spcBef>
                  <a:spcAft>
                    <a:spcPts val="0"/>
                  </a:spcAft>
                  <a:buClrTx/>
                  <a:buSzTx/>
                  <a:buFontTx/>
                  <a:buNone/>
                  <a:tabLst/>
                  <a:defRPr/>
                </a:pP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Автономные</a:t>
                </a:r>
              </a:p>
              <a:p>
                <a:pPr marL="0" marR="0" lvl="0" indent="0" defTabSz="914005" eaLnBrk="1" fontAlgn="auto" latinLnBrk="0" hangingPunct="1">
                  <a:lnSpc>
                    <a:spcPct val="90000"/>
                  </a:lnSpc>
                  <a:spcBef>
                    <a:spcPct val="0"/>
                  </a:spcBef>
                  <a:spcAft>
                    <a:spcPts val="0"/>
                  </a:spcAft>
                  <a:buClrTx/>
                  <a:buSzTx/>
                  <a:buFontTx/>
                  <a:buNone/>
                  <a:tabLst/>
                  <a:defRPr/>
                </a:pP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устройства</a:t>
                </a:r>
                <a:endParaRPr kumimoji="0" lang="en-US"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grpSp>
      </p:grpSp>
      <p:sp>
        <p:nvSpPr>
          <p:cNvPr id="2" name="Title 1"/>
          <p:cNvSpPr>
            <a:spLocks noGrp="1"/>
          </p:cNvSpPr>
          <p:nvPr>
            <p:ph type="title"/>
          </p:nvPr>
        </p:nvSpPr>
        <p:spPr>
          <a:xfrm>
            <a:off x="0" y="64869"/>
            <a:ext cx="12192000" cy="1325563"/>
          </a:xfrm>
        </p:spPr>
        <p:txBody>
          <a:bodyPr>
            <a:normAutofit/>
          </a:bodyPr>
          <a:lstStyle/>
          <a:p>
            <a:pPr algn="ctr"/>
            <a:r>
              <a:rPr lang="ru-RU" sz="4000" dirty="0"/>
              <a:t>От первичных данных к оптимальному решению</a:t>
            </a:r>
            <a:endParaRPr lang="ru-RU" sz="5400" dirty="0"/>
          </a:p>
        </p:txBody>
      </p:sp>
      <p:grpSp>
        <p:nvGrpSpPr>
          <p:cNvPr id="11" name="Group 10"/>
          <p:cNvGrpSpPr/>
          <p:nvPr/>
        </p:nvGrpSpPr>
        <p:grpSpPr>
          <a:xfrm>
            <a:off x="8369585" y="5250881"/>
            <a:ext cx="2185990" cy="1016151"/>
            <a:chOff x="8538017" y="4739224"/>
            <a:chExt cx="2230406" cy="1036797"/>
          </a:xfrm>
        </p:grpSpPr>
        <p:sp>
          <p:nvSpPr>
            <p:cNvPr id="12" name="Rectangle 11"/>
            <p:cNvSpPr/>
            <p:nvPr/>
          </p:nvSpPr>
          <p:spPr bwMode="auto">
            <a:xfrm>
              <a:off x="8538017" y="4739224"/>
              <a:ext cx="2137748" cy="1005840"/>
            </a:xfrm>
            <a:prstGeom prst="rect">
              <a:avLst/>
            </a:prstGeom>
            <a:solidFill>
              <a:schemeClr val="bg2">
                <a:lumMod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Бизнес-сценарии</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13" name="Rectangle 12"/>
            <p:cNvSpPr/>
            <p:nvPr/>
          </p:nvSpPr>
          <p:spPr>
            <a:xfrm>
              <a:off x="9204617" y="4943319"/>
              <a:ext cx="1563806" cy="832702"/>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Рекомендации</a:t>
              </a: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t>
              </a:r>
            </a:p>
            <a:p>
              <a:pPr marL="0" marR="0" lvl="0" indent="0" defTabSz="914180" eaLnBrk="1" fontAlgn="auto" latinLnBrk="0" hangingPunct="1">
                <a:lnSpc>
                  <a:spcPct val="100000"/>
                </a:lnSpc>
                <a:spcBef>
                  <a:spcPts val="0"/>
                </a:spcBef>
                <a:spcAft>
                  <a:spcPts val="0"/>
                </a:spcAft>
                <a:buClrTx/>
                <a:buSzTx/>
                <a:buFontTx/>
                <a:buNone/>
                <a:tabLst/>
                <a:defRPr/>
              </a:pP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прогнозирование</a:t>
              </a: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t>
              </a:r>
            </a:p>
            <a:p>
              <a:pPr marL="0" marR="0" lvl="0" indent="0" defTabSz="914180" eaLnBrk="1" fontAlgn="auto" latinLnBrk="0" hangingPunct="1">
                <a:lnSpc>
                  <a:spcPct val="100000"/>
                </a:lnSpc>
                <a:spcBef>
                  <a:spcPts val="0"/>
                </a:spcBef>
                <a:spcAft>
                  <a:spcPts val="0"/>
                </a:spcAft>
                <a:buClrTx/>
                <a:buSzTx/>
                <a:buFontTx/>
                <a:buNone/>
                <a:tabLst/>
                <a:defRPr/>
              </a:pP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поведение клиентов</a:t>
              </a: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t>
              </a:r>
              <a:b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и</a:t>
              </a: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т.д.</a:t>
              </a:r>
              <a:endPar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grpSp>
          <p:nvGrpSpPr>
            <p:cNvPr id="14" name="Group 13"/>
            <p:cNvGrpSpPr/>
            <p:nvPr/>
          </p:nvGrpSpPr>
          <p:grpSpPr>
            <a:xfrm>
              <a:off x="8754885" y="5208429"/>
              <a:ext cx="433307" cy="352792"/>
              <a:chOff x="-2530475" y="305948"/>
              <a:chExt cx="1119187" cy="911226"/>
            </a:xfrm>
            <a:solidFill>
              <a:schemeClr val="bg1"/>
            </a:solidFill>
          </p:grpSpPr>
          <p:sp>
            <p:nvSpPr>
              <p:cNvPr id="15" name="Freeform 31"/>
              <p:cNvSpPr>
                <a:spLocks noEditPoints="1"/>
              </p:cNvSpPr>
              <p:nvPr/>
            </p:nvSpPr>
            <p:spPr bwMode="auto">
              <a:xfrm>
                <a:off x="-2530475" y="305948"/>
                <a:ext cx="1119187" cy="622300"/>
              </a:xfrm>
              <a:custGeom>
                <a:avLst/>
                <a:gdLst>
                  <a:gd name="T0" fmla="*/ 296 w 296"/>
                  <a:gd name="T1" fmla="*/ 24 h 164"/>
                  <a:gd name="T2" fmla="*/ 290 w 296"/>
                  <a:gd name="T3" fmla="*/ 24 h 164"/>
                  <a:gd name="T4" fmla="*/ 288 w 296"/>
                  <a:gd name="T5" fmla="*/ 149 h 164"/>
                  <a:gd name="T6" fmla="*/ 291 w 296"/>
                  <a:gd name="T7" fmla="*/ 154 h 164"/>
                  <a:gd name="T8" fmla="*/ 287 w 296"/>
                  <a:gd name="T9" fmla="*/ 164 h 164"/>
                  <a:gd name="T10" fmla="*/ 9 w 296"/>
                  <a:gd name="T11" fmla="*/ 164 h 164"/>
                  <a:gd name="T12" fmla="*/ 9 w 296"/>
                  <a:gd name="T13" fmla="*/ 24 h 164"/>
                  <a:gd name="T14" fmla="*/ 0 w 296"/>
                  <a:gd name="T15" fmla="*/ 24 h 164"/>
                  <a:gd name="T16" fmla="*/ 0 w 296"/>
                  <a:gd name="T17" fmla="*/ 0 h 164"/>
                  <a:gd name="T18" fmla="*/ 296 w 296"/>
                  <a:gd name="T19" fmla="*/ 0 h 164"/>
                  <a:gd name="T20" fmla="*/ 296 w 296"/>
                  <a:gd name="T21" fmla="*/ 24 h 164"/>
                  <a:gd name="T22" fmla="*/ 32 w 296"/>
                  <a:gd name="T23" fmla="*/ 139 h 164"/>
                  <a:gd name="T24" fmla="*/ 264 w 296"/>
                  <a:gd name="T25" fmla="*/ 139 h 164"/>
                  <a:gd name="T26" fmla="*/ 264 w 296"/>
                  <a:gd name="T27" fmla="*/ 27 h 164"/>
                  <a:gd name="T28" fmla="*/ 263 w 296"/>
                  <a:gd name="T29" fmla="*/ 25 h 164"/>
                  <a:gd name="T30" fmla="*/ 263 w 296"/>
                  <a:gd name="T31" fmla="*/ 25 h 164"/>
                  <a:gd name="T32" fmla="*/ 32 w 296"/>
                  <a:gd name="T33" fmla="*/ 25 h 164"/>
                  <a:gd name="T34" fmla="*/ 32 w 296"/>
                  <a:gd name="T35" fmla="*/ 139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6" h="164">
                    <a:moveTo>
                      <a:pt x="296" y="24"/>
                    </a:moveTo>
                    <a:cubicBezTo>
                      <a:pt x="294" y="24"/>
                      <a:pt x="292" y="24"/>
                      <a:pt x="290" y="24"/>
                    </a:cubicBezTo>
                    <a:cubicBezTo>
                      <a:pt x="288" y="34"/>
                      <a:pt x="287" y="134"/>
                      <a:pt x="288" y="149"/>
                    </a:cubicBezTo>
                    <a:cubicBezTo>
                      <a:pt x="288" y="151"/>
                      <a:pt x="290" y="152"/>
                      <a:pt x="291" y="154"/>
                    </a:cubicBezTo>
                    <a:cubicBezTo>
                      <a:pt x="290" y="157"/>
                      <a:pt x="288" y="160"/>
                      <a:pt x="287" y="164"/>
                    </a:cubicBezTo>
                    <a:cubicBezTo>
                      <a:pt x="195" y="164"/>
                      <a:pt x="102" y="164"/>
                      <a:pt x="9" y="164"/>
                    </a:cubicBezTo>
                    <a:cubicBezTo>
                      <a:pt x="9" y="118"/>
                      <a:pt x="9" y="72"/>
                      <a:pt x="9" y="24"/>
                    </a:cubicBezTo>
                    <a:cubicBezTo>
                      <a:pt x="5" y="24"/>
                      <a:pt x="2" y="24"/>
                      <a:pt x="0" y="24"/>
                    </a:cubicBezTo>
                    <a:cubicBezTo>
                      <a:pt x="0" y="16"/>
                      <a:pt x="0" y="8"/>
                      <a:pt x="0" y="0"/>
                    </a:cubicBezTo>
                    <a:cubicBezTo>
                      <a:pt x="99" y="0"/>
                      <a:pt x="197" y="0"/>
                      <a:pt x="296" y="0"/>
                    </a:cubicBezTo>
                    <a:cubicBezTo>
                      <a:pt x="296" y="8"/>
                      <a:pt x="296" y="16"/>
                      <a:pt x="296" y="24"/>
                    </a:cubicBezTo>
                    <a:close/>
                    <a:moveTo>
                      <a:pt x="32" y="139"/>
                    </a:moveTo>
                    <a:cubicBezTo>
                      <a:pt x="110" y="139"/>
                      <a:pt x="187" y="139"/>
                      <a:pt x="264" y="139"/>
                    </a:cubicBezTo>
                    <a:cubicBezTo>
                      <a:pt x="264" y="102"/>
                      <a:pt x="264" y="64"/>
                      <a:pt x="264" y="27"/>
                    </a:cubicBezTo>
                    <a:cubicBezTo>
                      <a:pt x="264" y="27"/>
                      <a:pt x="264" y="26"/>
                      <a:pt x="263" y="25"/>
                    </a:cubicBezTo>
                    <a:cubicBezTo>
                      <a:pt x="263" y="25"/>
                      <a:pt x="262" y="24"/>
                      <a:pt x="263" y="25"/>
                    </a:cubicBezTo>
                    <a:cubicBezTo>
                      <a:pt x="186" y="25"/>
                      <a:pt x="109" y="25"/>
                      <a:pt x="32" y="25"/>
                    </a:cubicBezTo>
                    <a:cubicBezTo>
                      <a:pt x="32" y="63"/>
                      <a:pt x="32" y="101"/>
                      <a:pt x="32" y="139"/>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16" name="Freeform 32"/>
              <p:cNvSpPr>
                <a:spLocks/>
              </p:cNvSpPr>
              <p:nvPr/>
            </p:nvSpPr>
            <p:spPr bwMode="auto">
              <a:xfrm>
                <a:off x="-2212975" y="961586"/>
                <a:ext cx="514350" cy="255588"/>
              </a:xfrm>
              <a:custGeom>
                <a:avLst/>
                <a:gdLst>
                  <a:gd name="T0" fmla="*/ 0 w 136"/>
                  <a:gd name="T1" fmla="*/ 67 h 67"/>
                  <a:gd name="T2" fmla="*/ 0 w 136"/>
                  <a:gd name="T3" fmla="*/ 52 h 67"/>
                  <a:gd name="T4" fmla="*/ 27 w 136"/>
                  <a:gd name="T5" fmla="*/ 51 h 67"/>
                  <a:gd name="T6" fmla="*/ 55 w 136"/>
                  <a:gd name="T7" fmla="*/ 51 h 67"/>
                  <a:gd name="T8" fmla="*/ 55 w 136"/>
                  <a:gd name="T9" fmla="*/ 0 h 67"/>
                  <a:gd name="T10" fmla="*/ 79 w 136"/>
                  <a:gd name="T11" fmla="*/ 0 h 67"/>
                  <a:gd name="T12" fmla="*/ 79 w 136"/>
                  <a:gd name="T13" fmla="*/ 50 h 67"/>
                  <a:gd name="T14" fmla="*/ 107 w 136"/>
                  <a:gd name="T15" fmla="*/ 51 h 67"/>
                  <a:gd name="T16" fmla="*/ 136 w 136"/>
                  <a:gd name="T17" fmla="*/ 51 h 67"/>
                  <a:gd name="T18" fmla="*/ 136 w 136"/>
                  <a:gd name="T19" fmla="*/ 67 h 67"/>
                  <a:gd name="T20" fmla="*/ 0 w 136"/>
                  <a:gd name="T21"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6" h="67">
                    <a:moveTo>
                      <a:pt x="0" y="67"/>
                    </a:moveTo>
                    <a:cubicBezTo>
                      <a:pt x="0" y="62"/>
                      <a:pt x="0" y="58"/>
                      <a:pt x="0" y="52"/>
                    </a:cubicBezTo>
                    <a:cubicBezTo>
                      <a:pt x="9" y="50"/>
                      <a:pt x="18" y="51"/>
                      <a:pt x="27" y="51"/>
                    </a:cubicBezTo>
                    <a:cubicBezTo>
                      <a:pt x="36" y="51"/>
                      <a:pt x="45" y="51"/>
                      <a:pt x="55" y="51"/>
                    </a:cubicBezTo>
                    <a:cubicBezTo>
                      <a:pt x="55" y="34"/>
                      <a:pt x="55" y="18"/>
                      <a:pt x="55" y="0"/>
                    </a:cubicBezTo>
                    <a:cubicBezTo>
                      <a:pt x="63" y="0"/>
                      <a:pt x="71" y="0"/>
                      <a:pt x="79" y="0"/>
                    </a:cubicBezTo>
                    <a:cubicBezTo>
                      <a:pt x="79" y="16"/>
                      <a:pt x="79" y="33"/>
                      <a:pt x="79" y="50"/>
                    </a:cubicBezTo>
                    <a:cubicBezTo>
                      <a:pt x="89" y="52"/>
                      <a:pt x="98" y="51"/>
                      <a:pt x="107" y="51"/>
                    </a:cubicBezTo>
                    <a:cubicBezTo>
                      <a:pt x="116" y="51"/>
                      <a:pt x="125" y="51"/>
                      <a:pt x="136" y="51"/>
                    </a:cubicBezTo>
                    <a:cubicBezTo>
                      <a:pt x="136" y="57"/>
                      <a:pt x="136" y="62"/>
                      <a:pt x="136" y="67"/>
                    </a:cubicBezTo>
                    <a:cubicBezTo>
                      <a:pt x="91" y="67"/>
                      <a:pt x="45" y="67"/>
                      <a:pt x="0" y="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17" name="Freeform 34"/>
              <p:cNvSpPr>
                <a:spLocks/>
              </p:cNvSpPr>
              <p:nvPr/>
            </p:nvSpPr>
            <p:spPr bwMode="auto">
              <a:xfrm>
                <a:off x="-1876426" y="472635"/>
                <a:ext cx="268288" cy="269874"/>
              </a:xfrm>
              <a:custGeom>
                <a:avLst/>
                <a:gdLst>
                  <a:gd name="T0" fmla="*/ 16 w 71"/>
                  <a:gd name="T1" fmla="*/ 71 h 71"/>
                  <a:gd name="T2" fmla="*/ 0 w 71"/>
                  <a:gd name="T3" fmla="*/ 54 h 71"/>
                  <a:gd name="T4" fmla="*/ 0 w 71"/>
                  <a:gd name="T5" fmla="*/ 17 h 71"/>
                  <a:gd name="T6" fmla="*/ 17 w 71"/>
                  <a:gd name="T7" fmla="*/ 0 h 71"/>
                  <a:gd name="T8" fmla="*/ 31 w 71"/>
                  <a:gd name="T9" fmla="*/ 0 h 71"/>
                  <a:gd name="T10" fmla="*/ 31 w 71"/>
                  <a:gd name="T11" fmla="*/ 36 h 71"/>
                  <a:gd name="T12" fmla="*/ 38 w 71"/>
                  <a:gd name="T13" fmla="*/ 36 h 71"/>
                  <a:gd name="T14" fmla="*/ 38 w 71"/>
                  <a:gd name="T15" fmla="*/ 0 h 71"/>
                  <a:gd name="T16" fmla="*/ 52 w 71"/>
                  <a:gd name="T17" fmla="*/ 0 h 71"/>
                  <a:gd name="T18" fmla="*/ 71 w 71"/>
                  <a:gd name="T19" fmla="*/ 20 h 71"/>
                  <a:gd name="T20" fmla="*/ 71 w 71"/>
                  <a:gd name="T21" fmla="*/ 54 h 71"/>
                  <a:gd name="T22" fmla="*/ 52 w 71"/>
                  <a:gd name="T23" fmla="*/ 71 h 71"/>
                  <a:gd name="T24" fmla="*/ 16 w 71"/>
                  <a:gd name="T25"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1" h="71">
                    <a:moveTo>
                      <a:pt x="16" y="71"/>
                    </a:moveTo>
                    <a:cubicBezTo>
                      <a:pt x="11" y="66"/>
                      <a:pt x="6" y="61"/>
                      <a:pt x="0" y="54"/>
                    </a:cubicBezTo>
                    <a:cubicBezTo>
                      <a:pt x="0" y="43"/>
                      <a:pt x="0" y="30"/>
                      <a:pt x="0" y="17"/>
                    </a:cubicBezTo>
                    <a:cubicBezTo>
                      <a:pt x="5" y="12"/>
                      <a:pt x="11" y="6"/>
                      <a:pt x="17" y="0"/>
                    </a:cubicBezTo>
                    <a:cubicBezTo>
                      <a:pt x="21" y="0"/>
                      <a:pt x="25" y="0"/>
                      <a:pt x="31" y="0"/>
                    </a:cubicBezTo>
                    <a:cubicBezTo>
                      <a:pt x="31" y="12"/>
                      <a:pt x="31" y="24"/>
                      <a:pt x="31" y="36"/>
                    </a:cubicBezTo>
                    <a:cubicBezTo>
                      <a:pt x="34" y="36"/>
                      <a:pt x="36" y="36"/>
                      <a:pt x="38" y="36"/>
                    </a:cubicBezTo>
                    <a:cubicBezTo>
                      <a:pt x="38" y="24"/>
                      <a:pt x="38" y="13"/>
                      <a:pt x="38" y="0"/>
                    </a:cubicBezTo>
                    <a:cubicBezTo>
                      <a:pt x="43" y="0"/>
                      <a:pt x="48" y="0"/>
                      <a:pt x="52" y="0"/>
                    </a:cubicBezTo>
                    <a:cubicBezTo>
                      <a:pt x="58" y="6"/>
                      <a:pt x="64" y="12"/>
                      <a:pt x="71" y="20"/>
                    </a:cubicBezTo>
                    <a:cubicBezTo>
                      <a:pt x="71" y="30"/>
                      <a:pt x="71" y="42"/>
                      <a:pt x="71" y="54"/>
                    </a:cubicBezTo>
                    <a:cubicBezTo>
                      <a:pt x="65" y="59"/>
                      <a:pt x="60" y="65"/>
                      <a:pt x="52" y="71"/>
                    </a:cubicBezTo>
                    <a:cubicBezTo>
                      <a:pt x="42" y="71"/>
                      <a:pt x="30" y="71"/>
                      <a:pt x="16" y="7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18" name="Freeform 35"/>
              <p:cNvSpPr>
                <a:spLocks/>
              </p:cNvSpPr>
              <p:nvPr/>
            </p:nvSpPr>
            <p:spPr bwMode="auto">
              <a:xfrm>
                <a:off x="-2349499" y="472635"/>
                <a:ext cx="393701" cy="314326"/>
              </a:xfrm>
              <a:custGeom>
                <a:avLst/>
                <a:gdLst>
                  <a:gd name="T0" fmla="*/ 104 w 104"/>
                  <a:gd name="T1" fmla="*/ 76 h 83"/>
                  <a:gd name="T2" fmla="*/ 104 w 104"/>
                  <a:gd name="T3" fmla="*/ 83 h 83"/>
                  <a:gd name="T4" fmla="*/ 0 w 104"/>
                  <a:gd name="T5" fmla="*/ 83 h 83"/>
                  <a:gd name="T6" fmla="*/ 0 w 104"/>
                  <a:gd name="T7" fmla="*/ 1 h 83"/>
                  <a:gd name="T8" fmla="*/ 7 w 104"/>
                  <a:gd name="T9" fmla="*/ 0 h 83"/>
                  <a:gd name="T10" fmla="*/ 7 w 104"/>
                  <a:gd name="T11" fmla="*/ 76 h 83"/>
                  <a:gd name="T12" fmla="*/ 104 w 104"/>
                  <a:gd name="T13" fmla="*/ 76 h 83"/>
                </a:gdLst>
                <a:ahLst/>
                <a:cxnLst>
                  <a:cxn ang="0">
                    <a:pos x="T0" y="T1"/>
                  </a:cxn>
                  <a:cxn ang="0">
                    <a:pos x="T2" y="T3"/>
                  </a:cxn>
                  <a:cxn ang="0">
                    <a:pos x="T4" y="T5"/>
                  </a:cxn>
                  <a:cxn ang="0">
                    <a:pos x="T6" y="T7"/>
                  </a:cxn>
                  <a:cxn ang="0">
                    <a:pos x="T8" y="T9"/>
                  </a:cxn>
                  <a:cxn ang="0">
                    <a:pos x="T10" y="T11"/>
                  </a:cxn>
                  <a:cxn ang="0">
                    <a:pos x="T12" y="T13"/>
                  </a:cxn>
                </a:cxnLst>
                <a:rect l="0" t="0" r="r" b="b"/>
                <a:pathLst>
                  <a:path w="104" h="83">
                    <a:moveTo>
                      <a:pt x="104" y="76"/>
                    </a:moveTo>
                    <a:cubicBezTo>
                      <a:pt x="104" y="79"/>
                      <a:pt x="104" y="81"/>
                      <a:pt x="104" y="83"/>
                    </a:cubicBezTo>
                    <a:cubicBezTo>
                      <a:pt x="69" y="83"/>
                      <a:pt x="36" y="83"/>
                      <a:pt x="0" y="83"/>
                    </a:cubicBezTo>
                    <a:cubicBezTo>
                      <a:pt x="0" y="56"/>
                      <a:pt x="0" y="29"/>
                      <a:pt x="0" y="1"/>
                    </a:cubicBezTo>
                    <a:cubicBezTo>
                      <a:pt x="2" y="0"/>
                      <a:pt x="4" y="0"/>
                      <a:pt x="7" y="0"/>
                    </a:cubicBezTo>
                    <a:cubicBezTo>
                      <a:pt x="7" y="25"/>
                      <a:pt x="7" y="50"/>
                      <a:pt x="7" y="76"/>
                    </a:cubicBezTo>
                    <a:cubicBezTo>
                      <a:pt x="40" y="76"/>
                      <a:pt x="72" y="76"/>
                      <a:pt x="104" y="7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19" name="Freeform 36"/>
              <p:cNvSpPr>
                <a:spLocks/>
              </p:cNvSpPr>
              <p:nvPr/>
            </p:nvSpPr>
            <p:spPr bwMode="auto">
              <a:xfrm>
                <a:off x="-2027239" y="456761"/>
                <a:ext cx="22226" cy="273051"/>
              </a:xfrm>
              <a:custGeom>
                <a:avLst/>
                <a:gdLst>
                  <a:gd name="T0" fmla="*/ 0 w 6"/>
                  <a:gd name="T1" fmla="*/ 0 h 72"/>
                  <a:gd name="T2" fmla="*/ 6 w 6"/>
                  <a:gd name="T3" fmla="*/ 0 h 72"/>
                  <a:gd name="T4" fmla="*/ 6 w 6"/>
                  <a:gd name="T5" fmla="*/ 72 h 72"/>
                  <a:gd name="T6" fmla="*/ 0 w 6"/>
                  <a:gd name="T7" fmla="*/ 72 h 72"/>
                  <a:gd name="T8" fmla="*/ 0 w 6"/>
                  <a:gd name="T9" fmla="*/ 0 h 72"/>
                </a:gdLst>
                <a:ahLst/>
                <a:cxnLst>
                  <a:cxn ang="0">
                    <a:pos x="T0" y="T1"/>
                  </a:cxn>
                  <a:cxn ang="0">
                    <a:pos x="T2" y="T3"/>
                  </a:cxn>
                  <a:cxn ang="0">
                    <a:pos x="T4" y="T5"/>
                  </a:cxn>
                  <a:cxn ang="0">
                    <a:pos x="T6" y="T7"/>
                  </a:cxn>
                  <a:cxn ang="0">
                    <a:pos x="T8" y="T9"/>
                  </a:cxn>
                </a:cxnLst>
                <a:rect l="0" t="0" r="r" b="b"/>
                <a:pathLst>
                  <a:path w="6" h="72">
                    <a:moveTo>
                      <a:pt x="0" y="0"/>
                    </a:moveTo>
                    <a:cubicBezTo>
                      <a:pt x="2" y="0"/>
                      <a:pt x="4" y="0"/>
                      <a:pt x="6" y="0"/>
                    </a:cubicBezTo>
                    <a:cubicBezTo>
                      <a:pt x="6" y="24"/>
                      <a:pt x="6" y="48"/>
                      <a:pt x="6" y="72"/>
                    </a:cubicBezTo>
                    <a:cubicBezTo>
                      <a:pt x="4" y="72"/>
                      <a:pt x="2" y="72"/>
                      <a:pt x="0" y="72"/>
                    </a:cubicBezTo>
                    <a:cubicBezTo>
                      <a:pt x="0" y="48"/>
                      <a:pt x="0" y="24"/>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20" name="Freeform 37"/>
              <p:cNvSpPr>
                <a:spLocks/>
              </p:cNvSpPr>
              <p:nvPr/>
            </p:nvSpPr>
            <p:spPr bwMode="auto">
              <a:xfrm>
                <a:off x="-2087563" y="518673"/>
                <a:ext cx="22226" cy="211139"/>
              </a:xfrm>
              <a:custGeom>
                <a:avLst/>
                <a:gdLst>
                  <a:gd name="T0" fmla="*/ 0 w 6"/>
                  <a:gd name="T1" fmla="*/ 0 h 56"/>
                  <a:gd name="T2" fmla="*/ 6 w 6"/>
                  <a:gd name="T3" fmla="*/ 0 h 56"/>
                  <a:gd name="T4" fmla="*/ 6 w 6"/>
                  <a:gd name="T5" fmla="*/ 56 h 56"/>
                  <a:gd name="T6" fmla="*/ 0 w 6"/>
                  <a:gd name="T7" fmla="*/ 56 h 56"/>
                  <a:gd name="T8" fmla="*/ 0 w 6"/>
                  <a:gd name="T9" fmla="*/ 0 h 56"/>
                </a:gdLst>
                <a:ahLst/>
                <a:cxnLst>
                  <a:cxn ang="0">
                    <a:pos x="T0" y="T1"/>
                  </a:cxn>
                  <a:cxn ang="0">
                    <a:pos x="T2" y="T3"/>
                  </a:cxn>
                  <a:cxn ang="0">
                    <a:pos x="T4" y="T5"/>
                  </a:cxn>
                  <a:cxn ang="0">
                    <a:pos x="T6" y="T7"/>
                  </a:cxn>
                  <a:cxn ang="0">
                    <a:pos x="T8" y="T9"/>
                  </a:cxn>
                </a:cxnLst>
                <a:rect l="0" t="0" r="r" b="b"/>
                <a:pathLst>
                  <a:path w="6" h="56">
                    <a:moveTo>
                      <a:pt x="0" y="0"/>
                    </a:moveTo>
                    <a:cubicBezTo>
                      <a:pt x="2" y="0"/>
                      <a:pt x="4" y="0"/>
                      <a:pt x="6" y="0"/>
                    </a:cubicBezTo>
                    <a:cubicBezTo>
                      <a:pt x="6" y="19"/>
                      <a:pt x="6" y="37"/>
                      <a:pt x="6" y="56"/>
                    </a:cubicBezTo>
                    <a:cubicBezTo>
                      <a:pt x="4" y="56"/>
                      <a:pt x="2" y="56"/>
                      <a:pt x="0" y="56"/>
                    </a:cubicBezTo>
                    <a:cubicBezTo>
                      <a:pt x="0" y="37"/>
                      <a:pt x="0" y="19"/>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grpSp>
      </p:grpSp>
      <p:grpSp>
        <p:nvGrpSpPr>
          <p:cNvPr id="21" name="Group 20"/>
          <p:cNvGrpSpPr/>
          <p:nvPr/>
        </p:nvGrpSpPr>
        <p:grpSpPr>
          <a:xfrm>
            <a:off x="8369580" y="4171472"/>
            <a:ext cx="2095179" cy="985811"/>
            <a:chOff x="8538016" y="3289703"/>
            <a:chExt cx="2137749" cy="1005840"/>
          </a:xfrm>
        </p:grpSpPr>
        <p:sp>
          <p:nvSpPr>
            <p:cNvPr id="22" name="Rectangle 21"/>
            <p:cNvSpPr/>
            <p:nvPr/>
          </p:nvSpPr>
          <p:spPr bwMode="auto">
            <a:xfrm>
              <a:off x="8538016" y="3289703"/>
              <a:ext cx="2137749" cy="1005840"/>
            </a:xfrm>
            <a:prstGeom prst="rect">
              <a:avLst/>
            </a:prstGeom>
            <a:solidFill>
              <a:schemeClr val="bg2">
                <a:lumMod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9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Естественное восприятие</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3" name="Rectangle 22"/>
            <p:cNvSpPr/>
            <p:nvPr/>
          </p:nvSpPr>
          <p:spPr>
            <a:xfrm>
              <a:off x="9204619" y="3669107"/>
              <a:ext cx="1374012" cy="463456"/>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Выражение лица</a:t>
              </a: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b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зрение</a:t>
              </a:r>
              <a:endPar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24" name="Rectangle 23"/>
            <p:cNvSpPr/>
            <p:nvPr/>
          </p:nvSpPr>
          <p:spPr>
            <a:xfrm>
              <a:off x="9204619" y="3990981"/>
              <a:ext cx="885957" cy="278832"/>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Речь</a:t>
              </a: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r>
                <a:rPr kumimoji="0" lang="ru-RU"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текст</a:t>
              </a:r>
              <a:endPar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grpSp>
          <p:nvGrpSpPr>
            <p:cNvPr id="25" name="Group 24"/>
            <p:cNvGrpSpPr/>
            <p:nvPr/>
          </p:nvGrpSpPr>
          <p:grpSpPr>
            <a:xfrm>
              <a:off x="8892356" y="3769733"/>
              <a:ext cx="269629" cy="179336"/>
              <a:chOff x="3248025" y="2979733"/>
              <a:chExt cx="5153661" cy="3427818"/>
            </a:xfrm>
            <a:solidFill>
              <a:schemeClr val="bg1"/>
            </a:solidFill>
          </p:grpSpPr>
          <p:sp>
            <p:nvSpPr>
              <p:cNvPr id="41" name="Freeform 40"/>
              <p:cNvSpPr/>
              <p:nvPr/>
            </p:nvSpPr>
            <p:spPr bwMode="auto">
              <a:xfrm>
                <a:off x="4140350" y="2979733"/>
                <a:ext cx="3427811" cy="3427818"/>
              </a:xfrm>
              <a:custGeom>
                <a:avLst/>
                <a:gdLst>
                  <a:gd name="connsiteX0" fmla="*/ 1713905 w 3427810"/>
                  <a:gd name="connsiteY0" fmla="*/ 0 h 3427810"/>
                  <a:gd name="connsiteX1" fmla="*/ 3427810 w 3427810"/>
                  <a:gd name="connsiteY1" fmla="*/ 1713905 h 3427810"/>
                  <a:gd name="connsiteX2" fmla="*/ 1713905 w 3427810"/>
                  <a:gd name="connsiteY2" fmla="*/ 3427810 h 3427810"/>
                  <a:gd name="connsiteX3" fmla="*/ 0 w 3427810"/>
                  <a:gd name="connsiteY3" fmla="*/ 1713905 h 3427810"/>
                  <a:gd name="connsiteX4" fmla="*/ 1713905 w 3427810"/>
                  <a:gd name="connsiteY4" fmla="*/ 0 h 3427810"/>
                  <a:gd name="connsiteX5" fmla="*/ 1208864 w 3427810"/>
                  <a:gd name="connsiteY5" fmla="*/ 1047322 h 3427810"/>
                  <a:gd name="connsiteX6" fmla="*/ 996139 w 3427810"/>
                  <a:gd name="connsiteY6" fmla="*/ 1260047 h 3427810"/>
                  <a:gd name="connsiteX7" fmla="*/ 1208864 w 3427810"/>
                  <a:gd name="connsiteY7" fmla="*/ 1472772 h 3427810"/>
                  <a:gd name="connsiteX8" fmla="*/ 1421589 w 3427810"/>
                  <a:gd name="connsiteY8" fmla="*/ 1260047 h 3427810"/>
                  <a:gd name="connsiteX9" fmla="*/ 1208864 w 3427810"/>
                  <a:gd name="connsiteY9" fmla="*/ 1047322 h 3427810"/>
                  <a:gd name="connsiteX10" fmla="*/ 2115987 w 3427810"/>
                  <a:gd name="connsiteY10" fmla="*/ 1047322 h 3427810"/>
                  <a:gd name="connsiteX11" fmla="*/ 1903262 w 3427810"/>
                  <a:gd name="connsiteY11" fmla="*/ 1260047 h 3427810"/>
                  <a:gd name="connsiteX12" fmla="*/ 2115987 w 3427810"/>
                  <a:gd name="connsiteY12" fmla="*/ 1472772 h 3427810"/>
                  <a:gd name="connsiteX13" fmla="*/ 2328712 w 3427810"/>
                  <a:gd name="connsiteY13" fmla="*/ 1260047 h 3427810"/>
                  <a:gd name="connsiteX14" fmla="*/ 2115987 w 3427810"/>
                  <a:gd name="connsiteY14" fmla="*/ 1047322 h 3427810"/>
                  <a:gd name="connsiteX15" fmla="*/ 516914 w 3427810"/>
                  <a:gd name="connsiteY15" fmla="*/ 1913335 h 3427810"/>
                  <a:gd name="connsiteX16" fmla="*/ 536018 w 3427810"/>
                  <a:gd name="connsiteY16" fmla="*/ 1987632 h 3427810"/>
                  <a:gd name="connsiteX17" fmla="*/ 1680074 w 3427810"/>
                  <a:gd name="connsiteY17" fmla="*/ 2829321 h 3427810"/>
                  <a:gd name="connsiteX18" fmla="*/ 2824130 w 3427810"/>
                  <a:gd name="connsiteY18" fmla="*/ 1987632 h 3427810"/>
                  <a:gd name="connsiteX19" fmla="*/ 2843234 w 3427810"/>
                  <a:gd name="connsiteY19" fmla="*/ 1913335 h 3427810"/>
                  <a:gd name="connsiteX20" fmla="*/ 2613164 w 3427810"/>
                  <a:gd name="connsiteY20" fmla="*/ 1913335 h 3427810"/>
                  <a:gd name="connsiteX21" fmla="*/ 2611114 w 3427810"/>
                  <a:gd name="connsiteY21" fmla="*/ 1921305 h 3427810"/>
                  <a:gd name="connsiteX22" fmla="*/ 1680074 w 3427810"/>
                  <a:gd name="connsiteY22" fmla="*/ 2606277 h 3427810"/>
                  <a:gd name="connsiteX23" fmla="*/ 749034 w 3427810"/>
                  <a:gd name="connsiteY23" fmla="*/ 1921305 h 3427810"/>
                  <a:gd name="connsiteX24" fmla="*/ 746985 w 3427810"/>
                  <a:gd name="connsiteY24" fmla="*/ 1913335 h 3427810"/>
                  <a:gd name="connsiteX25" fmla="*/ 516914 w 3427810"/>
                  <a:gd name="connsiteY25" fmla="*/ 1913335 h 34278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427810" h="3427810">
                    <a:moveTo>
                      <a:pt x="1713905" y="0"/>
                    </a:moveTo>
                    <a:cubicBezTo>
                      <a:pt x="2660469" y="0"/>
                      <a:pt x="3427810" y="767341"/>
                      <a:pt x="3427810" y="1713905"/>
                    </a:cubicBezTo>
                    <a:cubicBezTo>
                      <a:pt x="3427810" y="2660469"/>
                      <a:pt x="2660469" y="3427810"/>
                      <a:pt x="1713905" y="3427810"/>
                    </a:cubicBezTo>
                    <a:cubicBezTo>
                      <a:pt x="767341" y="3427810"/>
                      <a:pt x="0" y="2660469"/>
                      <a:pt x="0" y="1713905"/>
                    </a:cubicBezTo>
                    <a:cubicBezTo>
                      <a:pt x="0" y="767341"/>
                      <a:pt x="767341" y="0"/>
                      <a:pt x="1713905" y="0"/>
                    </a:cubicBezTo>
                    <a:close/>
                    <a:moveTo>
                      <a:pt x="1208864" y="1047322"/>
                    </a:moveTo>
                    <a:cubicBezTo>
                      <a:pt x="1091379" y="1047322"/>
                      <a:pt x="996139" y="1142562"/>
                      <a:pt x="996139" y="1260047"/>
                    </a:cubicBezTo>
                    <a:cubicBezTo>
                      <a:pt x="996139" y="1377532"/>
                      <a:pt x="1091379" y="1472772"/>
                      <a:pt x="1208864" y="1472772"/>
                    </a:cubicBezTo>
                    <a:cubicBezTo>
                      <a:pt x="1326349" y="1472772"/>
                      <a:pt x="1421589" y="1377532"/>
                      <a:pt x="1421589" y="1260047"/>
                    </a:cubicBezTo>
                    <a:cubicBezTo>
                      <a:pt x="1421589" y="1142562"/>
                      <a:pt x="1326349" y="1047322"/>
                      <a:pt x="1208864" y="1047322"/>
                    </a:cubicBezTo>
                    <a:close/>
                    <a:moveTo>
                      <a:pt x="2115987" y="1047322"/>
                    </a:moveTo>
                    <a:cubicBezTo>
                      <a:pt x="1998502" y="1047322"/>
                      <a:pt x="1903262" y="1142562"/>
                      <a:pt x="1903262" y="1260047"/>
                    </a:cubicBezTo>
                    <a:cubicBezTo>
                      <a:pt x="1903262" y="1377532"/>
                      <a:pt x="1998502" y="1472772"/>
                      <a:pt x="2115987" y="1472772"/>
                    </a:cubicBezTo>
                    <a:cubicBezTo>
                      <a:pt x="2233472" y="1472772"/>
                      <a:pt x="2328712" y="1377532"/>
                      <a:pt x="2328712" y="1260047"/>
                    </a:cubicBezTo>
                    <a:cubicBezTo>
                      <a:pt x="2328712" y="1142562"/>
                      <a:pt x="2233472" y="1047322"/>
                      <a:pt x="2115987" y="1047322"/>
                    </a:cubicBezTo>
                    <a:close/>
                    <a:moveTo>
                      <a:pt x="516914" y="1913335"/>
                    </a:moveTo>
                    <a:lnTo>
                      <a:pt x="536018" y="1987632"/>
                    </a:lnTo>
                    <a:cubicBezTo>
                      <a:pt x="687687" y="2475264"/>
                      <a:pt x="1142533" y="2829321"/>
                      <a:pt x="1680074" y="2829321"/>
                    </a:cubicBezTo>
                    <a:cubicBezTo>
                      <a:pt x="2217615" y="2829321"/>
                      <a:pt x="2672461" y="2475264"/>
                      <a:pt x="2824130" y="1987632"/>
                    </a:cubicBezTo>
                    <a:lnTo>
                      <a:pt x="2843234" y="1913335"/>
                    </a:lnTo>
                    <a:lnTo>
                      <a:pt x="2613164" y="1913335"/>
                    </a:lnTo>
                    <a:lnTo>
                      <a:pt x="2611114" y="1921305"/>
                    </a:lnTo>
                    <a:cubicBezTo>
                      <a:pt x="2487685" y="2318143"/>
                      <a:pt x="2117528" y="2606277"/>
                      <a:pt x="1680074" y="2606277"/>
                    </a:cubicBezTo>
                    <a:cubicBezTo>
                      <a:pt x="1242620" y="2606277"/>
                      <a:pt x="872464" y="2318143"/>
                      <a:pt x="749034" y="1921305"/>
                    </a:cubicBezTo>
                    <a:lnTo>
                      <a:pt x="746985" y="1913335"/>
                    </a:lnTo>
                    <a:lnTo>
                      <a:pt x="516914" y="1913335"/>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4" name="Freeform 43"/>
              <p:cNvSpPr/>
              <p:nvPr/>
            </p:nvSpPr>
            <p:spPr bwMode="auto">
              <a:xfrm>
                <a:off x="3248025" y="5033549"/>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5" name="Freeform 44"/>
              <p:cNvSpPr/>
              <p:nvPr/>
            </p:nvSpPr>
            <p:spPr bwMode="auto">
              <a:xfrm rot="16200000">
                <a:off x="7377700" y="5041534"/>
                <a:ext cx="1016001" cy="1031971"/>
              </a:xfrm>
              <a:custGeom>
                <a:avLst/>
                <a:gdLst>
                  <a:gd name="connsiteX0" fmla="*/ 0 w 1016001"/>
                  <a:gd name="connsiteY0" fmla="*/ 1061721 h 1061721"/>
                  <a:gd name="connsiteX1" fmla="*/ 0 w 1016001"/>
                  <a:gd name="connsiteY1" fmla="*/ 1016001 h 1061721"/>
                  <a:gd name="connsiteX2" fmla="*/ 0 w 1016001"/>
                  <a:gd name="connsiteY2" fmla="*/ 880746 h 1061721"/>
                  <a:gd name="connsiteX3" fmla="*/ 0 w 1016001"/>
                  <a:gd name="connsiteY3" fmla="*/ 0 h 1061721"/>
                  <a:gd name="connsiteX4" fmla="*/ 180975 w 1016001"/>
                  <a:gd name="connsiteY4" fmla="*/ 0 h 1061721"/>
                  <a:gd name="connsiteX5" fmla="*/ 180975 w 1016001"/>
                  <a:gd name="connsiteY5" fmla="*/ 880746 h 1061721"/>
                  <a:gd name="connsiteX6" fmla="*/ 1016001 w 1016001"/>
                  <a:gd name="connsiteY6" fmla="*/ 880746 h 1061721"/>
                  <a:gd name="connsiteX7" fmla="*/ 1016001 w 1016001"/>
                  <a:gd name="connsiteY7" fmla="*/ 1061721 h 10617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16001" h="1061721">
                    <a:moveTo>
                      <a:pt x="0" y="1061721"/>
                    </a:moveTo>
                    <a:lnTo>
                      <a:pt x="0" y="1016001"/>
                    </a:lnTo>
                    <a:lnTo>
                      <a:pt x="0" y="880746"/>
                    </a:lnTo>
                    <a:lnTo>
                      <a:pt x="0" y="0"/>
                    </a:lnTo>
                    <a:lnTo>
                      <a:pt x="180975" y="0"/>
                    </a:lnTo>
                    <a:lnTo>
                      <a:pt x="180975" y="880746"/>
                    </a:lnTo>
                    <a:lnTo>
                      <a:pt x="1016001" y="880746"/>
                    </a:lnTo>
                    <a:lnTo>
                      <a:pt x="1016001" y="1061721"/>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6" name="Group 25"/>
            <p:cNvGrpSpPr/>
            <p:nvPr/>
          </p:nvGrpSpPr>
          <p:grpSpPr>
            <a:xfrm>
              <a:off x="8883959" y="4029213"/>
              <a:ext cx="286422" cy="241797"/>
              <a:chOff x="4746173" y="1443591"/>
              <a:chExt cx="4626426" cy="3905623"/>
            </a:xfrm>
            <a:solidFill>
              <a:schemeClr val="bg1"/>
            </a:solidFill>
          </p:grpSpPr>
          <p:grpSp>
            <p:nvGrpSpPr>
              <p:cNvPr id="27" name="Group 386"/>
              <p:cNvGrpSpPr>
                <a:grpSpLocks noChangeAspect="1"/>
              </p:cNvGrpSpPr>
              <p:nvPr/>
            </p:nvGrpSpPr>
            <p:grpSpPr bwMode="auto">
              <a:xfrm>
                <a:off x="4746173" y="2973313"/>
                <a:ext cx="1414640" cy="2318440"/>
                <a:chOff x="-1261" y="1888"/>
                <a:chExt cx="576" cy="944"/>
              </a:xfrm>
              <a:grpFill/>
            </p:grpSpPr>
            <p:sp>
              <p:nvSpPr>
                <p:cNvPr id="38" name="Freeform 387"/>
                <p:cNvSpPr>
                  <a:spLocks/>
                </p:cNvSpPr>
                <p:nvPr/>
              </p:nvSpPr>
              <p:spPr bwMode="auto">
                <a:xfrm>
                  <a:off x="-1115" y="1888"/>
                  <a:ext cx="284" cy="607"/>
                </a:xfrm>
                <a:custGeom>
                  <a:avLst/>
                  <a:gdLst>
                    <a:gd name="T0" fmla="*/ 60 w 120"/>
                    <a:gd name="T1" fmla="*/ 257 h 257"/>
                    <a:gd name="T2" fmla="*/ 120 w 120"/>
                    <a:gd name="T3" fmla="*/ 196 h 257"/>
                    <a:gd name="T4" fmla="*/ 120 w 120"/>
                    <a:gd name="T5" fmla="*/ 61 h 257"/>
                    <a:gd name="T6" fmla="*/ 60 w 120"/>
                    <a:gd name="T7" fmla="*/ 0 h 257"/>
                    <a:gd name="T8" fmla="*/ 0 w 120"/>
                    <a:gd name="T9" fmla="*/ 61 h 257"/>
                    <a:gd name="T10" fmla="*/ 0 w 120"/>
                    <a:gd name="T11" fmla="*/ 196 h 257"/>
                    <a:gd name="T12" fmla="*/ 60 w 120"/>
                    <a:gd name="T13" fmla="*/ 257 h 257"/>
                  </a:gdLst>
                  <a:ahLst/>
                  <a:cxnLst>
                    <a:cxn ang="0">
                      <a:pos x="T0" y="T1"/>
                    </a:cxn>
                    <a:cxn ang="0">
                      <a:pos x="T2" y="T3"/>
                    </a:cxn>
                    <a:cxn ang="0">
                      <a:pos x="T4" y="T5"/>
                    </a:cxn>
                    <a:cxn ang="0">
                      <a:pos x="T6" y="T7"/>
                    </a:cxn>
                    <a:cxn ang="0">
                      <a:pos x="T8" y="T9"/>
                    </a:cxn>
                    <a:cxn ang="0">
                      <a:pos x="T10" y="T11"/>
                    </a:cxn>
                    <a:cxn ang="0">
                      <a:pos x="T12" y="T13"/>
                    </a:cxn>
                  </a:cxnLst>
                  <a:rect l="0" t="0" r="r" b="b"/>
                  <a:pathLst>
                    <a:path w="120" h="257">
                      <a:moveTo>
                        <a:pt x="60" y="257"/>
                      </a:moveTo>
                      <a:cubicBezTo>
                        <a:pt x="93" y="257"/>
                        <a:pt x="120" y="230"/>
                        <a:pt x="120" y="196"/>
                      </a:cubicBezTo>
                      <a:cubicBezTo>
                        <a:pt x="120" y="175"/>
                        <a:pt x="120" y="86"/>
                        <a:pt x="120" y="61"/>
                      </a:cubicBezTo>
                      <a:cubicBezTo>
                        <a:pt x="120" y="27"/>
                        <a:pt x="93" y="0"/>
                        <a:pt x="60" y="0"/>
                      </a:cubicBezTo>
                      <a:cubicBezTo>
                        <a:pt x="27" y="0"/>
                        <a:pt x="0" y="27"/>
                        <a:pt x="0" y="61"/>
                      </a:cubicBezTo>
                      <a:cubicBezTo>
                        <a:pt x="0" y="80"/>
                        <a:pt x="0" y="177"/>
                        <a:pt x="0" y="196"/>
                      </a:cubicBezTo>
                      <a:cubicBezTo>
                        <a:pt x="0" y="230"/>
                        <a:pt x="27" y="257"/>
                        <a:pt x="60" y="25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896167"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FFFFFF"/>
                    </a:solidFill>
                    <a:effectLst/>
                    <a:uLnTx/>
                    <a:uFillTx/>
                  </a:endParaRPr>
                </a:p>
              </p:txBody>
            </p:sp>
            <p:sp>
              <p:nvSpPr>
                <p:cNvPr id="39" name="Freeform 388"/>
                <p:cNvSpPr>
                  <a:spLocks/>
                </p:cNvSpPr>
                <p:nvPr/>
              </p:nvSpPr>
              <p:spPr bwMode="auto">
                <a:xfrm>
                  <a:off x="-1261" y="2261"/>
                  <a:ext cx="576" cy="571"/>
                </a:xfrm>
                <a:custGeom>
                  <a:avLst/>
                  <a:gdLst>
                    <a:gd name="T0" fmla="*/ 204 w 244"/>
                    <a:gd name="T1" fmla="*/ 0 h 242"/>
                    <a:gd name="T2" fmla="*/ 204 w 244"/>
                    <a:gd name="T3" fmla="*/ 51 h 242"/>
                    <a:gd name="T4" fmla="*/ 136 w 244"/>
                    <a:gd name="T5" fmla="*/ 120 h 242"/>
                    <a:gd name="T6" fmla="*/ 108 w 244"/>
                    <a:gd name="T7" fmla="*/ 120 h 242"/>
                    <a:gd name="T8" fmla="*/ 40 w 244"/>
                    <a:gd name="T9" fmla="*/ 51 h 242"/>
                    <a:gd name="T10" fmla="*/ 40 w 244"/>
                    <a:gd name="T11" fmla="*/ 0 h 242"/>
                    <a:gd name="T12" fmla="*/ 0 w 244"/>
                    <a:gd name="T13" fmla="*/ 0 h 242"/>
                    <a:gd name="T14" fmla="*/ 0 w 244"/>
                    <a:gd name="T15" fmla="*/ 51 h 242"/>
                    <a:gd name="T16" fmla="*/ 102 w 244"/>
                    <a:gd name="T17" fmla="*/ 160 h 242"/>
                    <a:gd name="T18" fmla="*/ 102 w 244"/>
                    <a:gd name="T19" fmla="*/ 202 h 242"/>
                    <a:gd name="T20" fmla="*/ 41 w 244"/>
                    <a:gd name="T21" fmla="*/ 202 h 242"/>
                    <a:gd name="T22" fmla="*/ 41 w 244"/>
                    <a:gd name="T23" fmla="*/ 242 h 242"/>
                    <a:gd name="T24" fmla="*/ 203 w 244"/>
                    <a:gd name="T25" fmla="*/ 242 h 242"/>
                    <a:gd name="T26" fmla="*/ 203 w 244"/>
                    <a:gd name="T27" fmla="*/ 202 h 242"/>
                    <a:gd name="T28" fmla="*/ 142 w 244"/>
                    <a:gd name="T29" fmla="*/ 202 h 242"/>
                    <a:gd name="T30" fmla="*/ 142 w 244"/>
                    <a:gd name="T31" fmla="*/ 160 h 242"/>
                    <a:gd name="T32" fmla="*/ 244 w 244"/>
                    <a:gd name="T33" fmla="*/ 51 h 242"/>
                    <a:gd name="T34" fmla="*/ 244 w 244"/>
                    <a:gd name="T35" fmla="*/ 0 h 242"/>
                    <a:gd name="T36" fmla="*/ 204 w 244"/>
                    <a:gd name="T37" fmla="*/ 0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44" h="242">
                      <a:moveTo>
                        <a:pt x="204" y="0"/>
                      </a:moveTo>
                      <a:cubicBezTo>
                        <a:pt x="204" y="51"/>
                        <a:pt x="204" y="51"/>
                        <a:pt x="204" y="51"/>
                      </a:cubicBezTo>
                      <a:cubicBezTo>
                        <a:pt x="204" y="89"/>
                        <a:pt x="173" y="120"/>
                        <a:pt x="136" y="120"/>
                      </a:cubicBezTo>
                      <a:cubicBezTo>
                        <a:pt x="108" y="120"/>
                        <a:pt x="108" y="120"/>
                        <a:pt x="108" y="120"/>
                      </a:cubicBezTo>
                      <a:cubicBezTo>
                        <a:pt x="71" y="120"/>
                        <a:pt x="40" y="89"/>
                        <a:pt x="40" y="51"/>
                      </a:cubicBezTo>
                      <a:cubicBezTo>
                        <a:pt x="40" y="0"/>
                        <a:pt x="40" y="0"/>
                        <a:pt x="40" y="0"/>
                      </a:cubicBezTo>
                      <a:cubicBezTo>
                        <a:pt x="0" y="0"/>
                        <a:pt x="0" y="0"/>
                        <a:pt x="0" y="0"/>
                      </a:cubicBezTo>
                      <a:cubicBezTo>
                        <a:pt x="0" y="51"/>
                        <a:pt x="0" y="51"/>
                        <a:pt x="0" y="51"/>
                      </a:cubicBezTo>
                      <a:cubicBezTo>
                        <a:pt x="0" y="109"/>
                        <a:pt x="45" y="156"/>
                        <a:pt x="102" y="160"/>
                      </a:cubicBezTo>
                      <a:cubicBezTo>
                        <a:pt x="102" y="202"/>
                        <a:pt x="102" y="202"/>
                        <a:pt x="102" y="202"/>
                      </a:cubicBezTo>
                      <a:cubicBezTo>
                        <a:pt x="41" y="202"/>
                        <a:pt x="41" y="202"/>
                        <a:pt x="41" y="202"/>
                      </a:cubicBezTo>
                      <a:cubicBezTo>
                        <a:pt x="41" y="242"/>
                        <a:pt x="41" y="242"/>
                        <a:pt x="41" y="242"/>
                      </a:cubicBezTo>
                      <a:cubicBezTo>
                        <a:pt x="203" y="242"/>
                        <a:pt x="203" y="242"/>
                        <a:pt x="203" y="242"/>
                      </a:cubicBezTo>
                      <a:cubicBezTo>
                        <a:pt x="203" y="202"/>
                        <a:pt x="203" y="202"/>
                        <a:pt x="203" y="202"/>
                      </a:cubicBezTo>
                      <a:cubicBezTo>
                        <a:pt x="142" y="202"/>
                        <a:pt x="142" y="202"/>
                        <a:pt x="142" y="202"/>
                      </a:cubicBezTo>
                      <a:cubicBezTo>
                        <a:pt x="142" y="160"/>
                        <a:pt x="142" y="160"/>
                        <a:pt x="142" y="160"/>
                      </a:cubicBezTo>
                      <a:cubicBezTo>
                        <a:pt x="199" y="156"/>
                        <a:pt x="244" y="109"/>
                        <a:pt x="244" y="51"/>
                      </a:cubicBezTo>
                      <a:cubicBezTo>
                        <a:pt x="244" y="0"/>
                        <a:pt x="244" y="0"/>
                        <a:pt x="244" y="0"/>
                      </a:cubicBezTo>
                      <a:lnTo>
                        <a:pt x="20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896167"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FFFFFF"/>
                    </a:solidFill>
                    <a:effectLst/>
                    <a:uLnTx/>
                    <a:uFillTx/>
                  </a:endParaRPr>
                </a:p>
              </p:txBody>
            </p:sp>
            <p:sp>
              <p:nvSpPr>
                <p:cNvPr id="40" name="Freeform 389"/>
                <p:cNvSpPr>
                  <a:spLocks noEditPoints="1"/>
                </p:cNvSpPr>
                <p:nvPr/>
              </p:nvSpPr>
              <p:spPr bwMode="auto">
                <a:xfrm>
                  <a:off x="-926" y="273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896167"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FFFFFF"/>
                    </a:solidFill>
                    <a:effectLst/>
                    <a:uLnTx/>
                    <a:uFillTx/>
                  </a:endParaRPr>
                </a:p>
              </p:txBody>
            </p:sp>
          </p:grpSp>
          <p:grpSp>
            <p:nvGrpSpPr>
              <p:cNvPr id="28" name="Group 27"/>
              <p:cNvGrpSpPr/>
              <p:nvPr/>
            </p:nvGrpSpPr>
            <p:grpSpPr>
              <a:xfrm>
                <a:off x="5345480" y="1443592"/>
                <a:ext cx="1381394" cy="1269128"/>
                <a:chOff x="5345480" y="1443592"/>
                <a:chExt cx="1381394" cy="1269128"/>
              </a:xfrm>
              <a:grpFill/>
            </p:grpSpPr>
            <p:sp>
              <p:nvSpPr>
                <p:cNvPr id="36" name="Bent Arrow 35"/>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7" name="Isosceles Triangle 36"/>
                <p:cNvSpPr/>
                <p:nvPr/>
              </p:nvSpPr>
              <p:spPr bwMode="auto">
                <a:xfrm rot="5400000">
                  <a:off x="6110896" y="1589033"/>
                  <a:ext cx="761420" cy="47053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29" name="Group 28"/>
              <p:cNvGrpSpPr/>
              <p:nvPr/>
            </p:nvGrpSpPr>
            <p:grpSpPr>
              <a:xfrm rot="10800000">
                <a:off x="7049745" y="4080086"/>
                <a:ext cx="1381394" cy="1269128"/>
                <a:chOff x="5345480" y="1443592"/>
                <a:chExt cx="1381394" cy="1269128"/>
              </a:xfrm>
              <a:grpFill/>
            </p:grpSpPr>
            <p:sp>
              <p:nvSpPr>
                <p:cNvPr id="34" name="Bent Arrow 33"/>
                <p:cNvSpPr/>
                <p:nvPr/>
              </p:nvSpPr>
              <p:spPr bwMode="auto">
                <a:xfrm>
                  <a:off x="5345480" y="1554480"/>
                  <a:ext cx="1222960" cy="1158240"/>
                </a:xfrm>
                <a:prstGeom prst="bentArrow">
                  <a:avLst>
                    <a:gd name="adj1" fmla="val 19737"/>
                    <a:gd name="adj2" fmla="val 25000"/>
                    <a:gd name="adj3" fmla="val 26316"/>
                    <a:gd name="adj4" fmla="val 55925"/>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5" name="Isosceles Triangle 34"/>
                <p:cNvSpPr/>
                <p:nvPr/>
              </p:nvSpPr>
              <p:spPr bwMode="auto">
                <a:xfrm rot="5400000">
                  <a:off x="6110896" y="1589033"/>
                  <a:ext cx="761420" cy="470537"/>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30" name="Freeform 29"/>
              <p:cNvSpPr/>
              <p:nvPr/>
            </p:nvSpPr>
            <p:spPr bwMode="auto">
              <a:xfrm>
                <a:off x="7275189" y="1443591"/>
                <a:ext cx="2097410" cy="2549289"/>
              </a:xfrm>
              <a:custGeom>
                <a:avLst/>
                <a:gdLst>
                  <a:gd name="connsiteX0" fmla="*/ 0 w 2097410"/>
                  <a:gd name="connsiteY0" fmla="*/ 0 h 2549289"/>
                  <a:gd name="connsiteX1" fmla="*/ 2097410 w 2097410"/>
                  <a:gd name="connsiteY1" fmla="*/ 0 h 2549289"/>
                  <a:gd name="connsiteX2" fmla="*/ 2097410 w 2097410"/>
                  <a:gd name="connsiteY2" fmla="*/ 2549289 h 2549289"/>
                  <a:gd name="connsiteX3" fmla="*/ 0 w 2097410"/>
                  <a:gd name="connsiteY3" fmla="*/ 2549289 h 2549289"/>
                  <a:gd name="connsiteX4" fmla="*/ 0 w 2097410"/>
                  <a:gd name="connsiteY4" fmla="*/ 0 h 2549289"/>
                  <a:gd name="connsiteX5" fmla="*/ 157095 w 2097410"/>
                  <a:gd name="connsiteY5" fmla="*/ 154388 h 2549289"/>
                  <a:gd name="connsiteX6" fmla="*/ 157095 w 2097410"/>
                  <a:gd name="connsiteY6" fmla="*/ 2394900 h 2549289"/>
                  <a:gd name="connsiteX7" fmla="*/ 1940316 w 2097410"/>
                  <a:gd name="connsiteY7" fmla="*/ 2394900 h 2549289"/>
                  <a:gd name="connsiteX8" fmla="*/ 1940316 w 2097410"/>
                  <a:gd name="connsiteY8" fmla="*/ 154388 h 2549289"/>
                  <a:gd name="connsiteX9" fmla="*/ 157095 w 2097410"/>
                  <a:gd name="connsiteY9" fmla="*/ 154388 h 25492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097410" h="2549289">
                    <a:moveTo>
                      <a:pt x="0" y="0"/>
                    </a:moveTo>
                    <a:lnTo>
                      <a:pt x="2097410" y="0"/>
                    </a:lnTo>
                    <a:lnTo>
                      <a:pt x="2097410" y="2549289"/>
                    </a:lnTo>
                    <a:lnTo>
                      <a:pt x="0" y="2549289"/>
                    </a:lnTo>
                    <a:lnTo>
                      <a:pt x="0" y="0"/>
                    </a:lnTo>
                    <a:close/>
                    <a:moveTo>
                      <a:pt x="157095" y="154388"/>
                    </a:moveTo>
                    <a:lnTo>
                      <a:pt x="157095" y="2394900"/>
                    </a:lnTo>
                    <a:lnTo>
                      <a:pt x="1940316" y="2394900"/>
                    </a:lnTo>
                    <a:lnTo>
                      <a:pt x="1940316" y="154388"/>
                    </a:lnTo>
                    <a:lnTo>
                      <a:pt x="157095" y="15438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1" name="Rectangle 30"/>
              <p:cNvSpPr/>
              <p:nvPr/>
            </p:nvSpPr>
            <p:spPr bwMode="auto">
              <a:xfrm>
                <a:off x="7711440" y="1981200"/>
                <a:ext cx="112776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2" name="Rectangle 31"/>
              <p:cNvSpPr/>
              <p:nvPr/>
            </p:nvSpPr>
            <p:spPr bwMode="auto">
              <a:xfrm>
                <a:off x="7711440" y="2518221"/>
                <a:ext cx="112776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33" name="Rectangle 32"/>
              <p:cNvSpPr/>
              <p:nvPr/>
            </p:nvSpPr>
            <p:spPr bwMode="auto">
              <a:xfrm>
                <a:off x="7711440" y="3055242"/>
                <a:ext cx="1127760" cy="1524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46" name="Group 45"/>
          <p:cNvGrpSpPr/>
          <p:nvPr/>
        </p:nvGrpSpPr>
        <p:grpSpPr>
          <a:xfrm>
            <a:off x="8359684" y="3078242"/>
            <a:ext cx="2105082" cy="985811"/>
            <a:chOff x="8527913" y="2888721"/>
            <a:chExt cx="2147853" cy="1005840"/>
          </a:xfrm>
        </p:grpSpPr>
        <p:sp>
          <p:nvSpPr>
            <p:cNvPr id="47" name="Rectangle 46"/>
            <p:cNvSpPr/>
            <p:nvPr/>
          </p:nvSpPr>
          <p:spPr bwMode="auto">
            <a:xfrm>
              <a:off x="8527913" y="2888721"/>
              <a:ext cx="2147853" cy="1005840"/>
            </a:xfrm>
            <a:prstGeom prst="rect">
              <a:avLst/>
            </a:prstGeom>
            <a:solidFill>
              <a:schemeClr val="bg2">
                <a:lumMod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9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Персональный цифровой ассистент</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sp>
          <p:nvSpPr>
            <p:cNvPr id="48" name="Rectangle 47"/>
            <p:cNvSpPr/>
            <p:nvPr/>
          </p:nvSpPr>
          <p:spPr>
            <a:xfrm>
              <a:off x="9194516" y="3462912"/>
              <a:ext cx="687945" cy="276999"/>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Cortana</a:t>
              </a:r>
            </a:p>
          </p:txBody>
        </p:sp>
        <p:pic>
          <p:nvPicPr>
            <p:cNvPr id="49" name="Picture 48" descr="http://winaero.com/blog/wp-content/uploads/2015/01/cortana-icon.png"/>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876963" y="3478196"/>
              <a:ext cx="259973" cy="2599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0" name="Group 49"/>
          <p:cNvGrpSpPr/>
          <p:nvPr/>
        </p:nvGrpSpPr>
        <p:grpSpPr>
          <a:xfrm>
            <a:off x="8369587" y="1999124"/>
            <a:ext cx="2095181" cy="985811"/>
            <a:chOff x="8538017" y="1787678"/>
            <a:chExt cx="2137750" cy="1005840"/>
          </a:xfrm>
        </p:grpSpPr>
        <p:sp>
          <p:nvSpPr>
            <p:cNvPr id="51" name="Rectangle 50"/>
            <p:cNvSpPr/>
            <p:nvPr/>
          </p:nvSpPr>
          <p:spPr bwMode="auto">
            <a:xfrm>
              <a:off x="8538017" y="1787678"/>
              <a:ext cx="2137750" cy="1005840"/>
            </a:xfrm>
            <a:prstGeom prst="rect">
              <a:avLst/>
            </a:prstGeom>
            <a:solidFill>
              <a:schemeClr val="bg2">
                <a:lumMod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9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Визуализация </a:t>
              </a:r>
              <a:b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и </a:t>
              </a:r>
              <a:r>
                <a:rPr kumimoji="0" lang="ru-RU" sz="1568" b="1" i="0" u="none" strike="noStrike" kern="0" cap="none" spc="-29" normalizeH="0" baseline="0" noProof="0" dirty="0" err="1">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дэшборды</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grpSp>
          <p:nvGrpSpPr>
            <p:cNvPr id="52" name="Group 51"/>
            <p:cNvGrpSpPr/>
            <p:nvPr/>
          </p:nvGrpSpPr>
          <p:grpSpPr>
            <a:xfrm>
              <a:off x="8847475" y="2434373"/>
              <a:ext cx="399110" cy="255091"/>
              <a:chOff x="4481847" y="2708926"/>
              <a:chExt cx="673103" cy="430214"/>
            </a:xfrm>
            <a:solidFill>
              <a:schemeClr val="bg1"/>
            </a:solidFill>
          </p:grpSpPr>
          <p:sp>
            <p:nvSpPr>
              <p:cNvPr id="54" name="Freeform 5"/>
              <p:cNvSpPr>
                <a:spLocks noEditPoints="1"/>
              </p:cNvSpPr>
              <p:nvPr/>
            </p:nvSpPr>
            <p:spPr bwMode="auto">
              <a:xfrm>
                <a:off x="4481847" y="2708926"/>
                <a:ext cx="673103" cy="430214"/>
              </a:xfrm>
              <a:custGeom>
                <a:avLst/>
                <a:gdLst>
                  <a:gd name="T0" fmla="*/ 296 w 296"/>
                  <a:gd name="T1" fmla="*/ 164 h 188"/>
                  <a:gd name="T2" fmla="*/ 296 w 296"/>
                  <a:gd name="T3" fmla="*/ 188 h 188"/>
                  <a:gd name="T4" fmla="*/ 0 w 296"/>
                  <a:gd name="T5" fmla="*/ 188 h 188"/>
                  <a:gd name="T6" fmla="*/ 0 w 296"/>
                  <a:gd name="T7" fmla="*/ 164 h 188"/>
                  <a:gd name="T8" fmla="*/ 21 w 296"/>
                  <a:gd name="T9" fmla="*/ 164 h 188"/>
                  <a:gd name="T10" fmla="*/ 20 w 296"/>
                  <a:gd name="T11" fmla="*/ 22 h 188"/>
                  <a:gd name="T12" fmla="*/ 42 w 296"/>
                  <a:gd name="T13" fmla="*/ 0 h 188"/>
                  <a:gd name="T14" fmla="*/ 222 w 296"/>
                  <a:gd name="T15" fmla="*/ 1 h 188"/>
                  <a:gd name="T16" fmla="*/ 275 w 296"/>
                  <a:gd name="T17" fmla="*/ 54 h 188"/>
                  <a:gd name="T18" fmla="*/ 275 w 296"/>
                  <a:gd name="T19" fmla="*/ 164 h 188"/>
                  <a:gd name="T20" fmla="*/ 296 w 296"/>
                  <a:gd name="T21" fmla="*/ 164 h 188"/>
                  <a:gd name="T22" fmla="*/ 251 w 296"/>
                  <a:gd name="T23" fmla="*/ 164 h 188"/>
                  <a:gd name="T24" fmla="*/ 251 w 296"/>
                  <a:gd name="T25" fmla="*/ 25 h 188"/>
                  <a:gd name="T26" fmla="*/ 45 w 296"/>
                  <a:gd name="T27" fmla="*/ 25 h 188"/>
                  <a:gd name="T28" fmla="*/ 45 w 296"/>
                  <a:gd name="T29" fmla="*/ 164 h 188"/>
                  <a:gd name="T30" fmla="*/ 251 w 296"/>
                  <a:gd name="T31" fmla="*/ 164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8">
                    <a:moveTo>
                      <a:pt x="296" y="164"/>
                    </a:moveTo>
                    <a:cubicBezTo>
                      <a:pt x="296" y="172"/>
                      <a:pt x="296" y="180"/>
                      <a:pt x="296" y="188"/>
                    </a:cubicBezTo>
                    <a:cubicBezTo>
                      <a:pt x="197" y="188"/>
                      <a:pt x="99" y="188"/>
                      <a:pt x="0" y="188"/>
                    </a:cubicBezTo>
                    <a:cubicBezTo>
                      <a:pt x="0" y="180"/>
                      <a:pt x="0" y="172"/>
                      <a:pt x="0" y="164"/>
                    </a:cubicBezTo>
                    <a:cubicBezTo>
                      <a:pt x="6" y="164"/>
                      <a:pt x="13" y="164"/>
                      <a:pt x="21" y="164"/>
                    </a:cubicBezTo>
                    <a:cubicBezTo>
                      <a:pt x="21" y="115"/>
                      <a:pt x="21" y="69"/>
                      <a:pt x="20" y="22"/>
                    </a:cubicBezTo>
                    <a:cubicBezTo>
                      <a:pt x="20" y="6"/>
                      <a:pt x="25" y="0"/>
                      <a:pt x="42" y="0"/>
                    </a:cubicBezTo>
                    <a:cubicBezTo>
                      <a:pt x="102" y="1"/>
                      <a:pt x="162" y="1"/>
                      <a:pt x="222" y="1"/>
                    </a:cubicBezTo>
                    <a:cubicBezTo>
                      <a:pt x="275" y="1"/>
                      <a:pt x="275" y="1"/>
                      <a:pt x="275" y="54"/>
                    </a:cubicBezTo>
                    <a:cubicBezTo>
                      <a:pt x="275" y="91"/>
                      <a:pt x="275" y="127"/>
                      <a:pt x="275" y="164"/>
                    </a:cubicBezTo>
                    <a:cubicBezTo>
                      <a:pt x="284" y="164"/>
                      <a:pt x="290" y="164"/>
                      <a:pt x="296" y="164"/>
                    </a:cubicBezTo>
                    <a:close/>
                    <a:moveTo>
                      <a:pt x="251" y="164"/>
                    </a:moveTo>
                    <a:cubicBezTo>
                      <a:pt x="251" y="116"/>
                      <a:pt x="251" y="70"/>
                      <a:pt x="251" y="25"/>
                    </a:cubicBezTo>
                    <a:cubicBezTo>
                      <a:pt x="181" y="25"/>
                      <a:pt x="113" y="25"/>
                      <a:pt x="45" y="25"/>
                    </a:cubicBezTo>
                    <a:cubicBezTo>
                      <a:pt x="45" y="72"/>
                      <a:pt x="45" y="118"/>
                      <a:pt x="45" y="164"/>
                    </a:cubicBezTo>
                    <a:cubicBezTo>
                      <a:pt x="114" y="164"/>
                      <a:pt x="182" y="164"/>
                      <a:pt x="251" y="164"/>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55" name="Freeform 6"/>
              <p:cNvSpPr>
                <a:spLocks/>
              </p:cNvSpPr>
              <p:nvPr/>
            </p:nvSpPr>
            <p:spPr bwMode="auto">
              <a:xfrm>
                <a:off x="4727910" y="2799414"/>
                <a:ext cx="73024" cy="257176"/>
              </a:xfrm>
              <a:custGeom>
                <a:avLst/>
                <a:gdLst>
                  <a:gd name="T0" fmla="*/ 31 w 32"/>
                  <a:gd name="T1" fmla="*/ 58 h 112"/>
                  <a:gd name="T2" fmla="*/ 32 w 32"/>
                  <a:gd name="T3" fmla="*/ 94 h 112"/>
                  <a:gd name="T4" fmla="*/ 16 w 32"/>
                  <a:gd name="T5" fmla="*/ 112 h 112"/>
                  <a:gd name="T6" fmla="*/ 0 w 32"/>
                  <a:gd name="T7" fmla="*/ 93 h 112"/>
                  <a:gd name="T8" fmla="*/ 0 w 32"/>
                  <a:gd name="T9" fmla="*/ 15 h 112"/>
                  <a:gd name="T10" fmla="*/ 15 w 32"/>
                  <a:gd name="T11" fmla="*/ 0 h 112"/>
                  <a:gd name="T12" fmla="*/ 32 w 32"/>
                  <a:gd name="T13" fmla="*/ 16 h 112"/>
                  <a:gd name="T14" fmla="*/ 31 w 32"/>
                  <a:gd name="T15" fmla="*/ 58 h 1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112">
                    <a:moveTo>
                      <a:pt x="31" y="58"/>
                    </a:moveTo>
                    <a:cubicBezTo>
                      <a:pt x="31" y="70"/>
                      <a:pt x="31" y="82"/>
                      <a:pt x="32" y="94"/>
                    </a:cubicBezTo>
                    <a:cubicBezTo>
                      <a:pt x="32" y="105"/>
                      <a:pt x="30" y="112"/>
                      <a:pt x="16" y="112"/>
                    </a:cubicBezTo>
                    <a:cubicBezTo>
                      <a:pt x="1" y="112"/>
                      <a:pt x="0" y="104"/>
                      <a:pt x="0" y="93"/>
                    </a:cubicBezTo>
                    <a:cubicBezTo>
                      <a:pt x="1" y="67"/>
                      <a:pt x="1" y="41"/>
                      <a:pt x="0" y="15"/>
                    </a:cubicBezTo>
                    <a:cubicBezTo>
                      <a:pt x="0" y="4"/>
                      <a:pt x="4" y="0"/>
                      <a:pt x="15" y="0"/>
                    </a:cubicBezTo>
                    <a:cubicBezTo>
                      <a:pt x="27" y="0"/>
                      <a:pt x="32" y="4"/>
                      <a:pt x="32" y="16"/>
                    </a:cubicBezTo>
                    <a:cubicBezTo>
                      <a:pt x="31" y="30"/>
                      <a:pt x="31" y="44"/>
                      <a:pt x="31" y="58"/>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56" name="Freeform 7"/>
              <p:cNvSpPr>
                <a:spLocks/>
              </p:cNvSpPr>
              <p:nvPr/>
            </p:nvSpPr>
            <p:spPr bwMode="auto">
              <a:xfrm>
                <a:off x="4837449" y="2872438"/>
                <a:ext cx="74613" cy="184150"/>
              </a:xfrm>
              <a:custGeom>
                <a:avLst/>
                <a:gdLst>
                  <a:gd name="T0" fmla="*/ 31 w 33"/>
                  <a:gd name="T1" fmla="*/ 40 h 80"/>
                  <a:gd name="T2" fmla="*/ 32 w 33"/>
                  <a:gd name="T3" fmla="*/ 62 h 80"/>
                  <a:gd name="T4" fmla="*/ 16 w 33"/>
                  <a:gd name="T5" fmla="*/ 80 h 80"/>
                  <a:gd name="T6" fmla="*/ 0 w 33"/>
                  <a:gd name="T7" fmla="*/ 61 h 80"/>
                  <a:gd name="T8" fmla="*/ 0 w 33"/>
                  <a:gd name="T9" fmla="*/ 17 h 80"/>
                  <a:gd name="T10" fmla="*/ 15 w 33"/>
                  <a:gd name="T11" fmla="*/ 0 h 80"/>
                  <a:gd name="T12" fmla="*/ 32 w 33"/>
                  <a:gd name="T13" fmla="*/ 18 h 80"/>
                  <a:gd name="T14" fmla="*/ 31 w 33"/>
                  <a:gd name="T15" fmla="*/ 40 h 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80">
                    <a:moveTo>
                      <a:pt x="31" y="40"/>
                    </a:moveTo>
                    <a:cubicBezTo>
                      <a:pt x="31" y="47"/>
                      <a:pt x="31" y="54"/>
                      <a:pt x="32" y="62"/>
                    </a:cubicBezTo>
                    <a:cubicBezTo>
                      <a:pt x="32" y="73"/>
                      <a:pt x="30" y="80"/>
                      <a:pt x="16" y="80"/>
                    </a:cubicBezTo>
                    <a:cubicBezTo>
                      <a:pt x="1" y="80"/>
                      <a:pt x="0" y="72"/>
                      <a:pt x="0" y="61"/>
                    </a:cubicBezTo>
                    <a:cubicBezTo>
                      <a:pt x="1" y="46"/>
                      <a:pt x="1" y="32"/>
                      <a:pt x="0" y="17"/>
                    </a:cubicBezTo>
                    <a:cubicBezTo>
                      <a:pt x="0" y="6"/>
                      <a:pt x="2" y="0"/>
                      <a:pt x="15" y="0"/>
                    </a:cubicBezTo>
                    <a:cubicBezTo>
                      <a:pt x="29" y="0"/>
                      <a:pt x="33" y="6"/>
                      <a:pt x="32" y="18"/>
                    </a:cubicBezTo>
                    <a:cubicBezTo>
                      <a:pt x="31" y="25"/>
                      <a:pt x="31" y="33"/>
                      <a:pt x="31" y="40"/>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57" name="Freeform 8"/>
              <p:cNvSpPr>
                <a:spLocks/>
              </p:cNvSpPr>
              <p:nvPr/>
            </p:nvSpPr>
            <p:spPr bwMode="auto">
              <a:xfrm>
                <a:off x="4604085" y="2937526"/>
                <a:ext cx="103187" cy="119063"/>
              </a:xfrm>
              <a:custGeom>
                <a:avLst/>
                <a:gdLst>
                  <a:gd name="T0" fmla="*/ 6 w 45"/>
                  <a:gd name="T1" fmla="*/ 26 h 52"/>
                  <a:gd name="T2" fmla="*/ 22 w 45"/>
                  <a:gd name="T3" fmla="*/ 0 h 52"/>
                  <a:gd name="T4" fmla="*/ 37 w 45"/>
                  <a:gd name="T5" fmla="*/ 25 h 52"/>
                  <a:gd name="T6" fmla="*/ 23 w 45"/>
                  <a:gd name="T7" fmla="*/ 52 h 52"/>
                  <a:gd name="T8" fmla="*/ 6 w 45"/>
                  <a:gd name="T9" fmla="*/ 26 h 52"/>
                </a:gdLst>
                <a:ahLst/>
                <a:cxnLst>
                  <a:cxn ang="0">
                    <a:pos x="T0" y="T1"/>
                  </a:cxn>
                  <a:cxn ang="0">
                    <a:pos x="T2" y="T3"/>
                  </a:cxn>
                  <a:cxn ang="0">
                    <a:pos x="T4" y="T5"/>
                  </a:cxn>
                  <a:cxn ang="0">
                    <a:pos x="T6" y="T7"/>
                  </a:cxn>
                  <a:cxn ang="0">
                    <a:pos x="T8" y="T9"/>
                  </a:cxn>
                </a:cxnLst>
                <a:rect l="0" t="0" r="r" b="b"/>
                <a:pathLst>
                  <a:path w="45" h="52">
                    <a:moveTo>
                      <a:pt x="6" y="26"/>
                    </a:moveTo>
                    <a:cubicBezTo>
                      <a:pt x="8" y="16"/>
                      <a:pt x="0" y="0"/>
                      <a:pt x="22" y="0"/>
                    </a:cubicBezTo>
                    <a:cubicBezTo>
                      <a:pt x="43" y="0"/>
                      <a:pt x="38" y="14"/>
                      <a:pt x="37" y="25"/>
                    </a:cubicBezTo>
                    <a:cubicBezTo>
                      <a:pt x="36" y="35"/>
                      <a:pt x="45" y="51"/>
                      <a:pt x="23" y="52"/>
                    </a:cubicBezTo>
                    <a:cubicBezTo>
                      <a:pt x="1" y="52"/>
                      <a:pt x="8" y="37"/>
                      <a:pt x="6" y="26"/>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sp>
            <p:nvSpPr>
              <p:cNvPr id="58" name="Freeform 9"/>
              <p:cNvSpPr>
                <a:spLocks/>
              </p:cNvSpPr>
              <p:nvPr/>
            </p:nvSpPr>
            <p:spPr bwMode="auto">
              <a:xfrm>
                <a:off x="4939050" y="2954988"/>
                <a:ext cx="87312" cy="101601"/>
              </a:xfrm>
              <a:custGeom>
                <a:avLst/>
                <a:gdLst>
                  <a:gd name="T0" fmla="*/ 34 w 38"/>
                  <a:gd name="T1" fmla="*/ 21 h 44"/>
                  <a:gd name="T2" fmla="*/ 19 w 38"/>
                  <a:gd name="T3" fmla="*/ 44 h 44"/>
                  <a:gd name="T4" fmla="*/ 3 w 38"/>
                  <a:gd name="T5" fmla="*/ 22 h 44"/>
                  <a:gd name="T6" fmla="*/ 20 w 38"/>
                  <a:gd name="T7" fmla="*/ 0 h 44"/>
                  <a:gd name="T8" fmla="*/ 34 w 38"/>
                  <a:gd name="T9" fmla="*/ 21 h 44"/>
                </a:gdLst>
                <a:ahLst/>
                <a:cxnLst>
                  <a:cxn ang="0">
                    <a:pos x="T0" y="T1"/>
                  </a:cxn>
                  <a:cxn ang="0">
                    <a:pos x="T2" y="T3"/>
                  </a:cxn>
                  <a:cxn ang="0">
                    <a:pos x="T4" y="T5"/>
                  </a:cxn>
                  <a:cxn ang="0">
                    <a:pos x="T6" y="T7"/>
                  </a:cxn>
                  <a:cxn ang="0">
                    <a:pos x="T8" y="T9"/>
                  </a:cxn>
                </a:cxnLst>
                <a:rect l="0" t="0" r="r" b="b"/>
                <a:pathLst>
                  <a:path w="38" h="44">
                    <a:moveTo>
                      <a:pt x="34" y="21"/>
                    </a:moveTo>
                    <a:cubicBezTo>
                      <a:pt x="34" y="32"/>
                      <a:pt x="38" y="44"/>
                      <a:pt x="19" y="44"/>
                    </a:cubicBezTo>
                    <a:cubicBezTo>
                      <a:pt x="0" y="44"/>
                      <a:pt x="4" y="32"/>
                      <a:pt x="3" y="22"/>
                    </a:cubicBezTo>
                    <a:cubicBezTo>
                      <a:pt x="3" y="10"/>
                      <a:pt x="2" y="0"/>
                      <a:pt x="20" y="0"/>
                    </a:cubicBezTo>
                    <a:cubicBezTo>
                      <a:pt x="37" y="0"/>
                      <a:pt x="34" y="11"/>
                      <a:pt x="34" y="21"/>
                    </a:cubicBezTo>
                    <a:close/>
                  </a:path>
                </a:pathLst>
              </a:custGeom>
              <a:solidFill>
                <a:schemeClr val="bg1"/>
              </a:solidFill>
              <a:ln>
                <a:noFill/>
              </a:ln>
            </p:spPr>
            <p:txBody>
              <a:bodyPr vert="horz" wrap="square" lIns="89619" tIns="44810" rIns="89619" bIns="44810" numCol="1" anchor="t" anchorCtr="0" compatLnSpc="1">
                <a:prstTxWarp prst="textNoShape">
                  <a:avLst/>
                </a:prstTxWarp>
              </a:bodyPr>
              <a:lstStyle/>
              <a:p>
                <a:pPr marL="0" marR="0" lvl="0" indent="0" defTabSz="91418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FFFFFF"/>
                  </a:solidFill>
                  <a:effectLst/>
                  <a:uLnTx/>
                  <a:uFillTx/>
                </a:endParaRPr>
              </a:p>
            </p:txBody>
          </p:sp>
        </p:grpSp>
        <p:sp>
          <p:nvSpPr>
            <p:cNvPr id="53" name="Rectangle 52"/>
            <p:cNvSpPr/>
            <p:nvPr/>
          </p:nvSpPr>
          <p:spPr>
            <a:xfrm>
              <a:off x="9204619" y="2421304"/>
              <a:ext cx="737054" cy="278832"/>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Power BI</a:t>
              </a:r>
            </a:p>
          </p:txBody>
        </p:sp>
      </p:grpSp>
      <p:grpSp>
        <p:nvGrpSpPr>
          <p:cNvPr id="59" name="Group 58"/>
          <p:cNvGrpSpPr/>
          <p:nvPr/>
        </p:nvGrpSpPr>
        <p:grpSpPr>
          <a:xfrm>
            <a:off x="6154492" y="2001787"/>
            <a:ext cx="2322949" cy="4234072"/>
            <a:chOff x="6277916" y="1790395"/>
            <a:chExt cx="2370146" cy="4320099"/>
          </a:xfrm>
        </p:grpSpPr>
        <p:sp>
          <p:nvSpPr>
            <p:cNvPr id="60" name="Rectangle 59"/>
            <p:cNvSpPr/>
            <p:nvPr/>
          </p:nvSpPr>
          <p:spPr bwMode="auto">
            <a:xfrm>
              <a:off x="6277916" y="1790395"/>
              <a:ext cx="2079506" cy="4320099"/>
            </a:xfrm>
            <a:prstGeom prst="rect">
              <a:avLst/>
            </a:prstGeom>
            <a:solidFill>
              <a:schemeClr val="bg2">
                <a:lumMod val="2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Машинное Обучение и аналитика</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61" name="Picture 60"/>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98398" y="2896065"/>
              <a:ext cx="353933" cy="375063"/>
            </a:xfrm>
            <a:prstGeom prst="rect">
              <a:avLst/>
            </a:prstGeom>
          </p:spPr>
        </p:pic>
        <p:pic>
          <p:nvPicPr>
            <p:cNvPr id="62" name="Picture 6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380490" y="3992088"/>
              <a:ext cx="428269" cy="310126"/>
            </a:xfrm>
            <a:prstGeom prst="rect">
              <a:avLst/>
            </a:prstGeom>
          </p:spPr>
        </p:pic>
        <p:pic>
          <p:nvPicPr>
            <p:cNvPr id="63" name="Picture 62"/>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351467" y="4994031"/>
              <a:ext cx="474530" cy="367761"/>
            </a:xfrm>
            <a:prstGeom prst="rect">
              <a:avLst/>
            </a:prstGeom>
          </p:spPr>
        </p:pic>
        <p:sp>
          <p:nvSpPr>
            <p:cNvPr id="64" name="Rectangle 63"/>
            <p:cNvSpPr/>
            <p:nvPr/>
          </p:nvSpPr>
          <p:spPr>
            <a:xfrm>
              <a:off x="6767968" y="2860458"/>
              <a:ext cx="1297791" cy="461665"/>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Machine Learning</a:t>
              </a:r>
            </a:p>
          </p:txBody>
        </p:sp>
        <p:sp>
          <p:nvSpPr>
            <p:cNvPr id="65" name="Rectangle 64"/>
            <p:cNvSpPr/>
            <p:nvPr/>
          </p:nvSpPr>
          <p:spPr>
            <a:xfrm>
              <a:off x="6808759" y="3900664"/>
              <a:ext cx="1439497" cy="461665"/>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HDInsight (Hadoop)</a:t>
              </a:r>
            </a:p>
          </p:txBody>
        </p:sp>
        <p:sp>
          <p:nvSpPr>
            <p:cNvPr id="66" name="Rectangle 65"/>
            <p:cNvSpPr/>
            <p:nvPr/>
          </p:nvSpPr>
          <p:spPr>
            <a:xfrm>
              <a:off x="6808759" y="4922306"/>
              <a:ext cx="1216996" cy="463456"/>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tream Analytics</a:t>
              </a:r>
            </a:p>
          </p:txBody>
        </p:sp>
        <p:grpSp>
          <p:nvGrpSpPr>
            <p:cNvPr id="67" name="Group 66"/>
            <p:cNvGrpSpPr/>
            <p:nvPr/>
          </p:nvGrpSpPr>
          <p:grpSpPr>
            <a:xfrm>
              <a:off x="8352819" y="2143445"/>
              <a:ext cx="295243" cy="1834529"/>
              <a:chOff x="3832324" y="5254390"/>
              <a:chExt cx="295243" cy="1834529"/>
            </a:xfrm>
          </p:grpSpPr>
          <p:sp>
            <p:nvSpPr>
              <p:cNvPr id="75" name="Isosceles Triangle 74"/>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6" name="Isosceles Triangle 75"/>
              <p:cNvSpPr/>
              <p:nvPr/>
            </p:nvSpPr>
            <p:spPr bwMode="auto">
              <a:xfrm rot="5400000">
                <a:off x="3529509" y="5557205"/>
                <a:ext cx="853675" cy="248045"/>
              </a:xfrm>
              <a:prstGeom prst="triangle">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7" name="Isosceles Triangle 76"/>
              <p:cNvSpPr/>
              <p:nvPr/>
            </p:nvSpPr>
            <p:spPr bwMode="auto">
              <a:xfrm rot="5400000">
                <a:off x="3576707" y="6538059"/>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8" name="Group 67"/>
            <p:cNvGrpSpPr/>
            <p:nvPr/>
          </p:nvGrpSpPr>
          <p:grpSpPr>
            <a:xfrm>
              <a:off x="8352819" y="4071625"/>
              <a:ext cx="295243" cy="853675"/>
              <a:chOff x="3832324" y="5673490"/>
              <a:chExt cx="295243" cy="853675"/>
            </a:xfrm>
          </p:grpSpPr>
          <p:sp>
            <p:nvSpPr>
              <p:cNvPr id="73" name="Isosceles Triangle 72"/>
              <p:cNvSpPr/>
              <p:nvPr/>
            </p:nvSpPr>
            <p:spPr bwMode="auto">
              <a:xfrm rot="5400000">
                <a:off x="3576707" y="59763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4" name="Isosceles Triangle 73"/>
              <p:cNvSpPr/>
              <p:nvPr/>
            </p:nvSpPr>
            <p:spPr bwMode="auto">
              <a:xfrm rot="5400000">
                <a:off x="3529509" y="5976305"/>
                <a:ext cx="853675" cy="248045"/>
              </a:xfrm>
              <a:prstGeom prst="triangle">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nvGrpSpPr>
            <p:cNvPr id="69" name="Group 68"/>
            <p:cNvGrpSpPr/>
            <p:nvPr/>
          </p:nvGrpSpPr>
          <p:grpSpPr>
            <a:xfrm>
              <a:off x="8352819" y="5171433"/>
              <a:ext cx="295243" cy="853675"/>
              <a:chOff x="3832324" y="5397265"/>
              <a:chExt cx="295243" cy="853675"/>
            </a:xfrm>
          </p:grpSpPr>
          <p:sp>
            <p:nvSpPr>
              <p:cNvPr id="71" name="Isosceles Triangle 70"/>
              <p:cNvSpPr/>
              <p:nvPr/>
            </p:nvSpPr>
            <p:spPr bwMode="auto">
              <a:xfrm rot="5400000">
                <a:off x="3576707" y="5700080"/>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72" name="Isosceles Triangle 71"/>
              <p:cNvSpPr/>
              <p:nvPr/>
            </p:nvSpPr>
            <p:spPr bwMode="auto">
              <a:xfrm rot="5400000">
                <a:off x="3529509" y="5700080"/>
                <a:ext cx="853675" cy="248045"/>
              </a:xfrm>
              <a:prstGeom prst="triangle">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0" name="Isosceles Triangle 69"/>
            <p:cNvSpPr/>
            <p:nvPr/>
          </p:nvSpPr>
          <p:spPr bwMode="auto">
            <a:xfrm rot="5400000">
              <a:off x="8050088" y="3428236"/>
              <a:ext cx="853675" cy="248045"/>
            </a:xfrm>
            <a:prstGeom prst="triangle">
              <a:avLst/>
            </a:prstGeom>
            <a:solidFill>
              <a:schemeClr val="bg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sp>
        <p:nvSpPr>
          <p:cNvPr id="78" name="Freeform 389"/>
          <p:cNvSpPr>
            <a:spLocks noEditPoints="1"/>
          </p:cNvSpPr>
          <p:nvPr/>
        </p:nvSpPr>
        <p:spPr bwMode="auto">
          <a:xfrm>
            <a:off x="8885748" y="3629208"/>
            <a:ext cx="0" cy="0"/>
          </a:xfrm>
          <a:custGeom>
            <a:avLst/>
            <a:gdLst/>
            <a:ahLst/>
            <a:cxnLst>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lose/>
                <a:moveTo>
                  <a:pt x="0" y="0"/>
                </a:moveTo>
                <a:cubicBezTo>
                  <a:pt x="0" y="0"/>
                  <a:pt x="0" y="0"/>
                  <a:pt x="0" y="0"/>
                </a:cubicBezTo>
                <a:cubicBezTo>
                  <a:pt x="0" y="0"/>
                  <a:pt x="0" y="0"/>
                  <a:pt x="0" y="0"/>
                </a:cubicBezTo>
                <a:cubicBezTo>
                  <a:pt x="0" y="0"/>
                  <a:pt x="0" y="0"/>
                  <a:pt x="0" y="0"/>
                </a:cubicBezTo>
                <a:cubicBezTo>
                  <a:pt x="0" y="0"/>
                  <a:pt x="0" y="0"/>
                  <a:pt x="0"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19" tIns="44810" rIns="89619" bIns="44810" numCol="1" anchor="t" anchorCtr="0" compatLnSpc="1">
            <a:prstTxWarp prst="textNoShape">
              <a:avLst/>
            </a:prstTxWarp>
          </a:bodyPr>
          <a:lstStyle/>
          <a:p>
            <a:pPr marL="0" marR="0" lvl="0" indent="0" defTabSz="896167" eaLnBrk="1" fontAlgn="auto" latinLnBrk="0" hangingPunct="1">
              <a:lnSpc>
                <a:spcPct val="100000"/>
              </a:lnSpc>
              <a:spcBef>
                <a:spcPts val="0"/>
              </a:spcBef>
              <a:spcAft>
                <a:spcPts val="0"/>
              </a:spcAft>
              <a:buClrTx/>
              <a:buSzTx/>
              <a:buFontTx/>
              <a:buNone/>
              <a:tabLst/>
              <a:defRPr/>
            </a:pPr>
            <a:endParaRPr kumimoji="0" lang="en-US" sz="1666" b="0" i="0" u="none" strike="noStrike" kern="0" cap="none" spc="0" normalizeH="0" baseline="0" noProof="0">
              <a:ln>
                <a:noFill/>
              </a:ln>
              <a:solidFill>
                <a:srgbClr val="FFFFFF"/>
              </a:solidFill>
              <a:effectLst/>
              <a:uLnTx/>
              <a:uFillTx/>
            </a:endParaRPr>
          </a:p>
        </p:txBody>
      </p:sp>
      <p:grpSp>
        <p:nvGrpSpPr>
          <p:cNvPr id="79" name="Group 78"/>
          <p:cNvGrpSpPr/>
          <p:nvPr/>
        </p:nvGrpSpPr>
        <p:grpSpPr>
          <a:xfrm>
            <a:off x="272318" y="2337277"/>
            <a:ext cx="1520258" cy="3738254"/>
            <a:chOff x="276231" y="2132701"/>
            <a:chExt cx="1551146" cy="3814207"/>
          </a:xfrm>
        </p:grpSpPr>
        <p:cxnSp>
          <p:nvCxnSpPr>
            <p:cNvPr id="80" name="Straight Connector 79"/>
            <p:cNvCxnSpPr/>
            <p:nvPr/>
          </p:nvCxnSpPr>
          <p:spPr>
            <a:xfrm>
              <a:off x="1399592" y="2407298"/>
              <a:ext cx="7864" cy="2729556"/>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cxnSp>
          <p:nvCxnSpPr>
            <p:cNvPr id="81" name="Straight Connector 80"/>
            <p:cNvCxnSpPr/>
            <p:nvPr/>
          </p:nvCxnSpPr>
          <p:spPr>
            <a:xfrm>
              <a:off x="1189630" y="2407298"/>
              <a:ext cx="214604" cy="1"/>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cxnSp>
          <p:nvCxnSpPr>
            <p:cNvPr id="82" name="Straight Connector 81"/>
            <p:cNvCxnSpPr/>
            <p:nvPr/>
          </p:nvCxnSpPr>
          <p:spPr>
            <a:xfrm flipV="1">
              <a:off x="1184988" y="3768264"/>
              <a:ext cx="570278" cy="1"/>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cxnSp>
          <p:nvCxnSpPr>
            <p:cNvPr id="83" name="Straight Connector 82"/>
            <p:cNvCxnSpPr/>
            <p:nvPr/>
          </p:nvCxnSpPr>
          <p:spPr>
            <a:xfrm>
              <a:off x="1189630" y="5136854"/>
              <a:ext cx="214604" cy="1"/>
            </a:xfrm>
            <a:prstGeom prst="line">
              <a:avLst/>
            </a:prstGeom>
            <a:ln w="12700">
              <a:headEnd type="none"/>
              <a:tailEnd type="none"/>
            </a:ln>
          </p:spPr>
          <p:style>
            <a:lnRef idx="1">
              <a:schemeClr val="accent3"/>
            </a:lnRef>
            <a:fillRef idx="0">
              <a:schemeClr val="accent3"/>
            </a:fillRef>
            <a:effectRef idx="0">
              <a:schemeClr val="accent3"/>
            </a:effectRef>
            <a:fontRef idx="minor">
              <a:schemeClr val="tx1"/>
            </a:fontRef>
          </p:style>
        </p:cxnSp>
        <p:sp>
          <p:nvSpPr>
            <p:cNvPr id="84" name="Freeform 34"/>
            <p:cNvSpPr>
              <a:spLocks noEditPoints="1"/>
            </p:cNvSpPr>
            <p:nvPr/>
          </p:nvSpPr>
          <p:spPr bwMode="auto">
            <a:xfrm>
              <a:off x="485527" y="2132701"/>
              <a:ext cx="613677" cy="485488"/>
            </a:xfrm>
            <a:custGeom>
              <a:avLst/>
              <a:gdLst>
                <a:gd name="T0" fmla="*/ 234 w 1464"/>
                <a:gd name="T1" fmla="*/ 815 h 1158"/>
                <a:gd name="T2" fmla="*/ 206 w 1464"/>
                <a:gd name="T3" fmla="*/ 1158 h 1158"/>
                <a:gd name="T4" fmla="*/ 33 w 1464"/>
                <a:gd name="T5" fmla="*/ 1131 h 1158"/>
                <a:gd name="T6" fmla="*/ 89 w 1464"/>
                <a:gd name="T7" fmla="*/ 876 h 1158"/>
                <a:gd name="T8" fmla="*/ 183 w 1464"/>
                <a:gd name="T9" fmla="*/ 876 h 1158"/>
                <a:gd name="T10" fmla="*/ 323 w 1464"/>
                <a:gd name="T11" fmla="*/ 1158 h 1158"/>
                <a:gd name="T12" fmla="*/ 495 w 1464"/>
                <a:gd name="T13" fmla="*/ 1131 h 1158"/>
                <a:gd name="T14" fmla="*/ 295 w 1464"/>
                <a:gd name="T15" fmla="*/ 748 h 1158"/>
                <a:gd name="T16" fmla="*/ 295 w 1464"/>
                <a:gd name="T17" fmla="*/ 1131 h 1158"/>
                <a:gd name="T18" fmla="*/ 584 w 1464"/>
                <a:gd name="T19" fmla="*/ 1158 h 1158"/>
                <a:gd name="T20" fmla="*/ 757 w 1464"/>
                <a:gd name="T21" fmla="*/ 1131 h 1158"/>
                <a:gd name="T22" fmla="*/ 557 w 1464"/>
                <a:gd name="T23" fmla="*/ 493 h 1158"/>
                <a:gd name="T24" fmla="*/ 557 w 1464"/>
                <a:gd name="T25" fmla="*/ 1131 h 1158"/>
                <a:gd name="T26" fmla="*/ 863 w 1464"/>
                <a:gd name="T27" fmla="*/ 676 h 1158"/>
                <a:gd name="T28" fmla="*/ 813 w 1464"/>
                <a:gd name="T29" fmla="*/ 1131 h 1158"/>
                <a:gd name="T30" fmla="*/ 991 w 1464"/>
                <a:gd name="T31" fmla="*/ 1158 h 1158"/>
                <a:gd name="T32" fmla="*/ 1013 w 1464"/>
                <a:gd name="T33" fmla="*/ 610 h 1158"/>
                <a:gd name="T34" fmla="*/ 902 w 1464"/>
                <a:gd name="T35" fmla="*/ 687 h 1158"/>
                <a:gd name="T36" fmla="*/ 1074 w 1464"/>
                <a:gd name="T37" fmla="*/ 1131 h 1158"/>
                <a:gd name="T38" fmla="*/ 1247 w 1464"/>
                <a:gd name="T39" fmla="*/ 1158 h 1158"/>
                <a:gd name="T40" fmla="*/ 1275 w 1464"/>
                <a:gd name="T41" fmla="*/ 366 h 1158"/>
                <a:gd name="T42" fmla="*/ 1074 w 1464"/>
                <a:gd name="T43" fmla="*/ 549 h 1158"/>
                <a:gd name="T44" fmla="*/ 1442 w 1464"/>
                <a:gd name="T45" fmla="*/ 0 h 1158"/>
                <a:gd name="T46" fmla="*/ 1024 w 1464"/>
                <a:gd name="T47" fmla="*/ 33 h 1158"/>
                <a:gd name="T48" fmla="*/ 1130 w 1464"/>
                <a:gd name="T49" fmla="*/ 166 h 1158"/>
                <a:gd name="T50" fmla="*/ 935 w 1464"/>
                <a:gd name="T51" fmla="*/ 410 h 1158"/>
                <a:gd name="T52" fmla="*/ 896 w 1464"/>
                <a:gd name="T53" fmla="*/ 416 h 1158"/>
                <a:gd name="T54" fmla="*/ 540 w 1464"/>
                <a:gd name="T55" fmla="*/ 94 h 1158"/>
                <a:gd name="T56" fmla="*/ 11 w 1464"/>
                <a:gd name="T57" fmla="*/ 704 h 1158"/>
                <a:gd name="T58" fmla="*/ 117 w 1464"/>
                <a:gd name="T59" fmla="*/ 848 h 1158"/>
                <a:gd name="T60" fmla="*/ 156 w 1464"/>
                <a:gd name="T61" fmla="*/ 848 h 1158"/>
                <a:gd name="T62" fmla="*/ 534 w 1464"/>
                <a:gd name="T63" fmla="*/ 443 h 1158"/>
                <a:gd name="T64" fmla="*/ 885 w 1464"/>
                <a:gd name="T65" fmla="*/ 649 h 1158"/>
                <a:gd name="T66" fmla="*/ 930 w 1464"/>
                <a:gd name="T67" fmla="*/ 643 h 1158"/>
                <a:gd name="T68" fmla="*/ 1269 w 1464"/>
                <a:gd name="T69" fmla="*/ 321 h 1158"/>
                <a:gd name="T70" fmla="*/ 1420 w 1464"/>
                <a:gd name="T71" fmla="*/ 460 h 1158"/>
                <a:gd name="T72" fmla="*/ 1442 w 1464"/>
                <a:gd name="T73" fmla="*/ 449 h 1158"/>
                <a:gd name="T74" fmla="*/ 1442 w 1464"/>
                <a:gd name="T75" fmla="*/ 0 h 1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64" h="1158">
                  <a:moveTo>
                    <a:pt x="183" y="876"/>
                  </a:moveTo>
                  <a:cubicBezTo>
                    <a:pt x="234" y="815"/>
                    <a:pt x="234" y="815"/>
                    <a:pt x="234" y="815"/>
                  </a:cubicBezTo>
                  <a:cubicBezTo>
                    <a:pt x="234" y="1131"/>
                    <a:pt x="234" y="1131"/>
                    <a:pt x="234" y="1131"/>
                  </a:cubicBezTo>
                  <a:cubicBezTo>
                    <a:pt x="234" y="1147"/>
                    <a:pt x="222" y="1158"/>
                    <a:pt x="206" y="1158"/>
                  </a:cubicBezTo>
                  <a:cubicBezTo>
                    <a:pt x="61" y="1158"/>
                    <a:pt x="61" y="1158"/>
                    <a:pt x="61" y="1158"/>
                  </a:cubicBezTo>
                  <a:cubicBezTo>
                    <a:pt x="50" y="1158"/>
                    <a:pt x="33" y="1147"/>
                    <a:pt x="33" y="1131"/>
                  </a:cubicBezTo>
                  <a:cubicBezTo>
                    <a:pt x="33" y="820"/>
                    <a:pt x="33" y="820"/>
                    <a:pt x="33" y="820"/>
                  </a:cubicBezTo>
                  <a:cubicBezTo>
                    <a:pt x="89" y="876"/>
                    <a:pt x="89" y="876"/>
                    <a:pt x="89" y="876"/>
                  </a:cubicBezTo>
                  <a:cubicBezTo>
                    <a:pt x="100" y="887"/>
                    <a:pt x="117" y="898"/>
                    <a:pt x="133" y="898"/>
                  </a:cubicBezTo>
                  <a:cubicBezTo>
                    <a:pt x="150" y="898"/>
                    <a:pt x="172" y="887"/>
                    <a:pt x="183" y="876"/>
                  </a:cubicBezTo>
                  <a:close/>
                  <a:moveTo>
                    <a:pt x="295" y="1131"/>
                  </a:moveTo>
                  <a:cubicBezTo>
                    <a:pt x="295" y="1147"/>
                    <a:pt x="306" y="1158"/>
                    <a:pt x="323" y="1158"/>
                  </a:cubicBezTo>
                  <a:cubicBezTo>
                    <a:pt x="467" y="1158"/>
                    <a:pt x="467" y="1158"/>
                    <a:pt x="467" y="1158"/>
                  </a:cubicBezTo>
                  <a:cubicBezTo>
                    <a:pt x="484" y="1158"/>
                    <a:pt x="495" y="1147"/>
                    <a:pt x="495" y="1131"/>
                  </a:cubicBezTo>
                  <a:cubicBezTo>
                    <a:pt x="495" y="527"/>
                    <a:pt x="495" y="527"/>
                    <a:pt x="495" y="527"/>
                  </a:cubicBezTo>
                  <a:cubicBezTo>
                    <a:pt x="295" y="748"/>
                    <a:pt x="295" y="748"/>
                    <a:pt x="295" y="748"/>
                  </a:cubicBezTo>
                  <a:cubicBezTo>
                    <a:pt x="295" y="1131"/>
                    <a:pt x="295" y="1131"/>
                    <a:pt x="295" y="1131"/>
                  </a:cubicBezTo>
                  <a:cubicBezTo>
                    <a:pt x="295" y="1131"/>
                    <a:pt x="295" y="1131"/>
                    <a:pt x="295" y="1131"/>
                  </a:cubicBezTo>
                  <a:close/>
                  <a:moveTo>
                    <a:pt x="557" y="1131"/>
                  </a:moveTo>
                  <a:cubicBezTo>
                    <a:pt x="557" y="1147"/>
                    <a:pt x="568" y="1158"/>
                    <a:pt x="584" y="1158"/>
                  </a:cubicBezTo>
                  <a:cubicBezTo>
                    <a:pt x="729" y="1158"/>
                    <a:pt x="729" y="1158"/>
                    <a:pt x="729" y="1158"/>
                  </a:cubicBezTo>
                  <a:cubicBezTo>
                    <a:pt x="746" y="1158"/>
                    <a:pt x="757" y="1147"/>
                    <a:pt x="757" y="1131"/>
                  </a:cubicBezTo>
                  <a:cubicBezTo>
                    <a:pt x="757" y="615"/>
                    <a:pt x="757" y="615"/>
                    <a:pt x="757" y="615"/>
                  </a:cubicBezTo>
                  <a:cubicBezTo>
                    <a:pt x="557" y="493"/>
                    <a:pt x="557" y="493"/>
                    <a:pt x="557" y="493"/>
                  </a:cubicBezTo>
                  <a:cubicBezTo>
                    <a:pt x="557" y="1131"/>
                    <a:pt x="557" y="1131"/>
                    <a:pt x="557" y="1131"/>
                  </a:cubicBezTo>
                  <a:cubicBezTo>
                    <a:pt x="557" y="1131"/>
                    <a:pt x="557" y="1131"/>
                    <a:pt x="557" y="1131"/>
                  </a:cubicBezTo>
                  <a:close/>
                  <a:moveTo>
                    <a:pt x="902" y="687"/>
                  </a:moveTo>
                  <a:cubicBezTo>
                    <a:pt x="891" y="687"/>
                    <a:pt x="874" y="687"/>
                    <a:pt x="863" y="676"/>
                  </a:cubicBezTo>
                  <a:cubicBezTo>
                    <a:pt x="813" y="649"/>
                    <a:pt x="813" y="649"/>
                    <a:pt x="813" y="649"/>
                  </a:cubicBezTo>
                  <a:cubicBezTo>
                    <a:pt x="813" y="1131"/>
                    <a:pt x="813" y="1131"/>
                    <a:pt x="813" y="1131"/>
                  </a:cubicBezTo>
                  <a:cubicBezTo>
                    <a:pt x="813" y="1147"/>
                    <a:pt x="829" y="1158"/>
                    <a:pt x="841" y="1158"/>
                  </a:cubicBezTo>
                  <a:cubicBezTo>
                    <a:pt x="991" y="1158"/>
                    <a:pt x="991" y="1158"/>
                    <a:pt x="991" y="1158"/>
                  </a:cubicBezTo>
                  <a:cubicBezTo>
                    <a:pt x="1002" y="1158"/>
                    <a:pt x="1013" y="1147"/>
                    <a:pt x="1013" y="1131"/>
                  </a:cubicBezTo>
                  <a:cubicBezTo>
                    <a:pt x="1013" y="610"/>
                    <a:pt x="1013" y="610"/>
                    <a:pt x="1013" y="610"/>
                  </a:cubicBezTo>
                  <a:cubicBezTo>
                    <a:pt x="958" y="671"/>
                    <a:pt x="958" y="671"/>
                    <a:pt x="958" y="671"/>
                  </a:cubicBezTo>
                  <a:cubicBezTo>
                    <a:pt x="941" y="682"/>
                    <a:pt x="924" y="687"/>
                    <a:pt x="902" y="687"/>
                  </a:cubicBezTo>
                  <a:close/>
                  <a:moveTo>
                    <a:pt x="1074" y="549"/>
                  </a:moveTo>
                  <a:cubicBezTo>
                    <a:pt x="1074" y="1131"/>
                    <a:pt x="1074" y="1131"/>
                    <a:pt x="1074" y="1131"/>
                  </a:cubicBezTo>
                  <a:cubicBezTo>
                    <a:pt x="1074" y="1147"/>
                    <a:pt x="1086" y="1158"/>
                    <a:pt x="1102" y="1158"/>
                  </a:cubicBezTo>
                  <a:cubicBezTo>
                    <a:pt x="1247" y="1158"/>
                    <a:pt x="1247" y="1158"/>
                    <a:pt x="1247" y="1158"/>
                  </a:cubicBezTo>
                  <a:cubicBezTo>
                    <a:pt x="1264" y="1158"/>
                    <a:pt x="1275" y="1147"/>
                    <a:pt x="1275" y="1131"/>
                  </a:cubicBezTo>
                  <a:cubicBezTo>
                    <a:pt x="1275" y="366"/>
                    <a:pt x="1275" y="366"/>
                    <a:pt x="1275" y="366"/>
                  </a:cubicBezTo>
                  <a:cubicBezTo>
                    <a:pt x="1269" y="360"/>
                    <a:pt x="1269" y="360"/>
                    <a:pt x="1269" y="360"/>
                  </a:cubicBezTo>
                  <a:cubicBezTo>
                    <a:pt x="1074" y="549"/>
                    <a:pt x="1074" y="549"/>
                    <a:pt x="1074" y="549"/>
                  </a:cubicBezTo>
                  <a:cubicBezTo>
                    <a:pt x="1074" y="549"/>
                    <a:pt x="1074" y="549"/>
                    <a:pt x="1074" y="549"/>
                  </a:cubicBezTo>
                  <a:close/>
                  <a:moveTo>
                    <a:pt x="1442" y="0"/>
                  </a:moveTo>
                  <a:cubicBezTo>
                    <a:pt x="1442" y="0"/>
                    <a:pt x="1442" y="0"/>
                    <a:pt x="1442" y="0"/>
                  </a:cubicBezTo>
                  <a:cubicBezTo>
                    <a:pt x="1024" y="33"/>
                    <a:pt x="1024" y="33"/>
                    <a:pt x="1024" y="33"/>
                  </a:cubicBezTo>
                  <a:cubicBezTo>
                    <a:pt x="1008" y="33"/>
                    <a:pt x="1002" y="44"/>
                    <a:pt x="1013" y="50"/>
                  </a:cubicBezTo>
                  <a:cubicBezTo>
                    <a:pt x="1130" y="166"/>
                    <a:pt x="1130" y="166"/>
                    <a:pt x="1130" y="166"/>
                  </a:cubicBezTo>
                  <a:cubicBezTo>
                    <a:pt x="1141" y="177"/>
                    <a:pt x="1141" y="194"/>
                    <a:pt x="1130" y="205"/>
                  </a:cubicBezTo>
                  <a:cubicBezTo>
                    <a:pt x="935" y="410"/>
                    <a:pt x="935" y="410"/>
                    <a:pt x="935" y="410"/>
                  </a:cubicBezTo>
                  <a:cubicBezTo>
                    <a:pt x="930" y="416"/>
                    <a:pt x="924" y="421"/>
                    <a:pt x="919" y="421"/>
                  </a:cubicBezTo>
                  <a:cubicBezTo>
                    <a:pt x="907" y="421"/>
                    <a:pt x="902" y="416"/>
                    <a:pt x="896" y="416"/>
                  </a:cubicBezTo>
                  <a:cubicBezTo>
                    <a:pt x="557" y="100"/>
                    <a:pt x="557" y="100"/>
                    <a:pt x="557" y="100"/>
                  </a:cubicBezTo>
                  <a:cubicBezTo>
                    <a:pt x="551" y="94"/>
                    <a:pt x="545" y="94"/>
                    <a:pt x="540" y="94"/>
                  </a:cubicBezTo>
                  <a:cubicBezTo>
                    <a:pt x="529" y="94"/>
                    <a:pt x="523" y="94"/>
                    <a:pt x="518" y="100"/>
                  </a:cubicBezTo>
                  <a:cubicBezTo>
                    <a:pt x="11" y="704"/>
                    <a:pt x="11" y="704"/>
                    <a:pt x="11" y="704"/>
                  </a:cubicBezTo>
                  <a:cubicBezTo>
                    <a:pt x="0" y="715"/>
                    <a:pt x="0" y="737"/>
                    <a:pt x="11" y="748"/>
                  </a:cubicBezTo>
                  <a:cubicBezTo>
                    <a:pt x="117" y="848"/>
                    <a:pt x="117" y="848"/>
                    <a:pt x="117" y="848"/>
                  </a:cubicBezTo>
                  <a:cubicBezTo>
                    <a:pt x="122" y="854"/>
                    <a:pt x="128" y="859"/>
                    <a:pt x="133" y="859"/>
                  </a:cubicBezTo>
                  <a:cubicBezTo>
                    <a:pt x="139" y="859"/>
                    <a:pt x="150" y="854"/>
                    <a:pt x="156" y="848"/>
                  </a:cubicBezTo>
                  <a:cubicBezTo>
                    <a:pt x="506" y="454"/>
                    <a:pt x="506" y="454"/>
                    <a:pt x="506" y="454"/>
                  </a:cubicBezTo>
                  <a:cubicBezTo>
                    <a:pt x="512" y="443"/>
                    <a:pt x="523" y="443"/>
                    <a:pt x="534" y="443"/>
                  </a:cubicBezTo>
                  <a:cubicBezTo>
                    <a:pt x="540" y="443"/>
                    <a:pt x="545" y="443"/>
                    <a:pt x="551" y="443"/>
                  </a:cubicBezTo>
                  <a:cubicBezTo>
                    <a:pt x="885" y="649"/>
                    <a:pt x="885" y="649"/>
                    <a:pt x="885" y="649"/>
                  </a:cubicBezTo>
                  <a:cubicBezTo>
                    <a:pt x="891" y="649"/>
                    <a:pt x="896" y="649"/>
                    <a:pt x="902" y="649"/>
                  </a:cubicBezTo>
                  <a:cubicBezTo>
                    <a:pt x="913" y="649"/>
                    <a:pt x="924" y="649"/>
                    <a:pt x="930" y="643"/>
                  </a:cubicBezTo>
                  <a:cubicBezTo>
                    <a:pt x="1253" y="327"/>
                    <a:pt x="1253" y="327"/>
                    <a:pt x="1253" y="327"/>
                  </a:cubicBezTo>
                  <a:cubicBezTo>
                    <a:pt x="1258" y="321"/>
                    <a:pt x="1264" y="321"/>
                    <a:pt x="1269" y="321"/>
                  </a:cubicBezTo>
                  <a:cubicBezTo>
                    <a:pt x="1281" y="321"/>
                    <a:pt x="1286" y="321"/>
                    <a:pt x="1292" y="327"/>
                  </a:cubicBezTo>
                  <a:cubicBezTo>
                    <a:pt x="1420" y="460"/>
                    <a:pt x="1420" y="460"/>
                    <a:pt x="1420" y="460"/>
                  </a:cubicBezTo>
                  <a:cubicBezTo>
                    <a:pt x="1425" y="460"/>
                    <a:pt x="1431" y="466"/>
                    <a:pt x="1431" y="466"/>
                  </a:cubicBezTo>
                  <a:cubicBezTo>
                    <a:pt x="1436" y="466"/>
                    <a:pt x="1442" y="460"/>
                    <a:pt x="1442" y="449"/>
                  </a:cubicBezTo>
                  <a:cubicBezTo>
                    <a:pt x="1464" y="28"/>
                    <a:pt x="1464" y="28"/>
                    <a:pt x="1464" y="28"/>
                  </a:cubicBezTo>
                  <a:cubicBezTo>
                    <a:pt x="1464" y="11"/>
                    <a:pt x="1453" y="0"/>
                    <a:pt x="1442" y="0"/>
                  </a:cubicBezTo>
                  <a:close/>
                </a:path>
              </a:pathLst>
            </a:custGeom>
            <a:solidFill>
              <a:schemeClr val="bg1">
                <a:lumMod val="50000"/>
              </a:schemeClr>
            </a:solidFill>
            <a:ln>
              <a:noFill/>
            </a:ln>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33333"/>
                </a:solidFill>
                <a:effectLst/>
                <a:uLnTx/>
                <a:uFillTx/>
              </a:endParaRPr>
            </a:p>
          </p:txBody>
        </p:sp>
        <p:sp>
          <p:nvSpPr>
            <p:cNvPr id="85" name="TextBox 84"/>
            <p:cNvSpPr txBox="1"/>
            <p:nvPr/>
          </p:nvSpPr>
          <p:spPr>
            <a:xfrm>
              <a:off x="290952" y="2519818"/>
              <a:ext cx="1239881" cy="614032"/>
            </a:xfrm>
            <a:prstGeom prst="rect">
              <a:avLst/>
            </a:prstGeom>
            <a:noFill/>
          </p:spPr>
          <p:txBody>
            <a:bodyPr wrap="square" lIns="179213" tIns="143370" rIns="179213" bIns="143370" rtlCol="0">
              <a:spAutoFit/>
            </a:bodyPr>
            <a:lstStyle/>
            <a:p>
              <a:pPr marL="0" marR="0" lvl="0" indent="0" defTabSz="914005" eaLnBrk="1" fontAlgn="auto" latinLnBrk="0" hangingPunct="1">
                <a:lnSpc>
                  <a:spcPct val="90000"/>
                </a:lnSpc>
                <a:spcBef>
                  <a:spcPct val="0"/>
                </a:spcBef>
                <a:spcAft>
                  <a:spcPts val="588"/>
                </a:spcAft>
                <a:buClrTx/>
                <a:buSzTx/>
                <a:buFontTx/>
                <a:buNone/>
                <a:tabLst/>
                <a:defRPr/>
              </a:pP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Б</a:t>
              </a:r>
              <a:r>
                <a:rPr lang="ru-RU" sz="1127" kern="0" spc="-29" noProof="0" dirty="0">
                  <a:solidFill>
                    <a:schemeClr val="bg1">
                      <a:lumMod val="50000"/>
                    </a:schemeClr>
                  </a:solidFill>
                  <a:latin typeface="Segoe UI Semilight" panose="020B0402040204020203" pitchFamily="34" charset="0"/>
                  <a:cs typeface="Segoe UI Semilight" panose="020B0402040204020203" pitchFamily="34" charset="0"/>
                </a:rPr>
                <a:t>и</a:t>
              </a: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знес-приложения</a:t>
              </a:r>
              <a:endParaRPr kumimoji="0" lang="en-US"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sp>
          <p:nvSpPr>
            <p:cNvPr id="86" name="TextBox 85"/>
            <p:cNvSpPr txBox="1"/>
            <p:nvPr/>
          </p:nvSpPr>
          <p:spPr>
            <a:xfrm>
              <a:off x="286638" y="4033285"/>
              <a:ext cx="1239881" cy="773338"/>
            </a:xfrm>
            <a:prstGeom prst="rect">
              <a:avLst/>
            </a:prstGeom>
            <a:noFill/>
          </p:spPr>
          <p:txBody>
            <a:bodyPr wrap="square" lIns="179213" tIns="143370" rIns="179213" bIns="143370" rtlCol="0">
              <a:spAutoFit/>
            </a:bodyPr>
            <a:lstStyle/>
            <a:p>
              <a:pPr marL="0" marR="0" lvl="0" indent="0" defTabSz="914005" eaLnBrk="1" fontAlgn="auto" latinLnBrk="0" hangingPunct="1">
                <a:lnSpc>
                  <a:spcPct val="90000"/>
                </a:lnSpc>
                <a:spcBef>
                  <a:spcPct val="0"/>
                </a:spcBef>
                <a:spcAft>
                  <a:spcPts val="588"/>
                </a:spcAft>
                <a:buClrTx/>
                <a:buSzTx/>
                <a:buFontTx/>
                <a:buNone/>
                <a:tabLst/>
                <a:defRPr/>
              </a:pPr>
              <a:r>
                <a:rPr kumimoji="0" lang="ru-RU" sz="1127" b="0" i="0" u="none" strike="noStrike" kern="0" cap="none" spc="-29" normalizeH="0" baseline="0" noProof="0" dirty="0" err="1">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Пользова-тельские</a:t>
              </a: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 сервисы</a:t>
              </a:r>
              <a:endParaRPr kumimoji="0" lang="en-US"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sp>
          <p:nvSpPr>
            <p:cNvPr id="87" name="Freeform 53"/>
            <p:cNvSpPr>
              <a:spLocks noEditPoints="1"/>
            </p:cNvSpPr>
            <p:nvPr/>
          </p:nvSpPr>
          <p:spPr bwMode="auto">
            <a:xfrm>
              <a:off x="566387" y="3483627"/>
              <a:ext cx="451956" cy="645040"/>
            </a:xfrm>
            <a:custGeom>
              <a:avLst/>
              <a:gdLst>
                <a:gd name="T0" fmla="*/ 1011 w 1280"/>
                <a:gd name="T1" fmla="*/ 1048 h 1827"/>
                <a:gd name="T2" fmla="*/ 958 w 1280"/>
                <a:gd name="T3" fmla="*/ 1013 h 1827"/>
                <a:gd name="T4" fmla="*/ 847 w 1280"/>
                <a:gd name="T5" fmla="*/ 961 h 1827"/>
                <a:gd name="T6" fmla="*/ 814 w 1280"/>
                <a:gd name="T7" fmla="*/ 965 h 1827"/>
                <a:gd name="T8" fmla="*/ 710 w 1280"/>
                <a:gd name="T9" fmla="*/ 572 h 1827"/>
                <a:gd name="T10" fmla="*/ 601 w 1280"/>
                <a:gd name="T11" fmla="*/ 594 h 1827"/>
                <a:gd name="T12" fmla="*/ 705 w 1280"/>
                <a:gd name="T13" fmla="*/ 1159 h 1827"/>
                <a:gd name="T14" fmla="*/ 663 w 1280"/>
                <a:gd name="T15" fmla="*/ 1238 h 1827"/>
                <a:gd name="T16" fmla="*/ 504 w 1280"/>
                <a:gd name="T17" fmla="*/ 1112 h 1827"/>
                <a:gd name="T18" fmla="*/ 348 w 1280"/>
                <a:gd name="T19" fmla="*/ 1032 h 1827"/>
                <a:gd name="T20" fmla="*/ 378 w 1280"/>
                <a:gd name="T21" fmla="*/ 1138 h 1827"/>
                <a:gd name="T22" fmla="*/ 416 w 1280"/>
                <a:gd name="T23" fmla="*/ 1245 h 1827"/>
                <a:gd name="T24" fmla="*/ 492 w 1280"/>
                <a:gd name="T25" fmla="*/ 1368 h 1827"/>
                <a:gd name="T26" fmla="*/ 729 w 1280"/>
                <a:gd name="T27" fmla="*/ 1659 h 1827"/>
                <a:gd name="T28" fmla="*/ 805 w 1280"/>
                <a:gd name="T29" fmla="*/ 1827 h 1827"/>
                <a:gd name="T30" fmla="*/ 1238 w 1280"/>
                <a:gd name="T31" fmla="*/ 1652 h 1827"/>
                <a:gd name="T32" fmla="*/ 1257 w 1280"/>
                <a:gd name="T33" fmla="*/ 1576 h 1827"/>
                <a:gd name="T34" fmla="*/ 1273 w 1280"/>
                <a:gd name="T35" fmla="*/ 1354 h 1827"/>
                <a:gd name="T36" fmla="*/ 1198 w 1280"/>
                <a:gd name="T37" fmla="*/ 1207 h 1827"/>
                <a:gd name="T38" fmla="*/ 1131 w 1280"/>
                <a:gd name="T39" fmla="*/ 1112 h 1827"/>
                <a:gd name="T40" fmla="*/ 826 w 1280"/>
                <a:gd name="T41" fmla="*/ 381 h 1827"/>
                <a:gd name="T42" fmla="*/ 442 w 1280"/>
                <a:gd name="T43" fmla="*/ 0 h 1827"/>
                <a:gd name="T44" fmla="*/ 826 w 1280"/>
                <a:gd name="T45" fmla="*/ 381 h 1827"/>
                <a:gd name="T46" fmla="*/ 386 w 1280"/>
                <a:gd name="T47" fmla="*/ 381 h 1827"/>
                <a:gd name="T48" fmla="*/ 0 w 1280"/>
                <a:gd name="T49" fmla="*/ 0 h 1827"/>
                <a:gd name="T50" fmla="*/ 386 w 1280"/>
                <a:gd name="T51" fmla="*/ 381 h 1827"/>
                <a:gd name="T52" fmla="*/ 594 w 1280"/>
                <a:gd name="T53" fmla="*/ 821 h 1827"/>
                <a:gd name="T54" fmla="*/ 442 w 1280"/>
                <a:gd name="T55" fmla="*/ 437 h 1827"/>
                <a:gd name="T56" fmla="*/ 826 w 1280"/>
                <a:gd name="T57" fmla="*/ 821 h 1827"/>
                <a:gd name="T58" fmla="*/ 755 w 1280"/>
                <a:gd name="T59" fmla="*/ 561 h 1827"/>
                <a:gd name="T60" fmla="*/ 755 w 1280"/>
                <a:gd name="T61" fmla="*/ 561 h 1827"/>
                <a:gd name="T62" fmla="*/ 636 w 1280"/>
                <a:gd name="T63" fmla="*/ 480 h 1827"/>
                <a:gd name="T64" fmla="*/ 554 w 1280"/>
                <a:gd name="T65" fmla="*/ 601 h 1827"/>
                <a:gd name="T66" fmla="*/ 594 w 1280"/>
                <a:gd name="T67" fmla="*/ 821 h 1827"/>
                <a:gd name="T68" fmla="*/ 0 w 1280"/>
                <a:gd name="T69" fmla="*/ 1261 h 1827"/>
                <a:gd name="T70" fmla="*/ 606 w 1280"/>
                <a:gd name="T71" fmla="*/ 880 h 1827"/>
                <a:gd name="T72" fmla="*/ 658 w 1280"/>
                <a:gd name="T73" fmla="*/ 1157 h 1827"/>
                <a:gd name="T74" fmla="*/ 658 w 1280"/>
                <a:gd name="T75" fmla="*/ 1159 h 1827"/>
                <a:gd name="T76" fmla="*/ 644 w 1280"/>
                <a:gd name="T77" fmla="*/ 1193 h 1827"/>
                <a:gd name="T78" fmla="*/ 608 w 1280"/>
                <a:gd name="T79" fmla="*/ 1178 h 1827"/>
                <a:gd name="T80" fmla="*/ 563 w 1280"/>
                <a:gd name="T81" fmla="*/ 1117 h 1827"/>
                <a:gd name="T82" fmla="*/ 532 w 1280"/>
                <a:gd name="T83" fmla="*/ 1067 h 1827"/>
                <a:gd name="T84" fmla="*/ 388 w 1280"/>
                <a:gd name="T85" fmla="*/ 972 h 1827"/>
                <a:gd name="T86" fmla="*/ 298 w 1280"/>
                <a:gd name="T87" fmla="*/ 1105 h 1827"/>
                <a:gd name="T88" fmla="*/ 336 w 1280"/>
                <a:gd name="T89" fmla="*/ 1157 h 1827"/>
                <a:gd name="T90" fmla="*/ 357 w 1280"/>
                <a:gd name="T91" fmla="*/ 1219 h 1827"/>
                <a:gd name="T92" fmla="*/ 386 w 1280"/>
                <a:gd name="T93" fmla="*/ 821 h 1827"/>
                <a:gd name="T94" fmla="*/ 0 w 1280"/>
                <a:gd name="T95" fmla="*/ 437 h 1827"/>
                <a:gd name="T96" fmla="*/ 386 w 1280"/>
                <a:gd name="T97" fmla="*/ 821 h 1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80" h="1827">
                  <a:moveTo>
                    <a:pt x="1013" y="1048"/>
                  </a:moveTo>
                  <a:cubicBezTo>
                    <a:pt x="1011" y="1048"/>
                    <a:pt x="1011" y="1048"/>
                    <a:pt x="1011" y="1048"/>
                  </a:cubicBezTo>
                  <a:cubicBezTo>
                    <a:pt x="977" y="1046"/>
                    <a:pt x="977" y="1046"/>
                    <a:pt x="977" y="1046"/>
                  </a:cubicBezTo>
                  <a:cubicBezTo>
                    <a:pt x="958" y="1013"/>
                    <a:pt x="958" y="1013"/>
                    <a:pt x="958" y="1013"/>
                  </a:cubicBezTo>
                  <a:cubicBezTo>
                    <a:pt x="954" y="1008"/>
                    <a:pt x="951" y="1003"/>
                    <a:pt x="947" y="998"/>
                  </a:cubicBezTo>
                  <a:cubicBezTo>
                    <a:pt x="918" y="975"/>
                    <a:pt x="885" y="961"/>
                    <a:pt x="847" y="961"/>
                  </a:cubicBezTo>
                  <a:cubicBezTo>
                    <a:pt x="814" y="968"/>
                    <a:pt x="814" y="968"/>
                    <a:pt x="814" y="968"/>
                  </a:cubicBezTo>
                  <a:cubicBezTo>
                    <a:pt x="814" y="965"/>
                    <a:pt x="814" y="965"/>
                    <a:pt x="814" y="965"/>
                  </a:cubicBezTo>
                  <a:cubicBezTo>
                    <a:pt x="814" y="963"/>
                    <a:pt x="814" y="963"/>
                    <a:pt x="814" y="963"/>
                  </a:cubicBezTo>
                  <a:cubicBezTo>
                    <a:pt x="710" y="572"/>
                    <a:pt x="710" y="572"/>
                    <a:pt x="710" y="572"/>
                  </a:cubicBezTo>
                  <a:cubicBezTo>
                    <a:pt x="696" y="523"/>
                    <a:pt x="672" y="523"/>
                    <a:pt x="644" y="527"/>
                  </a:cubicBezTo>
                  <a:cubicBezTo>
                    <a:pt x="644" y="527"/>
                    <a:pt x="589" y="535"/>
                    <a:pt x="601" y="594"/>
                  </a:cubicBezTo>
                  <a:cubicBezTo>
                    <a:pt x="703" y="1140"/>
                    <a:pt x="703" y="1140"/>
                    <a:pt x="703" y="1140"/>
                  </a:cubicBezTo>
                  <a:cubicBezTo>
                    <a:pt x="703" y="1148"/>
                    <a:pt x="705" y="1152"/>
                    <a:pt x="705" y="1159"/>
                  </a:cubicBezTo>
                  <a:cubicBezTo>
                    <a:pt x="705" y="1183"/>
                    <a:pt x="696" y="1207"/>
                    <a:pt x="679" y="1226"/>
                  </a:cubicBezTo>
                  <a:cubicBezTo>
                    <a:pt x="674" y="1233"/>
                    <a:pt x="667" y="1238"/>
                    <a:pt x="663" y="1238"/>
                  </a:cubicBezTo>
                  <a:cubicBezTo>
                    <a:pt x="632" y="1242"/>
                    <a:pt x="603" y="1235"/>
                    <a:pt x="577" y="1216"/>
                  </a:cubicBezTo>
                  <a:cubicBezTo>
                    <a:pt x="547" y="1193"/>
                    <a:pt x="525" y="1143"/>
                    <a:pt x="504" y="1112"/>
                  </a:cubicBezTo>
                  <a:cubicBezTo>
                    <a:pt x="492" y="1093"/>
                    <a:pt x="483" y="1072"/>
                    <a:pt x="468" y="1055"/>
                  </a:cubicBezTo>
                  <a:cubicBezTo>
                    <a:pt x="440" y="1027"/>
                    <a:pt x="383" y="1003"/>
                    <a:pt x="348" y="1032"/>
                  </a:cubicBezTo>
                  <a:cubicBezTo>
                    <a:pt x="338" y="1041"/>
                    <a:pt x="326" y="1065"/>
                    <a:pt x="336" y="1077"/>
                  </a:cubicBezTo>
                  <a:cubicBezTo>
                    <a:pt x="350" y="1096"/>
                    <a:pt x="369" y="1117"/>
                    <a:pt x="378" y="1138"/>
                  </a:cubicBezTo>
                  <a:cubicBezTo>
                    <a:pt x="388" y="1155"/>
                    <a:pt x="393" y="1174"/>
                    <a:pt x="400" y="1193"/>
                  </a:cubicBezTo>
                  <a:cubicBezTo>
                    <a:pt x="404" y="1204"/>
                    <a:pt x="407" y="1235"/>
                    <a:pt x="416" y="1245"/>
                  </a:cubicBezTo>
                  <a:cubicBezTo>
                    <a:pt x="426" y="1254"/>
                    <a:pt x="435" y="1273"/>
                    <a:pt x="442" y="1285"/>
                  </a:cubicBezTo>
                  <a:cubicBezTo>
                    <a:pt x="459" y="1311"/>
                    <a:pt x="483" y="1339"/>
                    <a:pt x="492" y="1368"/>
                  </a:cubicBezTo>
                  <a:cubicBezTo>
                    <a:pt x="525" y="1415"/>
                    <a:pt x="539" y="1477"/>
                    <a:pt x="575" y="1522"/>
                  </a:cubicBezTo>
                  <a:cubicBezTo>
                    <a:pt x="620" y="1576"/>
                    <a:pt x="663" y="1628"/>
                    <a:pt x="729" y="1659"/>
                  </a:cubicBezTo>
                  <a:cubicBezTo>
                    <a:pt x="752" y="1673"/>
                    <a:pt x="769" y="1692"/>
                    <a:pt x="783" y="1713"/>
                  </a:cubicBezTo>
                  <a:cubicBezTo>
                    <a:pt x="805" y="1827"/>
                    <a:pt x="805" y="1827"/>
                    <a:pt x="805" y="1827"/>
                  </a:cubicBezTo>
                  <a:cubicBezTo>
                    <a:pt x="887" y="1813"/>
                    <a:pt x="1224" y="1756"/>
                    <a:pt x="1259" y="1749"/>
                  </a:cubicBezTo>
                  <a:cubicBezTo>
                    <a:pt x="1238" y="1652"/>
                    <a:pt x="1238" y="1652"/>
                    <a:pt x="1238" y="1652"/>
                  </a:cubicBezTo>
                  <a:cubicBezTo>
                    <a:pt x="1235" y="1649"/>
                    <a:pt x="1235" y="1649"/>
                    <a:pt x="1235" y="1649"/>
                  </a:cubicBezTo>
                  <a:cubicBezTo>
                    <a:pt x="1245" y="1626"/>
                    <a:pt x="1250" y="1600"/>
                    <a:pt x="1257" y="1576"/>
                  </a:cubicBezTo>
                  <a:cubicBezTo>
                    <a:pt x="1262" y="1555"/>
                    <a:pt x="1266" y="1536"/>
                    <a:pt x="1266" y="1514"/>
                  </a:cubicBezTo>
                  <a:cubicBezTo>
                    <a:pt x="1269" y="1462"/>
                    <a:pt x="1271" y="1408"/>
                    <a:pt x="1273" y="1354"/>
                  </a:cubicBezTo>
                  <a:cubicBezTo>
                    <a:pt x="1273" y="1344"/>
                    <a:pt x="1273" y="1335"/>
                    <a:pt x="1276" y="1325"/>
                  </a:cubicBezTo>
                  <a:cubicBezTo>
                    <a:pt x="1280" y="1294"/>
                    <a:pt x="1262" y="1211"/>
                    <a:pt x="1198" y="1207"/>
                  </a:cubicBezTo>
                  <a:cubicBezTo>
                    <a:pt x="1195" y="1207"/>
                    <a:pt x="1195" y="1207"/>
                    <a:pt x="1195" y="1204"/>
                  </a:cubicBezTo>
                  <a:cubicBezTo>
                    <a:pt x="1179" y="1171"/>
                    <a:pt x="1157" y="1140"/>
                    <a:pt x="1131" y="1112"/>
                  </a:cubicBezTo>
                  <a:cubicBezTo>
                    <a:pt x="1101" y="1079"/>
                    <a:pt x="1058" y="1055"/>
                    <a:pt x="1013" y="1048"/>
                  </a:cubicBezTo>
                  <a:close/>
                  <a:moveTo>
                    <a:pt x="826" y="381"/>
                  </a:moveTo>
                  <a:cubicBezTo>
                    <a:pt x="442" y="381"/>
                    <a:pt x="442" y="381"/>
                    <a:pt x="442" y="381"/>
                  </a:cubicBezTo>
                  <a:cubicBezTo>
                    <a:pt x="442" y="0"/>
                    <a:pt x="442" y="0"/>
                    <a:pt x="442" y="0"/>
                  </a:cubicBezTo>
                  <a:cubicBezTo>
                    <a:pt x="826" y="0"/>
                    <a:pt x="826" y="0"/>
                    <a:pt x="826" y="0"/>
                  </a:cubicBezTo>
                  <a:cubicBezTo>
                    <a:pt x="826" y="381"/>
                    <a:pt x="826" y="381"/>
                    <a:pt x="826" y="381"/>
                  </a:cubicBezTo>
                  <a:cubicBezTo>
                    <a:pt x="826" y="381"/>
                    <a:pt x="826" y="381"/>
                    <a:pt x="826" y="381"/>
                  </a:cubicBezTo>
                  <a:close/>
                  <a:moveTo>
                    <a:pt x="386" y="381"/>
                  </a:moveTo>
                  <a:cubicBezTo>
                    <a:pt x="0" y="381"/>
                    <a:pt x="0" y="381"/>
                    <a:pt x="0" y="381"/>
                  </a:cubicBezTo>
                  <a:cubicBezTo>
                    <a:pt x="0" y="0"/>
                    <a:pt x="0" y="0"/>
                    <a:pt x="0" y="0"/>
                  </a:cubicBezTo>
                  <a:cubicBezTo>
                    <a:pt x="386" y="0"/>
                    <a:pt x="386" y="0"/>
                    <a:pt x="386" y="0"/>
                  </a:cubicBezTo>
                  <a:cubicBezTo>
                    <a:pt x="386" y="381"/>
                    <a:pt x="386" y="381"/>
                    <a:pt x="386" y="381"/>
                  </a:cubicBezTo>
                  <a:cubicBezTo>
                    <a:pt x="386" y="381"/>
                    <a:pt x="386" y="381"/>
                    <a:pt x="386" y="381"/>
                  </a:cubicBezTo>
                  <a:close/>
                  <a:moveTo>
                    <a:pt x="594" y="821"/>
                  </a:moveTo>
                  <a:cubicBezTo>
                    <a:pt x="442" y="821"/>
                    <a:pt x="442" y="821"/>
                    <a:pt x="442" y="821"/>
                  </a:cubicBezTo>
                  <a:cubicBezTo>
                    <a:pt x="442" y="437"/>
                    <a:pt x="442" y="437"/>
                    <a:pt x="442" y="437"/>
                  </a:cubicBezTo>
                  <a:cubicBezTo>
                    <a:pt x="826" y="437"/>
                    <a:pt x="826" y="437"/>
                    <a:pt x="826" y="437"/>
                  </a:cubicBezTo>
                  <a:cubicBezTo>
                    <a:pt x="826" y="821"/>
                    <a:pt x="826" y="821"/>
                    <a:pt x="826" y="821"/>
                  </a:cubicBezTo>
                  <a:cubicBezTo>
                    <a:pt x="826" y="821"/>
                    <a:pt x="826" y="821"/>
                    <a:pt x="826" y="821"/>
                  </a:cubicBezTo>
                  <a:cubicBezTo>
                    <a:pt x="755" y="561"/>
                    <a:pt x="755" y="561"/>
                    <a:pt x="755" y="561"/>
                  </a:cubicBezTo>
                  <a:cubicBezTo>
                    <a:pt x="755" y="561"/>
                    <a:pt x="755" y="561"/>
                    <a:pt x="755" y="561"/>
                  </a:cubicBezTo>
                  <a:cubicBezTo>
                    <a:pt x="755" y="561"/>
                    <a:pt x="755" y="561"/>
                    <a:pt x="755" y="561"/>
                  </a:cubicBezTo>
                  <a:cubicBezTo>
                    <a:pt x="736" y="492"/>
                    <a:pt x="693" y="478"/>
                    <a:pt x="663" y="478"/>
                  </a:cubicBezTo>
                  <a:cubicBezTo>
                    <a:pt x="653" y="478"/>
                    <a:pt x="644" y="478"/>
                    <a:pt x="636" y="480"/>
                  </a:cubicBezTo>
                  <a:cubicBezTo>
                    <a:pt x="627" y="482"/>
                    <a:pt x="591" y="490"/>
                    <a:pt x="570" y="520"/>
                  </a:cubicBezTo>
                  <a:cubicBezTo>
                    <a:pt x="558" y="537"/>
                    <a:pt x="547" y="563"/>
                    <a:pt x="554" y="601"/>
                  </a:cubicBezTo>
                  <a:cubicBezTo>
                    <a:pt x="594" y="821"/>
                    <a:pt x="594" y="821"/>
                    <a:pt x="594" y="821"/>
                  </a:cubicBezTo>
                  <a:cubicBezTo>
                    <a:pt x="594" y="821"/>
                    <a:pt x="594" y="821"/>
                    <a:pt x="594" y="821"/>
                  </a:cubicBezTo>
                  <a:close/>
                  <a:moveTo>
                    <a:pt x="371" y="1261"/>
                  </a:moveTo>
                  <a:cubicBezTo>
                    <a:pt x="0" y="1261"/>
                    <a:pt x="0" y="1261"/>
                    <a:pt x="0" y="1261"/>
                  </a:cubicBezTo>
                  <a:cubicBezTo>
                    <a:pt x="0" y="880"/>
                    <a:pt x="0" y="880"/>
                    <a:pt x="0" y="880"/>
                  </a:cubicBezTo>
                  <a:cubicBezTo>
                    <a:pt x="606" y="880"/>
                    <a:pt x="606" y="880"/>
                    <a:pt x="606" y="880"/>
                  </a:cubicBezTo>
                  <a:cubicBezTo>
                    <a:pt x="655" y="1150"/>
                    <a:pt x="655" y="1150"/>
                    <a:pt x="655" y="1150"/>
                  </a:cubicBezTo>
                  <a:cubicBezTo>
                    <a:pt x="655" y="1152"/>
                    <a:pt x="658" y="1155"/>
                    <a:pt x="658" y="1157"/>
                  </a:cubicBezTo>
                  <a:cubicBezTo>
                    <a:pt x="658" y="1157"/>
                    <a:pt x="658" y="1157"/>
                    <a:pt x="658" y="1157"/>
                  </a:cubicBezTo>
                  <a:cubicBezTo>
                    <a:pt x="658" y="1159"/>
                    <a:pt x="658" y="1159"/>
                    <a:pt x="658" y="1159"/>
                  </a:cubicBezTo>
                  <a:cubicBezTo>
                    <a:pt x="658" y="1171"/>
                    <a:pt x="653" y="1181"/>
                    <a:pt x="646" y="1193"/>
                  </a:cubicBezTo>
                  <a:cubicBezTo>
                    <a:pt x="644" y="1193"/>
                    <a:pt x="644" y="1193"/>
                    <a:pt x="644" y="1193"/>
                  </a:cubicBezTo>
                  <a:cubicBezTo>
                    <a:pt x="632" y="1193"/>
                    <a:pt x="620" y="1188"/>
                    <a:pt x="608" y="1178"/>
                  </a:cubicBezTo>
                  <a:cubicBezTo>
                    <a:pt x="608" y="1178"/>
                    <a:pt x="608" y="1178"/>
                    <a:pt x="608" y="1178"/>
                  </a:cubicBezTo>
                  <a:cubicBezTo>
                    <a:pt x="608" y="1178"/>
                    <a:pt x="608" y="1178"/>
                    <a:pt x="608" y="1178"/>
                  </a:cubicBezTo>
                  <a:cubicBezTo>
                    <a:pt x="591" y="1167"/>
                    <a:pt x="577" y="1140"/>
                    <a:pt x="563" y="1117"/>
                  </a:cubicBezTo>
                  <a:cubicBezTo>
                    <a:pt x="556" y="1107"/>
                    <a:pt x="551" y="1096"/>
                    <a:pt x="544" y="1086"/>
                  </a:cubicBezTo>
                  <a:cubicBezTo>
                    <a:pt x="539" y="1079"/>
                    <a:pt x="537" y="1074"/>
                    <a:pt x="532" y="1067"/>
                  </a:cubicBezTo>
                  <a:cubicBezTo>
                    <a:pt x="525" y="1053"/>
                    <a:pt x="516" y="1036"/>
                    <a:pt x="502" y="1022"/>
                  </a:cubicBezTo>
                  <a:cubicBezTo>
                    <a:pt x="473" y="991"/>
                    <a:pt x="428" y="972"/>
                    <a:pt x="388" y="972"/>
                  </a:cubicBezTo>
                  <a:cubicBezTo>
                    <a:pt x="362" y="972"/>
                    <a:pt x="338" y="980"/>
                    <a:pt x="319" y="994"/>
                  </a:cubicBezTo>
                  <a:cubicBezTo>
                    <a:pt x="293" y="1017"/>
                    <a:pt x="270" y="1069"/>
                    <a:pt x="298" y="1105"/>
                  </a:cubicBezTo>
                  <a:cubicBezTo>
                    <a:pt x="303" y="1110"/>
                    <a:pt x="305" y="1114"/>
                    <a:pt x="310" y="1119"/>
                  </a:cubicBezTo>
                  <a:cubicBezTo>
                    <a:pt x="319" y="1133"/>
                    <a:pt x="331" y="1148"/>
                    <a:pt x="336" y="1157"/>
                  </a:cubicBezTo>
                  <a:cubicBezTo>
                    <a:pt x="343" y="1174"/>
                    <a:pt x="350" y="1193"/>
                    <a:pt x="355" y="1207"/>
                  </a:cubicBezTo>
                  <a:cubicBezTo>
                    <a:pt x="355" y="1209"/>
                    <a:pt x="357" y="1214"/>
                    <a:pt x="357" y="1219"/>
                  </a:cubicBezTo>
                  <a:cubicBezTo>
                    <a:pt x="359" y="1233"/>
                    <a:pt x="364" y="1247"/>
                    <a:pt x="371" y="1261"/>
                  </a:cubicBezTo>
                  <a:close/>
                  <a:moveTo>
                    <a:pt x="386" y="821"/>
                  </a:moveTo>
                  <a:cubicBezTo>
                    <a:pt x="0" y="821"/>
                    <a:pt x="0" y="821"/>
                    <a:pt x="0" y="821"/>
                  </a:cubicBezTo>
                  <a:cubicBezTo>
                    <a:pt x="0" y="437"/>
                    <a:pt x="0" y="437"/>
                    <a:pt x="0" y="437"/>
                  </a:cubicBezTo>
                  <a:cubicBezTo>
                    <a:pt x="386" y="437"/>
                    <a:pt x="386" y="437"/>
                    <a:pt x="386" y="437"/>
                  </a:cubicBezTo>
                  <a:cubicBezTo>
                    <a:pt x="386" y="821"/>
                    <a:pt x="386" y="821"/>
                    <a:pt x="386" y="821"/>
                  </a:cubicBezTo>
                  <a:cubicBezTo>
                    <a:pt x="386" y="821"/>
                    <a:pt x="386" y="821"/>
                    <a:pt x="386" y="821"/>
                  </a:cubicBezTo>
                  <a:close/>
                </a:path>
              </a:pathLst>
            </a:custGeom>
            <a:solidFill>
              <a:schemeClr val="bg1">
                <a:lumMod val="50000"/>
              </a:schemeClr>
            </a:solidFill>
            <a:ln>
              <a:noFill/>
            </a:ln>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33333"/>
                </a:solidFill>
                <a:effectLst/>
                <a:uLnTx/>
                <a:uFillTx/>
              </a:endParaRPr>
            </a:p>
          </p:txBody>
        </p:sp>
        <p:sp>
          <p:nvSpPr>
            <p:cNvPr id="88" name="TextBox 87"/>
            <p:cNvSpPr txBox="1"/>
            <p:nvPr/>
          </p:nvSpPr>
          <p:spPr>
            <a:xfrm>
              <a:off x="276231" y="5332876"/>
              <a:ext cx="1551146" cy="614032"/>
            </a:xfrm>
            <a:prstGeom prst="rect">
              <a:avLst/>
            </a:prstGeom>
            <a:noFill/>
          </p:spPr>
          <p:txBody>
            <a:bodyPr wrap="square" lIns="179213" tIns="143370" rIns="179213" bIns="143370" rtlCol="0">
              <a:spAutoFit/>
            </a:bodyPr>
            <a:lstStyle/>
            <a:p>
              <a:pPr marL="0" marR="0" lvl="0" indent="0" defTabSz="914005" eaLnBrk="1" fontAlgn="auto" latinLnBrk="0" hangingPunct="1">
                <a:lnSpc>
                  <a:spcPct val="90000"/>
                </a:lnSpc>
                <a:spcBef>
                  <a:spcPct val="0"/>
                </a:spcBef>
                <a:spcAft>
                  <a:spcPts val="588"/>
                </a:spcAft>
                <a:buClrTx/>
                <a:buSzTx/>
                <a:buFontTx/>
                <a:buNone/>
                <a:tabLst/>
                <a:defRPr/>
              </a:pPr>
              <a:r>
                <a:rPr kumimoji="0" lang="ru-RU"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Устройства и сенсоры</a:t>
              </a:r>
              <a:endParaRPr kumimoji="0" lang="en-US" sz="1127" b="0"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sp>
          <p:nvSpPr>
            <p:cNvPr id="89" name="Freeform 16"/>
            <p:cNvSpPr>
              <a:spLocks noChangeAspect="1" noEditPoints="1"/>
            </p:cNvSpPr>
            <p:nvPr/>
          </p:nvSpPr>
          <p:spPr bwMode="auto">
            <a:xfrm>
              <a:off x="474853" y="4945056"/>
              <a:ext cx="576951" cy="530500"/>
            </a:xfrm>
            <a:custGeom>
              <a:avLst/>
              <a:gdLst>
                <a:gd name="T0" fmla="*/ 363 w 400"/>
                <a:gd name="T1" fmla="*/ 0 h 367"/>
                <a:gd name="T2" fmla="*/ 38 w 400"/>
                <a:gd name="T3" fmla="*/ 0 h 367"/>
                <a:gd name="T4" fmla="*/ 0 w 400"/>
                <a:gd name="T5" fmla="*/ 37 h 367"/>
                <a:gd name="T6" fmla="*/ 0 w 400"/>
                <a:gd name="T7" fmla="*/ 255 h 367"/>
                <a:gd name="T8" fmla="*/ 38 w 400"/>
                <a:gd name="T9" fmla="*/ 292 h 367"/>
                <a:gd name="T10" fmla="*/ 184 w 400"/>
                <a:gd name="T11" fmla="*/ 292 h 367"/>
                <a:gd name="T12" fmla="*/ 230 w 400"/>
                <a:gd name="T13" fmla="*/ 335 h 367"/>
                <a:gd name="T14" fmla="*/ 230 w 400"/>
                <a:gd name="T15" fmla="*/ 367 h 367"/>
                <a:gd name="T16" fmla="*/ 328 w 400"/>
                <a:gd name="T17" fmla="*/ 367 h 367"/>
                <a:gd name="T18" fmla="*/ 328 w 400"/>
                <a:gd name="T19" fmla="*/ 292 h 367"/>
                <a:gd name="T20" fmla="*/ 363 w 400"/>
                <a:gd name="T21" fmla="*/ 292 h 367"/>
                <a:gd name="T22" fmla="*/ 400 w 400"/>
                <a:gd name="T23" fmla="*/ 255 h 367"/>
                <a:gd name="T24" fmla="*/ 400 w 400"/>
                <a:gd name="T25" fmla="*/ 37 h 367"/>
                <a:gd name="T26" fmla="*/ 363 w 400"/>
                <a:gd name="T27" fmla="*/ 0 h 367"/>
                <a:gd name="T28" fmla="*/ 361 w 400"/>
                <a:gd name="T29" fmla="*/ 253 h 367"/>
                <a:gd name="T30" fmla="*/ 328 w 400"/>
                <a:gd name="T31" fmla="*/ 253 h 367"/>
                <a:gd name="T32" fmla="*/ 328 w 400"/>
                <a:gd name="T33" fmla="*/ 197 h 367"/>
                <a:gd name="T34" fmla="*/ 305 w 400"/>
                <a:gd name="T35" fmla="*/ 197 h 367"/>
                <a:gd name="T36" fmla="*/ 305 w 400"/>
                <a:gd name="T37" fmla="*/ 219 h 367"/>
                <a:gd name="T38" fmla="*/ 298 w 400"/>
                <a:gd name="T39" fmla="*/ 219 h 367"/>
                <a:gd name="T40" fmla="*/ 298 w 400"/>
                <a:gd name="T41" fmla="*/ 180 h 367"/>
                <a:gd name="T42" fmla="*/ 275 w 400"/>
                <a:gd name="T43" fmla="*/ 180 h 367"/>
                <a:gd name="T44" fmla="*/ 275 w 400"/>
                <a:gd name="T45" fmla="*/ 219 h 367"/>
                <a:gd name="T46" fmla="*/ 269 w 400"/>
                <a:gd name="T47" fmla="*/ 219 h 367"/>
                <a:gd name="T48" fmla="*/ 269 w 400"/>
                <a:gd name="T49" fmla="*/ 166 h 367"/>
                <a:gd name="T50" fmla="*/ 245 w 400"/>
                <a:gd name="T51" fmla="*/ 166 h 367"/>
                <a:gd name="T52" fmla="*/ 245 w 400"/>
                <a:gd name="T53" fmla="*/ 219 h 367"/>
                <a:gd name="T54" fmla="*/ 239 w 400"/>
                <a:gd name="T55" fmla="*/ 219 h 367"/>
                <a:gd name="T56" fmla="*/ 239 w 400"/>
                <a:gd name="T57" fmla="*/ 111 h 367"/>
                <a:gd name="T58" fmla="*/ 216 w 400"/>
                <a:gd name="T59" fmla="*/ 111 h 367"/>
                <a:gd name="T60" fmla="*/ 216 w 400"/>
                <a:gd name="T61" fmla="*/ 249 h 367"/>
                <a:gd name="T62" fmla="*/ 208 w 400"/>
                <a:gd name="T63" fmla="*/ 249 h 367"/>
                <a:gd name="T64" fmla="*/ 208 w 400"/>
                <a:gd name="T65" fmla="*/ 197 h 367"/>
                <a:gd name="T66" fmla="*/ 183 w 400"/>
                <a:gd name="T67" fmla="*/ 197 h 367"/>
                <a:gd name="T68" fmla="*/ 183 w 400"/>
                <a:gd name="T69" fmla="*/ 253 h 367"/>
                <a:gd name="T70" fmla="*/ 39 w 400"/>
                <a:gd name="T71" fmla="*/ 253 h 367"/>
                <a:gd name="T72" fmla="*/ 39 w 400"/>
                <a:gd name="T73" fmla="*/ 39 h 367"/>
                <a:gd name="T74" fmla="*/ 361 w 400"/>
                <a:gd name="T75" fmla="*/ 39 h 367"/>
                <a:gd name="T76" fmla="*/ 361 w 400"/>
                <a:gd name="T77" fmla="*/ 253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0" h="367">
                  <a:moveTo>
                    <a:pt x="363" y="0"/>
                  </a:moveTo>
                  <a:cubicBezTo>
                    <a:pt x="38" y="0"/>
                    <a:pt x="38" y="0"/>
                    <a:pt x="38" y="0"/>
                  </a:cubicBezTo>
                  <a:cubicBezTo>
                    <a:pt x="17" y="0"/>
                    <a:pt x="0" y="16"/>
                    <a:pt x="0" y="37"/>
                  </a:cubicBezTo>
                  <a:cubicBezTo>
                    <a:pt x="0" y="255"/>
                    <a:pt x="0" y="255"/>
                    <a:pt x="0" y="255"/>
                  </a:cubicBezTo>
                  <a:cubicBezTo>
                    <a:pt x="0" y="275"/>
                    <a:pt x="17" y="292"/>
                    <a:pt x="38" y="292"/>
                  </a:cubicBezTo>
                  <a:cubicBezTo>
                    <a:pt x="184" y="292"/>
                    <a:pt x="184" y="292"/>
                    <a:pt x="184" y="292"/>
                  </a:cubicBezTo>
                  <a:cubicBezTo>
                    <a:pt x="191" y="310"/>
                    <a:pt x="230" y="335"/>
                    <a:pt x="230" y="335"/>
                  </a:cubicBezTo>
                  <a:cubicBezTo>
                    <a:pt x="230" y="367"/>
                    <a:pt x="230" y="367"/>
                    <a:pt x="230" y="367"/>
                  </a:cubicBezTo>
                  <a:cubicBezTo>
                    <a:pt x="328" y="367"/>
                    <a:pt x="328" y="367"/>
                    <a:pt x="328" y="367"/>
                  </a:cubicBezTo>
                  <a:cubicBezTo>
                    <a:pt x="328" y="292"/>
                    <a:pt x="328" y="292"/>
                    <a:pt x="328" y="292"/>
                  </a:cubicBezTo>
                  <a:cubicBezTo>
                    <a:pt x="363" y="292"/>
                    <a:pt x="363" y="292"/>
                    <a:pt x="363" y="292"/>
                  </a:cubicBezTo>
                  <a:cubicBezTo>
                    <a:pt x="384" y="292"/>
                    <a:pt x="400" y="275"/>
                    <a:pt x="400" y="255"/>
                  </a:cubicBezTo>
                  <a:cubicBezTo>
                    <a:pt x="400" y="37"/>
                    <a:pt x="400" y="37"/>
                    <a:pt x="400" y="37"/>
                  </a:cubicBezTo>
                  <a:cubicBezTo>
                    <a:pt x="400" y="16"/>
                    <a:pt x="384" y="0"/>
                    <a:pt x="363" y="0"/>
                  </a:cubicBezTo>
                  <a:close/>
                  <a:moveTo>
                    <a:pt x="361" y="253"/>
                  </a:moveTo>
                  <a:cubicBezTo>
                    <a:pt x="328" y="253"/>
                    <a:pt x="328" y="253"/>
                    <a:pt x="328" y="253"/>
                  </a:cubicBezTo>
                  <a:cubicBezTo>
                    <a:pt x="328" y="197"/>
                    <a:pt x="328" y="197"/>
                    <a:pt x="328" y="197"/>
                  </a:cubicBezTo>
                  <a:cubicBezTo>
                    <a:pt x="328" y="181"/>
                    <a:pt x="305" y="181"/>
                    <a:pt x="305" y="197"/>
                  </a:cubicBezTo>
                  <a:cubicBezTo>
                    <a:pt x="305" y="219"/>
                    <a:pt x="305" y="219"/>
                    <a:pt x="305" y="219"/>
                  </a:cubicBezTo>
                  <a:cubicBezTo>
                    <a:pt x="305" y="222"/>
                    <a:pt x="298" y="222"/>
                    <a:pt x="298" y="219"/>
                  </a:cubicBezTo>
                  <a:cubicBezTo>
                    <a:pt x="298" y="180"/>
                    <a:pt x="298" y="180"/>
                    <a:pt x="298" y="180"/>
                  </a:cubicBezTo>
                  <a:cubicBezTo>
                    <a:pt x="298" y="165"/>
                    <a:pt x="275" y="165"/>
                    <a:pt x="275" y="180"/>
                  </a:cubicBezTo>
                  <a:cubicBezTo>
                    <a:pt x="275" y="219"/>
                    <a:pt x="275" y="219"/>
                    <a:pt x="275" y="219"/>
                  </a:cubicBezTo>
                  <a:cubicBezTo>
                    <a:pt x="275" y="222"/>
                    <a:pt x="269" y="222"/>
                    <a:pt x="269" y="219"/>
                  </a:cubicBezTo>
                  <a:cubicBezTo>
                    <a:pt x="269" y="166"/>
                    <a:pt x="269" y="166"/>
                    <a:pt x="269" y="166"/>
                  </a:cubicBezTo>
                  <a:cubicBezTo>
                    <a:pt x="269" y="150"/>
                    <a:pt x="245" y="150"/>
                    <a:pt x="245" y="166"/>
                  </a:cubicBezTo>
                  <a:cubicBezTo>
                    <a:pt x="245" y="219"/>
                    <a:pt x="245" y="219"/>
                    <a:pt x="245" y="219"/>
                  </a:cubicBezTo>
                  <a:cubicBezTo>
                    <a:pt x="245" y="222"/>
                    <a:pt x="239" y="222"/>
                    <a:pt x="239" y="219"/>
                  </a:cubicBezTo>
                  <a:cubicBezTo>
                    <a:pt x="239" y="111"/>
                    <a:pt x="239" y="111"/>
                    <a:pt x="239" y="111"/>
                  </a:cubicBezTo>
                  <a:cubicBezTo>
                    <a:pt x="239" y="96"/>
                    <a:pt x="216" y="96"/>
                    <a:pt x="216" y="111"/>
                  </a:cubicBezTo>
                  <a:cubicBezTo>
                    <a:pt x="216" y="249"/>
                    <a:pt x="216" y="249"/>
                    <a:pt x="216" y="249"/>
                  </a:cubicBezTo>
                  <a:cubicBezTo>
                    <a:pt x="216" y="252"/>
                    <a:pt x="208" y="252"/>
                    <a:pt x="208" y="249"/>
                  </a:cubicBezTo>
                  <a:cubicBezTo>
                    <a:pt x="208" y="197"/>
                    <a:pt x="208" y="197"/>
                    <a:pt x="208" y="197"/>
                  </a:cubicBezTo>
                  <a:cubicBezTo>
                    <a:pt x="208" y="178"/>
                    <a:pt x="183" y="179"/>
                    <a:pt x="183" y="197"/>
                  </a:cubicBezTo>
                  <a:cubicBezTo>
                    <a:pt x="183" y="253"/>
                    <a:pt x="183" y="253"/>
                    <a:pt x="183" y="253"/>
                  </a:cubicBezTo>
                  <a:cubicBezTo>
                    <a:pt x="39" y="253"/>
                    <a:pt x="39" y="253"/>
                    <a:pt x="39" y="253"/>
                  </a:cubicBezTo>
                  <a:cubicBezTo>
                    <a:pt x="39" y="39"/>
                    <a:pt x="39" y="39"/>
                    <a:pt x="39" y="39"/>
                  </a:cubicBezTo>
                  <a:cubicBezTo>
                    <a:pt x="361" y="39"/>
                    <a:pt x="361" y="39"/>
                    <a:pt x="361" y="39"/>
                  </a:cubicBezTo>
                  <a:cubicBezTo>
                    <a:pt x="361" y="253"/>
                    <a:pt x="361" y="253"/>
                    <a:pt x="361" y="253"/>
                  </a:cubicBezTo>
                  <a:close/>
                </a:path>
              </a:pathLst>
            </a:custGeom>
            <a:solidFill>
              <a:schemeClr val="bg1">
                <a:lumMod val="50000"/>
              </a:schemeClr>
            </a:solidFill>
            <a:ln>
              <a:noFill/>
            </a:ln>
            <a:extLst/>
          </p:spPr>
          <p:txBody>
            <a:bodyPr vert="horz" wrap="square" lIns="89606" tIns="44803" rIns="89606" bIns="44803" numCol="1" anchor="t" anchorCtr="0" compatLnSpc="1">
              <a:prstTxWarp prst="textNoShape">
                <a:avLst/>
              </a:prstTxWarp>
            </a:bodyPr>
            <a:lstStyle/>
            <a:p>
              <a:pPr marL="0" marR="0" lvl="0" indent="0" defTabSz="914005"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rgbClr val="333333"/>
                </a:solidFill>
                <a:effectLst/>
                <a:uLnTx/>
                <a:uFillTx/>
              </a:endParaRPr>
            </a:p>
          </p:txBody>
        </p:sp>
      </p:grpSp>
      <p:grpSp>
        <p:nvGrpSpPr>
          <p:cNvPr id="101" name="Group 100"/>
          <p:cNvGrpSpPr/>
          <p:nvPr/>
        </p:nvGrpSpPr>
        <p:grpSpPr>
          <a:xfrm>
            <a:off x="3936997" y="2001787"/>
            <a:ext cx="2327460" cy="4234072"/>
            <a:chOff x="4015367" y="1790395"/>
            <a:chExt cx="2374749" cy="4320099"/>
          </a:xfrm>
        </p:grpSpPr>
        <p:sp>
          <p:nvSpPr>
            <p:cNvPr id="102" name="Rectangle 101"/>
            <p:cNvSpPr/>
            <p:nvPr/>
          </p:nvSpPr>
          <p:spPr bwMode="auto">
            <a:xfrm>
              <a:off x="4015367" y="1790395"/>
              <a:ext cx="2079506" cy="4320099"/>
            </a:xfrm>
            <a:prstGeom prst="rect">
              <a:avLst/>
            </a:prstGeom>
            <a:solidFill>
              <a:schemeClr val="tx1">
                <a:lumMod val="65000"/>
                <a:lumOff val="35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Хранилища </a:t>
              </a:r>
              <a:b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Больших Данных</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103" name="Picture 13"/>
            <p:cNvPicPr>
              <a:picLocks noChangeAspect="1"/>
            </p:cNvPicPr>
            <p:nvPr/>
          </p:nvPicPr>
          <p:blipFill>
            <a:blip r:embed="rId6" cstate="email">
              <a:lum bright="100000"/>
              <a:extLst>
                <a:ext uri="{28A0092B-C50C-407E-A947-70E740481C1C}">
                  <a14:useLocalDpi xmlns:a14="http://schemas.microsoft.com/office/drawing/2010/main"/>
                </a:ext>
              </a:extLst>
            </a:blip>
            <a:srcRect/>
            <a:stretch>
              <a:fillRect/>
            </a:stretch>
          </p:blipFill>
          <p:spPr bwMode="auto">
            <a:xfrm>
              <a:off x="4128059" y="4437777"/>
              <a:ext cx="329771" cy="4298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ounded Rectangle 103"/>
            <p:cNvSpPr/>
            <p:nvPr/>
          </p:nvSpPr>
          <p:spPr bwMode="auto">
            <a:xfrm>
              <a:off x="4149766" y="3430749"/>
              <a:ext cx="331473" cy="331473"/>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5" name="Rectangle 104"/>
            <p:cNvSpPr/>
            <p:nvPr/>
          </p:nvSpPr>
          <p:spPr bwMode="auto">
            <a:xfrm>
              <a:off x="4188894"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6" name="Rectangle 105"/>
            <p:cNvSpPr/>
            <p:nvPr/>
          </p:nvSpPr>
          <p:spPr bwMode="auto">
            <a:xfrm>
              <a:off x="4331042" y="3468844"/>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7" name="Oval 106"/>
            <p:cNvSpPr/>
            <p:nvPr/>
          </p:nvSpPr>
          <p:spPr bwMode="auto">
            <a:xfrm>
              <a:off x="4258333"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8" name="Oval 107"/>
            <p:cNvSpPr/>
            <p:nvPr/>
          </p:nvSpPr>
          <p:spPr bwMode="auto">
            <a:xfrm>
              <a:off x="4400481" y="3469240"/>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09" name="Rectangle 108"/>
            <p:cNvSpPr/>
            <p:nvPr/>
          </p:nvSpPr>
          <p:spPr bwMode="auto">
            <a:xfrm>
              <a:off x="4188894"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0" name="Rectangle 109"/>
            <p:cNvSpPr/>
            <p:nvPr/>
          </p:nvSpPr>
          <p:spPr bwMode="auto">
            <a:xfrm>
              <a:off x="4331042" y="3621011"/>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1" name="Oval 110"/>
            <p:cNvSpPr/>
            <p:nvPr/>
          </p:nvSpPr>
          <p:spPr bwMode="auto">
            <a:xfrm>
              <a:off x="4258333"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2" name="Oval 111"/>
            <p:cNvSpPr/>
            <p:nvPr/>
          </p:nvSpPr>
          <p:spPr bwMode="auto">
            <a:xfrm>
              <a:off x="4400481" y="3621407"/>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3" name="Rectangle 112"/>
            <p:cNvSpPr/>
            <p:nvPr/>
          </p:nvSpPr>
          <p:spPr bwMode="auto">
            <a:xfrm>
              <a:off x="4261998"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4" name="Rectangle 113"/>
            <p:cNvSpPr/>
            <p:nvPr/>
          </p:nvSpPr>
          <p:spPr bwMode="auto">
            <a:xfrm>
              <a:off x="4404146" y="3693760"/>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5" name="Oval 114"/>
            <p:cNvSpPr/>
            <p:nvPr/>
          </p:nvSpPr>
          <p:spPr bwMode="auto">
            <a:xfrm>
              <a:off x="4189290"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6" name="Oval 115"/>
            <p:cNvSpPr/>
            <p:nvPr/>
          </p:nvSpPr>
          <p:spPr bwMode="auto">
            <a:xfrm>
              <a:off x="4331438" y="3694156"/>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7" name="Rectangle 116"/>
            <p:cNvSpPr/>
            <p:nvPr/>
          </p:nvSpPr>
          <p:spPr bwMode="auto">
            <a:xfrm>
              <a:off x="4261998"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8" name="Rectangle 117"/>
            <p:cNvSpPr/>
            <p:nvPr/>
          </p:nvSpPr>
          <p:spPr bwMode="auto">
            <a:xfrm>
              <a:off x="4404146" y="3534947"/>
              <a:ext cx="44486" cy="44486"/>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19" name="Oval 118"/>
            <p:cNvSpPr/>
            <p:nvPr/>
          </p:nvSpPr>
          <p:spPr bwMode="auto">
            <a:xfrm>
              <a:off x="4189290"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0" name="Oval 119"/>
            <p:cNvSpPr/>
            <p:nvPr/>
          </p:nvSpPr>
          <p:spPr bwMode="auto">
            <a:xfrm>
              <a:off x="4331438" y="3535344"/>
              <a:ext cx="47754" cy="47755"/>
            </a:xfrm>
            <a:prstGeom prst="ellipse">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1" name="Rectangle 120"/>
            <p:cNvSpPr/>
            <p:nvPr/>
          </p:nvSpPr>
          <p:spPr>
            <a:xfrm>
              <a:off x="4508069" y="3352325"/>
              <a:ext cx="797782" cy="461665"/>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Lake</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22" name="Rectangle 121"/>
            <p:cNvSpPr/>
            <p:nvPr/>
          </p:nvSpPr>
          <p:spPr>
            <a:xfrm>
              <a:off x="4489683" y="4446182"/>
              <a:ext cx="1463542" cy="453970"/>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a:t>
              </a: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27"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SQL Data Warehouse</a:t>
              </a:r>
              <a:endParaRPr kumimoji="0" lang="en-US" sz="1127"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23" name="Group 122"/>
            <p:cNvGrpSpPr/>
            <p:nvPr/>
          </p:nvGrpSpPr>
          <p:grpSpPr>
            <a:xfrm>
              <a:off x="6094873" y="5254390"/>
              <a:ext cx="295243" cy="853675"/>
              <a:chOff x="3832324" y="5254390"/>
              <a:chExt cx="295243" cy="853675"/>
            </a:xfrm>
          </p:grpSpPr>
          <p:sp>
            <p:nvSpPr>
              <p:cNvPr id="124" name="Isosceles Triangle 123"/>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25" name="Isosceles Triangle 124"/>
              <p:cNvSpPr/>
              <p:nvPr/>
            </p:nvSpPr>
            <p:spPr bwMode="auto">
              <a:xfrm rot="5400000">
                <a:off x="3529509" y="5557205"/>
                <a:ext cx="853675" cy="248045"/>
              </a:xfrm>
              <a:prstGeom prst="triangle">
                <a:avLst/>
              </a:prstGeom>
              <a:solidFill>
                <a:schemeClr val="tx1">
                  <a:lumMod val="65000"/>
                  <a:lumOff val="3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26" name="Group 125"/>
          <p:cNvGrpSpPr/>
          <p:nvPr/>
        </p:nvGrpSpPr>
        <p:grpSpPr>
          <a:xfrm>
            <a:off x="1721902" y="2001787"/>
            <a:ext cx="2325061" cy="4234072"/>
            <a:chOff x="1755266" y="1790395"/>
            <a:chExt cx="2372301" cy="4320099"/>
          </a:xfrm>
        </p:grpSpPr>
        <p:sp>
          <p:nvSpPr>
            <p:cNvPr id="127" name="Rectangle 126"/>
            <p:cNvSpPr/>
            <p:nvPr/>
          </p:nvSpPr>
          <p:spPr bwMode="auto">
            <a:xfrm>
              <a:off x="1755266" y="1790395"/>
              <a:ext cx="2079506" cy="4320099"/>
            </a:xfrm>
            <a:prstGeom prst="rect">
              <a:avLst/>
            </a:prstGeom>
            <a:solidFill>
              <a:schemeClr val="tx1">
                <a:lumMod val="50000"/>
                <a:lumOff val="50000"/>
              </a:schemeClr>
            </a:solidFill>
            <a:ln w="3175">
              <a:noFill/>
            </a:ln>
          </p:spPr>
          <p:style>
            <a:lnRef idx="0">
              <a:scrgbClr r="0" g="0" b="0"/>
            </a:lnRef>
            <a:fillRef idx="0">
              <a:scrgbClr r="0" g="0" b="0"/>
            </a:fillRef>
            <a:effectRef idx="0">
              <a:scrgbClr r="0" g="0" b="0"/>
            </a:effectRef>
            <a:fontRef idx="minor">
              <a:schemeClr val="lt1"/>
            </a:fontRef>
          </p:style>
          <p:txBody>
            <a:bodyPr spcFirstLastPara="0" vert="horz" wrap="square" lIns="17917" tIns="44803" rIns="17917" bIns="89581" numCol="1" spcCol="1270" anchor="t" anchorCtr="0">
              <a:no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Сбор </a:t>
              </a:r>
              <a:b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br>
              <a:r>
                <a:rPr kumimoji="0" lang="ru-RU"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данных</a:t>
              </a:r>
              <a:endParaRPr kumimoji="0" lang="en-US" sz="1568" b="1"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endParaRPr>
            </a:p>
          </p:txBody>
        </p:sp>
        <p:pic>
          <p:nvPicPr>
            <p:cNvPr id="128" name="Picture 127"/>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892648" y="2887432"/>
              <a:ext cx="375108" cy="375108"/>
            </a:xfrm>
            <a:prstGeom prst="rect">
              <a:avLst/>
            </a:prstGeom>
          </p:spPr>
        </p:pic>
        <p:sp>
          <p:nvSpPr>
            <p:cNvPr id="129" name="Freeform 30"/>
            <p:cNvSpPr>
              <a:spLocks noEditPoints="1"/>
            </p:cNvSpPr>
            <p:nvPr/>
          </p:nvSpPr>
          <p:spPr bwMode="auto">
            <a:xfrm>
              <a:off x="1943680" y="3996178"/>
              <a:ext cx="273043" cy="347423"/>
            </a:xfrm>
            <a:custGeom>
              <a:avLst/>
              <a:gdLst>
                <a:gd name="T0" fmla="*/ 57 w 290"/>
                <a:gd name="T1" fmla="*/ 95 h 369"/>
                <a:gd name="T2" fmla="*/ 222 w 290"/>
                <a:gd name="T3" fmla="*/ 95 h 369"/>
                <a:gd name="T4" fmla="*/ 222 w 290"/>
                <a:gd name="T5" fmla="*/ 108 h 369"/>
                <a:gd name="T6" fmla="*/ 57 w 290"/>
                <a:gd name="T7" fmla="*/ 108 h 369"/>
                <a:gd name="T8" fmla="*/ 57 w 290"/>
                <a:gd name="T9" fmla="*/ 95 h 369"/>
                <a:gd name="T10" fmla="*/ 57 w 290"/>
                <a:gd name="T11" fmla="*/ 150 h 369"/>
                <a:gd name="T12" fmla="*/ 222 w 290"/>
                <a:gd name="T13" fmla="*/ 150 h 369"/>
                <a:gd name="T14" fmla="*/ 222 w 290"/>
                <a:gd name="T15" fmla="*/ 139 h 369"/>
                <a:gd name="T16" fmla="*/ 57 w 290"/>
                <a:gd name="T17" fmla="*/ 139 h 369"/>
                <a:gd name="T18" fmla="*/ 57 w 290"/>
                <a:gd name="T19" fmla="*/ 150 h 369"/>
                <a:gd name="T20" fmla="*/ 57 w 290"/>
                <a:gd name="T21" fmla="*/ 194 h 369"/>
                <a:gd name="T22" fmla="*/ 222 w 290"/>
                <a:gd name="T23" fmla="*/ 194 h 369"/>
                <a:gd name="T24" fmla="*/ 222 w 290"/>
                <a:gd name="T25" fmla="*/ 181 h 369"/>
                <a:gd name="T26" fmla="*/ 57 w 290"/>
                <a:gd name="T27" fmla="*/ 181 h 369"/>
                <a:gd name="T28" fmla="*/ 57 w 290"/>
                <a:gd name="T29" fmla="*/ 194 h 369"/>
                <a:gd name="T30" fmla="*/ 57 w 290"/>
                <a:gd name="T31" fmla="*/ 236 h 369"/>
                <a:gd name="T32" fmla="*/ 222 w 290"/>
                <a:gd name="T33" fmla="*/ 236 h 369"/>
                <a:gd name="T34" fmla="*/ 222 w 290"/>
                <a:gd name="T35" fmla="*/ 223 h 369"/>
                <a:gd name="T36" fmla="*/ 57 w 290"/>
                <a:gd name="T37" fmla="*/ 223 h 369"/>
                <a:gd name="T38" fmla="*/ 57 w 290"/>
                <a:gd name="T39" fmla="*/ 236 h 369"/>
                <a:gd name="T40" fmla="*/ 290 w 290"/>
                <a:gd name="T41" fmla="*/ 90 h 369"/>
                <a:gd name="T42" fmla="*/ 290 w 290"/>
                <a:gd name="T43" fmla="*/ 369 h 369"/>
                <a:gd name="T44" fmla="*/ 0 w 290"/>
                <a:gd name="T45" fmla="*/ 369 h 369"/>
                <a:gd name="T46" fmla="*/ 0 w 290"/>
                <a:gd name="T47" fmla="*/ 1 h 369"/>
                <a:gd name="T48" fmla="*/ 216 w 290"/>
                <a:gd name="T49" fmla="*/ 1 h 369"/>
                <a:gd name="T50" fmla="*/ 216 w 290"/>
                <a:gd name="T51" fmla="*/ 0 h 369"/>
                <a:gd name="T52" fmla="*/ 290 w 290"/>
                <a:gd name="T53" fmla="*/ 90 h 369"/>
                <a:gd name="T54" fmla="*/ 271 w 290"/>
                <a:gd name="T55" fmla="*/ 79 h 369"/>
                <a:gd name="T56" fmla="*/ 214 w 290"/>
                <a:gd name="T57" fmla="*/ 79 h 369"/>
                <a:gd name="T58" fmla="*/ 216 w 290"/>
                <a:gd name="T59" fmla="*/ 21 h 369"/>
                <a:gd name="T60" fmla="*/ 20 w 290"/>
                <a:gd name="T61" fmla="*/ 21 h 369"/>
                <a:gd name="T62" fmla="*/ 20 w 290"/>
                <a:gd name="T63" fmla="*/ 349 h 369"/>
                <a:gd name="T64" fmla="*/ 271 w 290"/>
                <a:gd name="T65" fmla="*/ 349 h 369"/>
                <a:gd name="T66" fmla="*/ 271 w 290"/>
                <a:gd name="T67" fmla="*/ 79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90" h="369">
                  <a:moveTo>
                    <a:pt x="57" y="95"/>
                  </a:moveTo>
                  <a:lnTo>
                    <a:pt x="222" y="95"/>
                  </a:lnTo>
                  <a:lnTo>
                    <a:pt x="222" y="108"/>
                  </a:lnTo>
                  <a:lnTo>
                    <a:pt x="57" y="108"/>
                  </a:lnTo>
                  <a:lnTo>
                    <a:pt x="57" y="95"/>
                  </a:lnTo>
                  <a:close/>
                  <a:moveTo>
                    <a:pt x="57" y="150"/>
                  </a:moveTo>
                  <a:lnTo>
                    <a:pt x="222" y="150"/>
                  </a:lnTo>
                  <a:lnTo>
                    <a:pt x="222" y="139"/>
                  </a:lnTo>
                  <a:lnTo>
                    <a:pt x="57" y="139"/>
                  </a:lnTo>
                  <a:lnTo>
                    <a:pt x="57" y="150"/>
                  </a:lnTo>
                  <a:close/>
                  <a:moveTo>
                    <a:pt x="57" y="194"/>
                  </a:moveTo>
                  <a:lnTo>
                    <a:pt x="222" y="194"/>
                  </a:lnTo>
                  <a:lnTo>
                    <a:pt x="222" y="181"/>
                  </a:lnTo>
                  <a:lnTo>
                    <a:pt x="57" y="181"/>
                  </a:lnTo>
                  <a:lnTo>
                    <a:pt x="57" y="194"/>
                  </a:lnTo>
                  <a:close/>
                  <a:moveTo>
                    <a:pt x="57" y="236"/>
                  </a:moveTo>
                  <a:lnTo>
                    <a:pt x="222" y="236"/>
                  </a:lnTo>
                  <a:lnTo>
                    <a:pt x="222" y="223"/>
                  </a:lnTo>
                  <a:lnTo>
                    <a:pt x="57" y="223"/>
                  </a:lnTo>
                  <a:lnTo>
                    <a:pt x="57" y="236"/>
                  </a:lnTo>
                  <a:close/>
                  <a:moveTo>
                    <a:pt x="290" y="90"/>
                  </a:moveTo>
                  <a:lnTo>
                    <a:pt x="290" y="369"/>
                  </a:lnTo>
                  <a:lnTo>
                    <a:pt x="0" y="369"/>
                  </a:lnTo>
                  <a:lnTo>
                    <a:pt x="0" y="1"/>
                  </a:lnTo>
                  <a:lnTo>
                    <a:pt x="216" y="1"/>
                  </a:lnTo>
                  <a:lnTo>
                    <a:pt x="216" y="0"/>
                  </a:lnTo>
                  <a:lnTo>
                    <a:pt x="290" y="90"/>
                  </a:lnTo>
                  <a:close/>
                  <a:moveTo>
                    <a:pt x="271" y="79"/>
                  </a:moveTo>
                  <a:lnTo>
                    <a:pt x="214" y="79"/>
                  </a:lnTo>
                  <a:lnTo>
                    <a:pt x="216" y="21"/>
                  </a:lnTo>
                  <a:lnTo>
                    <a:pt x="20" y="21"/>
                  </a:lnTo>
                  <a:lnTo>
                    <a:pt x="20" y="349"/>
                  </a:lnTo>
                  <a:lnTo>
                    <a:pt x="271" y="349"/>
                  </a:lnTo>
                  <a:lnTo>
                    <a:pt x="271" y="79"/>
                  </a:lnTo>
                  <a:close/>
                </a:path>
              </a:pathLst>
            </a:custGeom>
            <a:solidFill>
              <a:srgbClr val="FFFFFF"/>
            </a:solidFill>
            <a:ln>
              <a:noFill/>
            </a:ln>
            <a:extLst/>
          </p:spPr>
          <p:txBody>
            <a:bodyPr vert="horz" wrap="square" lIns="89606" tIns="44803" rIns="89606" bIns="44803" numCol="1" anchor="t" anchorCtr="0" compatLnSpc="1">
              <a:prstTxWarp prst="textNoShape">
                <a:avLst/>
              </a:prstTxWarp>
            </a:bodyPr>
            <a:lstStyle/>
            <a:p>
              <a:pPr marL="0" marR="0" lvl="0" indent="0" defTabSz="877825" eaLnBrk="1" fontAlgn="base" latinLnBrk="0" hangingPunct="1">
                <a:lnSpc>
                  <a:spcPct val="100000"/>
                </a:lnSpc>
                <a:spcBef>
                  <a:spcPct val="0"/>
                </a:spcBef>
                <a:spcAft>
                  <a:spcPct val="0"/>
                </a:spcAft>
                <a:buClrTx/>
                <a:buSzTx/>
                <a:buFontTx/>
                <a:buNone/>
                <a:tabLst/>
                <a:defRPr/>
              </a:pPr>
              <a:endParaRPr kumimoji="0" lang="en-US" sz="1632" b="0" i="0" u="none" strike="noStrike" kern="0" cap="none" spc="0" normalizeH="0" baseline="0" noProof="0" dirty="0">
                <a:ln>
                  <a:noFill/>
                </a:ln>
                <a:solidFill>
                  <a:srgbClr val="000000"/>
                </a:solidFill>
                <a:effectLst/>
                <a:uLnTx/>
                <a:uFillTx/>
                <a:ea typeface="MS PGothic" charset="0"/>
              </a:endParaRPr>
            </a:p>
          </p:txBody>
        </p:sp>
        <p:pic>
          <p:nvPicPr>
            <p:cNvPr id="130" name="Picture 129"/>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892648" y="5001504"/>
              <a:ext cx="339648" cy="352813"/>
            </a:xfrm>
            <a:prstGeom prst="rect">
              <a:avLst/>
            </a:prstGeom>
          </p:spPr>
        </p:pic>
        <p:sp>
          <p:nvSpPr>
            <p:cNvPr id="131" name="Rectangle 130"/>
            <p:cNvSpPr/>
            <p:nvPr/>
          </p:nvSpPr>
          <p:spPr>
            <a:xfrm>
              <a:off x="2295424" y="2888599"/>
              <a:ext cx="1009122" cy="461665"/>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Factory </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32" name="Rectangle 131"/>
            <p:cNvSpPr/>
            <p:nvPr/>
          </p:nvSpPr>
          <p:spPr>
            <a:xfrm>
              <a:off x="2295424" y="3922283"/>
              <a:ext cx="999313" cy="461665"/>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Data Catalog</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33" name="Rectangle 132"/>
            <p:cNvSpPr/>
            <p:nvPr/>
          </p:nvSpPr>
          <p:spPr>
            <a:xfrm>
              <a:off x="2295424" y="4954772"/>
              <a:ext cx="833626" cy="461665"/>
            </a:xfrm>
            <a:prstGeom prst="rect">
              <a:avLst/>
            </a:prstGeom>
          </p:spPr>
          <p:txBody>
            <a:bodyPr wrap="none">
              <a:spAutoFit/>
            </a:bodyPr>
            <a:lstStyle/>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Azure </a:t>
              </a:r>
            </a:p>
            <a:p>
              <a:pPr marL="0" marR="0" lvl="0" indent="0" defTabSz="914180" eaLnBrk="1" fontAlgn="auto" latinLnBrk="0" hangingPunct="1">
                <a:lnSpc>
                  <a:spcPct val="100000"/>
                </a:lnSpc>
                <a:spcBef>
                  <a:spcPts val="0"/>
                </a:spcBef>
                <a:spcAft>
                  <a:spcPts val="0"/>
                </a:spcAft>
                <a:buClrTx/>
                <a:buSzTx/>
                <a:buFontTx/>
                <a:buNone/>
                <a:tabLst/>
                <a:defRPr/>
              </a:pPr>
              <a:r>
                <a:rPr kumimoji="0" lang="en-US" sz="1176" b="0" i="0" u="none" strike="noStrike" kern="0" cap="none" spc="-29"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cs typeface="Segoe UI Semilight" panose="020B0402040204020203" pitchFamily="34" charset="0"/>
                </a:rPr>
                <a:t>Event Hub</a:t>
              </a:r>
              <a:endParaRPr kumimoji="0" lang="en-US" sz="1176"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34" name="Group 133"/>
            <p:cNvGrpSpPr/>
            <p:nvPr/>
          </p:nvGrpSpPr>
          <p:grpSpPr>
            <a:xfrm>
              <a:off x="3832324" y="5254390"/>
              <a:ext cx="295243" cy="853675"/>
              <a:chOff x="3832324" y="5254390"/>
              <a:chExt cx="295243" cy="853675"/>
            </a:xfrm>
          </p:grpSpPr>
          <p:sp>
            <p:nvSpPr>
              <p:cNvPr id="135" name="Isosceles Triangle 134"/>
              <p:cNvSpPr/>
              <p:nvPr/>
            </p:nvSpPr>
            <p:spPr bwMode="auto">
              <a:xfrm rot="5400000">
                <a:off x="3576707" y="5557205"/>
                <a:ext cx="853675" cy="248045"/>
              </a:xfrm>
              <a:prstGeom prst="triangl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136" name="Isosceles Triangle 135"/>
              <p:cNvSpPr/>
              <p:nvPr/>
            </p:nvSpPr>
            <p:spPr bwMode="auto">
              <a:xfrm rot="5400000">
                <a:off x="3529509" y="5557205"/>
                <a:ext cx="853675" cy="248045"/>
              </a:xfrm>
              <a:prstGeom prst="triangle">
                <a:avLst/>
              </a:pr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marL="0" marR="0" lvl="0" indent="0" algn="ctr" defTabSz="913916" eaLnBrk="1" fontAlgn="base" latinLnBrk="0" hangingPunct="1">
                  <a:lnSpc>
                    <a:spcPct val="90000"/>
                  </a:lnSpc>
                  <a:spcBef>
                    <a:spcPct val="0"/>
                  </a:spcBef>
                  <a:spcAft>
                    <a:spcPct val="0"/>
                  </a:spcAft>
                  <a:buClrTx/>
                  <a:buSzTx/>
                  <a:buFontTx/>
                  <a:buNone/>
                  <a:tabLst/>
                  <a:defRPr/>
                </a:pPr>
                <a:endParaRPr kumimoji="0" lang="en-US" sz="2352"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sp>
        <p:nvSpPr>
          <p:cNvPr id="137" name="Rectangle 136"/>
          <p:cNvSpPr/>
          <p:nvPr/>
        </p:nvSpPr>
        <p:spPr>
          <a:xfrm>
            <a:off x="235848" y="6323679"/>
            <a:ext cx="960649" cy="333489"/>
          </a:xfrm>
          <a:prstGeom prst="rect">
            <a:avLst/>
          </a:prstGeom>
        </p:spPr>
        <p:txBody>
          <a:bodyPr wrap="none">
            <a:sp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7" b="1"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ДАННЫЕ</a:t>
            </a:r>
            <a:endParaRPr kumimoji="0" lang="en-US" sz="1567" b="1"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sp>
        <p:nvSpPr>
          <p:cNvPr id="138" name="Rectangle 137"/>
          <p:cNvSpPr/>
          <p:nvPr/>
        </p:nvSpPr>
        <p:spPr>
          <a:xfrm>
            <a:off x="5349588" y="6323679"/>
            <a:ext cx="955646" cy="333489"/>
          </a:xfrm>
          <a:prstGeom prst="rect">
            <a:avLst/>
          </a:prstGeom>
        </p:spPr>
        <p:txBody>
          <a:bodyPr wrap="none">
            <a:sp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7" b="1"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АНАЛИЗ</a:t>
            </a:r>
            <a:endParaRPr kumimoji="0" lang="en-US" sz="1567" b="1"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sp>
        <p:nvSpPr>
          <p:cNvPr id="139" name="Right Arrow 138"/>
          <p:cNvSpPr/>
          <p:nvPr/>
        </p:nvSpPr>
        <p:spPr bwMode="auto">
          <a:xfrm>
            <a:off x="1721902" y="6362338"/>
            <a:ext cx="3415586" cy="254446"/>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solidFill>
                <a:schemeClr val="bg1">
                  <a:lumMod val="50000"/>
                </a:schemeClr>
              </a:solidFill>
              <a:effectLst/>
              <a:uLnTx/>
              <a:uFillTx/>
              <a:ea typeface="Segoe UI" pitchFamily="34" charset="0"/>
              <a:cs typeface="Segoe UI" pitchFamily="34" charset="0"/>
            </a:endParaRPr>
          </a:p>
        </p:txBody>
      </p:sp>
      <p:sp>
        <p:nvSpPr>
          <p:cNvPr id="140" name="Rectangle 139"/>
          <p:cNvSpPr/>
          <p:nvPr/>
        </p:nvSpPr>
        <p:spPr>
          <a:xfrm>
            <a:off x="10782153" y="6323679"/>
            <a:ext cx="1140762" cy="333489"/>
          </a:xfrm>
          <a:prstGeom prst="rect">
            <a:avLst/>
          </a:prstGeom>
        </p:spPr>
        <p:txBody>
          <a:bodyPr wrap="none">
            <a:spAutoFit/>
          </a:bodyPr>
          <a:lstStyle/>
          <a:p>
            <a:pPr marL="0" marR="0" lvl="0" indent="0" algn="ctr" defTabSz="710584" eaLnBrk="1" fontAlgn="auto" latinLnBrk="0" hangingPunct="1">
              <a:lnSpc>
                <a:spcPct val="100000"/>
              </a:lnSpc>
              <a:spcBef>
                <a:spcPct val="0"/>
              </a:spcBef>
              <a:spcAft>
                <a:spcPct val="35000"/>
              </a:spcAft>
              <a:buClrTx/>
              <a:buSzTx/>
              <a:buFontTx/>
              <a:buNone/>
              <a:tabLst/>
              <a:defRPr/>
            </a:pPr>
            <a:r>
              <a:rPr kumimoji="0" lang="ru-RU" sz="1567" b="1"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rPr>
              <a:t>ДЕЙСТВИЯ</a:t>
            </a:r>
            <a:endParaRPr kumimoji="0" lang="en-US" sz="1567" b="1" i="0" u="none" strike="noStrike" kern="0" cap="none" spc="-29" normalizeH="0" baseline="0" noProof="0" dirty="0">
              <a:ln>
                <a:noFill/>
              </a:ln>
              <a:solidFill>
                <a:schemeClr val="bg1">
                  <a:lumMod val="50000"/>
                </a:schemeClr>
              </a:solidFill>
              <a:effectLst/>
              <a:uLnTx/>
              <a:uFillTx/>
              <a:latin typeface="Segoe UI Semilight" panose="020B0402040204020203" pitchFamily="34" charset="0"/>
              <a:cs typeface="Segoe UI Semilight" panose="020B0402040204020203" pitchFamily="34" charset="0"/>
            </a:endParaRPr>
          </a:p>
        </p:txBody>
      </p:sp>
      <p:sp>
        <p:nvSpPr>
          <p:cNvPr id="141" name="Right Arrow 140"/>
          <p:cNvSpPr/>
          <p:nvPr/>
        </p:nvSpPr>
        <p:spPr bwMode="auto">
          <a:xfrm>
            <a:off x="6651198" y="6362338"/>
            <a:ext cx="3749877" cy="254446"/>
          </a:xfrm>
          <a:prstGeom prs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en-US" sz="2399" b="0" i="0" u="none" strike="noStrike" kern="0" cap="none" spc="0" normalizeH="0" baseline="0" noProof="0" dirty="0" err="1">
              <a:ln>
                <a:noFill/>
              </a:ln>
              <a:solidFill>
                <a:schemeClr val="bg1">
                  <a:lumMod val="50000"/>
                </a:schemeClr>
              </a:solidFill>
              <a:effectLst/>
              <a:uLnTx/>
              <a:uFillTx/>
              <a:ea typeface="Segoe UI" pitchFamily="34" charset="0"/>
              <a:cs typeface="Segoe UI" pitchFamily="34" charset="0"/>
            </a:endParaRPr>
          </a:p>
        </p:txBody>
      </p:sp>
      <p:sp>
        <p:nvSpPr>
          <p:cNvPr id="146" name="Left-Right Arrow 145"/>
          <p:cNvSpPr/>
          <p:nvPr/>
        </p:nvSpPr>
        <p:spPr>
          <a:xfrm>
            <a:off x="3562064" y="1458672"/>
            <a:ext cx="4223574" cy="233650"/>
          </a:xfrm>
          <a:prstGeom prst="leftRightArrow">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marL="0" marR="0" lvl="0" indent="0" algn="ctr" defTabSz="932103" eaLnBrk="1" fontAlgn="base" latinLnBrk="0" hangingPunct="1">
              <a:lnSpc>
                <a:spcPct val="90000"/>
              </a:lnSpc>
              <a:spcBef>
                <a:spcPct val="0"/>
              </a:spcBef>
              <a:spcAft>
                <a:spcPct val="0"/>
              </a:spcAft>
              <a:buClrTx/>
              <a:buSzTx/>
              <a:buFontTx/>
              <a:buNone/>
              <a:tabLst/>
              <a:defRPr/>
            </a:pPr>
            <a:endParaRPr kumimoji="0" lang="ru-RU" sz="2399" b="0" i="0" u="none" strike="noStrike" kern="0" cap="none" spc="0" normalizeH="0" baseline="0" noProof="0">
              <a:ln>
                <a:noFill/>
              </a:ln>
              <a:solidFill>
                <a:schemeClr val="bg1">
                  <a:lumMod val="50000"/>
                </a:schemeClr>
              </a:solidFill>
              <a:effectLst/>
              <a:uLnTx/>
              <a:uFillTx/>
              <a:ea typeface="Segoe UI" pitchFamily="34" charset="0"/>
              <a:cs typeface="Segoe UI" pitchFamily="34" charset="0"/>
            </a:endParaRPr>
          </a:p>
        </p:txBody>
      </p:sp>
    </p:spTree>
    <p:extLst>
      <p:ext uri="{BB962C8B-B14F-4D97-AF65-F5344CB8AC3E}">
        <p14:creationId xmlns:p14="http://schemas.microsoft.com/office/powerpoint/2010/main" val="355021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500"/>
                                  </p:stCondLst>
                                  <p:childTnLst>
                                    <p:set>
                                      <p:cBhvr>
                                        <p:cTn id="6" dur="1" fill="hold">
                                          <p:stCondLst>
                                            <p:cond delay="0"/>
                                          </p:stCondLst>
                                        </p:cTn>
                                        <p:tgtEl>
                                          <p:spTgt spid="79"/>
                                        </p:tgtEl>
                                        <p:attrNameLst>
                                          <p:attrName>style.visibility</p:attrName>
                                        </p:attrNameLst>
                                      </p:cBhvr>
                                      <p:to>
                                        <p:strVal val="visible"/>
                                      </p:to>
                                    </p:set>
                                    <p:animEffect transition="in" filter="fade">
                                      <p:cBhvr>
                                        <p:cTn id="7" dur="500"/>
                                        <p:tgtEl>
                                          <p:spTgt spid="79"/>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37"/>
                                        </p:tgtEl>
                                        <p:attrNameLst>
                                          <p:attrName>style.visibility</p:attrName>
                                        </p:attrNameLst>
                                      </p:cBhvr>
                                      <p:to>
                                        <p:strVal val="visible"/>
                                      </p:to>
                                    </p:set>
                                    <p:animEffect transition="in" filter="fade">
                                      <p:cBhvr>
                                        <p:cTn id="11" dur="500"/>
                                        <p:tgtEl>
                                          <p:spTgt spid="137"/>
                                        </p:tgtEl>
                                      </p:cBhvr>
                                    </p:animEffect>
                                  </p:childTnLst>
                                </p:cTn>
                              </p:par>
                            </p:childTnLst>
                          </p:cTn>
                        </p:par>
                        <p:par>
                          <p:cTn id="12" fill="hold">
                            <p:stCondLst>
                              <p:cond delay="1500"/>
                            </p:stCondLst>
                            <p:childTnLst>
                              <p:par>
                                <p:cTn id="13" presetID="10" presetClass="entr" presetSubtype="0" fill="hold" nodeType="afterEffect">
                                  <p:stCondLst>
                                    <p:cond delay="0"/>
                                  </p:stCondLst>
                                  <p:childTnLst>
                                    <p:set>
                                      <p:cBhvr>
                                        <p:cTn id="14" dur="1" fill="hold">
                                          <p:stCondLst>
                                            <p:cond delay="0"/>
                                          </p:stCondLst>
                                        </p:cTn>
                                        <p:tgtEl>
                                          <p:spTgt spid="126"/>
                                        </p:tgtEl>
                                        <p:attrNameLst>
                                          <p:attrName>style.visibility</p:attrName>
                                        </p:attrNameLst>
                                      </p:cBhvr>
                                      <p:to>
                                        <p:strVal val="visible"/>
                                      </p:to>
                                    </p:set>
                                    <p:animEffect transition="in" filter="fade">
                                      <p:cBhvr>
                                        <p:cTn id="15" dur="500"/>
                                        <p:tgtEl>
                                          <p:spTgt spid="126"/>
                                        </p:tgtEl>
                                      </p:cBhvr>
                                    </p:animEffect>
                                  </p:childTnLst>
                                </p:cTn>
                              </p:par>
                            </p:childTnLst>
                          </p:cTn>
                        </p:par>
                        <p:par>
                          <p:cTn id="16" fill="hold">
                            <p:stCondLst>
                              <p:cond delay="2000"/>
                            </p:stCondLst>
                            <p:childTnLst>
                              <p:par>
                                <p:cTn id="17" presetID="10" presetClass="entr" presetSubtype="0" fill="hold" nodeType="afterEffect">
                                  <p:stCondLst>
                                    <p:cond delay="0"/>
                                  </p:stCondLst>
                                  <p:childTnLst>
                                    <p:set>
                                      <p:cBhvr>
                                        <p:cTn id="18" dur="1" fill="hold">
                                          <p:stCondLst>
                                            <p:cond delay="0"/>
                                          </p:stCondLst>
                                        </p:cTn>
                                        <p:tgtEl>
                                          <p:spTgt spid="101"/>
                                        </p:tgtEl>
                                        <p:attrNameLst>
                                          <p:attrName>style.visibility</p:attrName>
                                        </p:attrNameLst>
                                      </p:cBhvr>
                                      <p:to>
                                        <p:strVal val="visible"/>
                                      </p:to>
                                    </p:set>
                                    <p:animEffect transition="in" filter="fade">
                                      <p:cBhvr>
                                        <p:cTn id="19" dur="500"/>
                                        <p:tgtEl>
                                          <p:spTgt spid="101"/>
                                        </p:tgtEl>
                                      </p:cBhvr>
                                    </p:animEffect>
                                  </p:childTnLst>
                                </p:cTn>
                              </p:par>
                            </p:childTnLst>
                          </p:cTn>
                        </p:par>
                        <p:par>
                          <p:cTn id="20" fill="hold">
                            <p:stCondLst>
                              <p:cond delay="2500"/>
                            </p:stCondLst>
                            <p:childTnLst>
                              <p:par>
                                <p:cTn id="21" presetID="22" presetClass="entr" presetSubtype="8" fill="hold" grpId="0" nodeType="afterEffect">
                                  <p:stCondLst>
                                    <p:cond delay="0"/>
                                  </p:stCondLst>
                                  <p:childTnLst>
                                    <p:set>
                                      <p:cBhvr>
                                        <p:cTn id="22" dur="1" fill="hold">
                                          <p:stCondLst>
                                            <p:cond delay="0"/>
                                          </p:stCondLst>
                                        </p:cTn>
                                        <p:tgtEl>
                                          <p:spTgt spid="139"/>
                                        </p:tgtEl>
                                        <p:attrNameLst>
                                          <p:attrName>style.visibility</p:attrName>
                                        </p:attrNameLst>
                                      </p:cBhvr>
                                      <p:to>
                                        <p:strVal val="visible"/>
                                      </p:to>
                                    </p:set>
                                    <p:animEffect transition="in" filter="wipe(left)">
                                      <p:cBhvr>
                                        <p:cTn id="23" dur="500"/>
                                        <p:tgtEl>
                                          <p:spTgt spid="139"/>
                                        </p:tgtEl>
                                      </p:cBhvr>
                                    </p:animEffect>
                                  </p:childTnLst>
                                </p:cTn>
                              </p:par>
                            </p:childTnLst>
                          </p:cTn>
                        </p:par>
                        <p:par>
                          <p:cTn id="24" fill="hold">
                            <p:stCondLst>
                              <p:cond delay="3000"/>
                            </p:stCondLst>
                            <p:childTnLst>
                              <p:par>
                                <p:cTn id="25" presetID="10" presetClass="entr" presetSubtype="0" fill="hold" grpId="0" nodeType="afterEffect">
                                  <p:stCondLst>
                                    <p:cond delay="0"/>
                                  </p:stCondLst>
                                  <p:childTnLst>
                                    <p:set>
                                      <p:cBhvr>
                                        <p:cTn id="26" dur="1" fill="hold">
                                          <p:stCondLst>
                                            <p:cond delay="0"/>
                                          </p:stCondLst>
                                        </p:cTn>
                                        <p:tgtEl>
                                          <p:spTgt spid="138"/>
                                        </p:tgtEl>
                                        <p:attrNameLst>
                                          <p:attrName>style.visibility</p:attrName>
                                        </p:attrNameLst>
                                      </p:cBhvr>
                                      <p:to>
                                        <p:strVal val="visible"/>
                                      </p:to>
                                    </p:set>
                                    <p:animEffect transition="in" filter="fade">
                                      <p:cBhvr>
                                        <p:cTn id="27" dur="500"/>
                                        <p:tgtEl>
                                          <p:spTgt spid="138"/>
                                        </p:tgtEl>
                                      </p:cBhvr>
                                    </p:animEffect>
                                  </p:childTnLst>
                                </p:cTn>
                              </p:par>
                            </p:childTnLst>
                          </p:cTn>
                        </p:par>
                        <p:par>
                          <p:cTn id="28" fill="hold">
                            <p:stCondLst>
                              <p:cond delay="3500"/>
                            </p:stCondLst>
                            <p:childTnLst>
                              <p:par>
                                <p:cTn id="29" presetID="10" presetClass="entr" presetSubtype="0" fill="hold" nodeType="afterEffect">
                                  <p:stCondLst>
                                    <p:cond delay="0"/>
                                  </p:stCondLst>
                                  <p:childTnLst>
                                    <p:set>
                                      <p:cBhvr>
                                        <p:cTn id="30" dur="1" fill="hold">
                                          <p:stCondLst>
                                            <p:cond delay="0"/>
                                          </p:stCondLst>
                                        </p:cTn>
                                        <p:tgtEl>
                                          <p:spTgt spid="59"/>
                                        </p:tgtEl>
                                        <p:attrNameLst>
                                          <p:attrName>style.visibility</p:attrName>
                                        </p:attrNameLst>
                                      </p:cBhvr>
                                      <p:to>
                                        <p:strVal val="visible"/>
                                      </p:to>
                                    </p:set>
                                    <p:animEffect transition="in" filter="fade">
                                      <p:cBhvr>
                                        <p:cTn id="31" dur="500"/>
                                        <p:tgtEl>
                                          <p:spTgt spid="59"/>
                                        </p:tgtEl>
                                      </p:cBhvr>
                                    </p:animEffect>
                                  </p:childTnLst>
                                </p:cTn>
                              </p:par>
                            </p:childTnLst>
                          </p:cTn>
                        </p:par>
                        <p:par>
                          <p:cTn id="32" fill="hold">
                            <p:stCondLst>
                              <p:cond delay="4000"/>
                            </p:stCondLst>
                            <p:childTnLst>
                              <p:par>
                                <p:cTn id="33" presetID="10" presetClass="entr" presetSubtype="0" fill="hold" nodeType="after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fade">
                                      <p:cBhvr>
                                        <p:cTn id="35" dur="500"/>
                                        <p:tgtEl>
                                          <p:spTgt spid="50"/>
                                        </p:tgtEl>
                                      </p:cBhvr>
                                    </p:animEffect>
                                  </p:childTnLst>
                                </p:cTn>
                              </p:par>
                            </p:childTnLst>
                          </p:cTn>
                        </p:par>
                        <p:par>
                          <p:cTn id="36" fill="hold">
                            <p:stCondLst>
                              <p:cond delay="4500"/>
                            </p:stCondLst>
                            <p:childTnLst>
                              <p:par>
                                <p:cTn id="37" presetID="10" presetClass="entr" presetSubtype="0" fill="hold" nodeType="afterEffect">
                                  <p:stCondLst>
                                    <p:cond delay="0"/>
                                  </p:stCondLst>
                                  <p:childTnLst>
                                    <p:set>
                                      <p:cBhvr>
                                        <p:cTn id="38" dur="1" fill="hold">
                                          <p:stCondLst>
                                            <p:cond delay="0"/>
                                          </p:stCondLst>
                                        </p:cTn>
                                        <p:tgtEl>
                                          <p:spTgt spid="46"/>
                                        </p:tgtEl>
                                        <p:attrNameLst>
                                          <p:attrName>style.visibility</p:attrName>
                                        </p:attrNameLst>
                                      </p:cBhvr>
                                      <p:to>
                                        <p:strVal val="visible"/>
                                      </p:to>
                                    </p:set>
                                    <p:animEffect transition="in" filter="fade">
                                      <p:cBhvr>
                                        <p:cTn id="39" dur="500"/>
                                        <p:tgtEl>
                                          <p:spTgt spid="46"/>
                                        </p:tgtEl>
                                      </p:cBhvr>
                                    </p:animEffect>
                                  </p:childTnLst>
                                </p:cTn>
                              </p:par>
                            </p:childTnLst>
                          </p:cTn>
                        </p:par>
                        <p:par>
                          <p:cTn id="40" fill="hold">
                            <p:stCondLst>
                              <p:cond delay="5000"/>
                            </p:stCondLst>
                            <p:childTnLst>
                              <p:par>
                                <p:cTn id="41" presetID="10" presetClass="entr" presetSubtype="0" fill="hold" nodeType="after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childTnLst>
                          </p:cTn>
                        </p:par>
                        <p:par>
                          <p:cTn id="44" fill="hold">
                            <p:stCondLst>
                              <p:cond delay="5500"/>
                            </p:stCondLst>
                            <p:childTnLst>
                              <p:par>
                                <p:cTn id="45" presetID="10" presetClass="entr" presetSubtype="0" fill="hold" nodeType="afterEffect">
                                  <p:stCondLst>
                                    <p:cond delay="0"/>
                                  </p:stCondLst>
                                  <p:childTnLst>
                                    <p:set>
                                      <p:cBhvr>
                                        <p:cTn id="46" dur="1" fill="hold">
                                          <p:stCondLst>
                                            <p:cond delay="0"/>
                                          </p:stCondLst>
                                        </p:cTn>
                                        <p:tgtEl>
                                          <p:spTgt spid="142"/>
                                        </p:tgtEl>
                                        <p:attrNameLst>
                                          <p:attrName>style.visibility</p:attrName>
                                        </p:attrNameLst>
                                      </p:cBhvr>
                                      <p:to>
                                        <p:strVal val="visible"/>
                                      </p:to>
                                    </p:set>
                                    <p:animEffect transition="in" filter="fade">
                                      <p:cBhvr>
                                        <p:cTn id="47" dur="500"/>
                                        <p:tgtEl>
                                          <p:spTgt spid="142"/>
                                        </p:tgtEl>
                                      </p:cBhvr>
                                    </p:animEffect>
                                  </p:childTnLst>
                                </p:cTn>
                              </p:par>
                            </p:childTnLst>
                          </p:cTn>
                        </p:par>
                        <p:par>
                          <p:cTn id="48" fill="hold">
                            <p:stCondLst>
                              <p:cond delay="6000"/>
                            </p:stCondLst>
                            <p:childTnLst>
                              <p:par>
                                <p:cTn id="49" presetID="10" presetClass="entr" presetSubtype="0" fill="hold" nodeType="after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childTnLst>
                          </p:cTn>
                        </p:par>
                        <p:par>
                          <p:cTn id="52" fill="hold">
                            <p:stCondLst>
                              <p:cond delay="6500"/>
                            </p:stCondLst>
                            <p:childTnLst>
                              <p:par>
                                <p:cTn id="53" presetID="10" presetClass="entr" presetSubtype="0" fill="hold" nodeType="afterEffect">
                                  <p:stCondLst>
                                    <p:cond delay="0"/>
                                  </p:stCondLst>
                                  <p:childTnLst>
                                    <p:set>
                                      <p:cBhvr>
                                        <p:cTn id="54" dur="1" fill="hold">
                                          <p:stCondLst>
                                            <p:cond delay="0"/>
                                          </p:stCondLst>
                                        </p:cTn>
                                        <p:tgtEl>
                                          <p:spTgt spid="143"/>
                                        </p:tgtEl>
                                        <p:attrNameLst>
                                          <p:attrName>style.visibility</p:attrName>
                                        </p:attrNameLst>
                                      </p:cBhvr>
                                      <p:to>
                                        <p:strVal val="visible"/>
                                      </p:to>
                                    </p:set>
                                    <p:animEffect transition="in" filter="fade">
                                      <p:cBhvr>
                                        <p:cTn id="55" dur="500"/>
                                        <p:tgtEl>
                                          <p:spTgt spid="143"/>
                                        </p:tgtEl>
                                      </p:cBhvr>
                                    </p:animEffect>
                                  </p:childTnLst>
                                </p:cTn>
                              </p:par>
                            </p:childTnLst>
                          </p:cTn>
                        </p:par>
                        <p:par>
                          <p:cTn id="56" fill="hold">
                            <p:stCondLst>
                              <p:cond delay="7000"/>
                            </p:stCondLst>
                            <p:childTnLst>
                              <p:par>
                                <p:cTn id="57" presetID="22" presetClass="entr" presetSubtype="8" fill="hold" grpId="0" nodeType="afterEffect">
                                  <p:stCondLst>
                                    <p:cond delay="0"/>
                                  </p:stCondLst>
                                  <p:childTnLst>
                                    <p:set>
                                      <p:cBhvr>
                                        <p:cTn id="58" dur="1" fill="hold">
                                          <p:stCondLst>
                                            <p:cond delay="0"/>
                                          </p:stCondLst>
                                        </p:cTn>
                                        <p:tgtEl>
                                          <p:spTgt spid="141"/>
                                        </p:tgtEl>
                                        <p:attrNameLst>
                                          <p:attrName>style.visibility</p:attrName>
                                        </p:attrNameLst>
                                      </p:cBhvr>
                                      <p:to>
                                        <p:strVal val="visible"/>
                                      </p:to>
                                    </p:set>
                                    <p:animEffect transition="in" filter="wipe(left)">
                                      <p:cBhvr>
                                        <p:cTn id="59" dur="500"/>
                                        <p:tgtEl>
                                          <p:spTgt spid="141"/>
                                        </p:tgtEl>
                                      </p:cBhvr>
                                    </p:animEffect>
                                  </p:childTnLst>
                                </p:cTn>
                              </p:par>
                            </p:childTnLst>
                          </p:cTn>
                        </p:par>
                        <p:par>
                          <p:cTn id="60" fill="hold">
                            <p:stCondLst>
                              <p:cond delay="7500"/>
                            </p:stCondLst>
                            <p:childTnLst>
                              <p:par>
                                <p:cTn id="61" presetID="10" presetClass="entr" presetSubtype="0" fill="hold" grpId="0" nodeType="afterEffect">
                                  <p:stCondLst>
                                    <p:cond delay="0"/>
                                  </p:stCondLst>
                                  <p:childTnLst>
                                    <p:set>
                                      <p:cBhvr>
                                        <p:cTn id="62" dur="1" fill="hold">
                                          <p:stCondLst>
                                            <p:cond delay="0"/>
                                          </p:stCondLst>
                                        </p:cTn>
                                        <p:tgtEl>
                                          <p:spTgt spid="140"/>
                                        </p:tgtEl>
                                        <p:attrNameLst>
                                          <p:attrName>style.visibility</p:attrName>
                                        </p:attrNameLst>
                                      </p:cBhvr>
                                      <p:to>
                                        <p:strVal val="visible"/>
                                      </p:to>
                                    </p:set>
                                    <p:animEffect transition="in" filter="fade">
                                      <p:cBhvr>
                                        <p:cTn id="63" dur="500"/>
                                        <p:tgtEl>
                                          <p:spTgt spid="140"/>
                                        </p:tgtEl>
                                      </p:cBhvr>
                                    </p:animEffect>
                                  </p:childTnLst>
                                </p:cTn>
                              </p:par>
                            </p:childTnLst>
                          </p:cTn>
                        </p:par>
                        <p:par>
                          <p:cTn id="64" fill="hold">
                            <p:stCondLst>
                              <p:cond delay="8000"/>
                            </p:stCondLst>
                            <p:childTnLst>
                              <p:par>
                                <p:cTn id="65" presetID="10" presetClass="entr" presetSubtype="0" fill="hold" nodeType="afterEffect">
                                  <p:stCondLst>
                                    <p:cond delay="0"/>
                                  </p:stCondLst>
                                  <p:childTnLst>
                                    <p:set>
                                      <p:cBhvr>
                                        <p:cTn id="66" dur="1" fill="hold">
                                          <p:stCondLst>
                                            <p:cond delay="0"/>
                                          </p:stCondLst>
                                        </p:cTn>
                                        <p:tgtEl>
                                          <p:spTgt spid="147"/>
                                        </p:tgtEl>
                                        <p:attrNameLst>
                                          <p:attrName>style.visibility</p:attrName>
                                        </p:attrNameLst>
                                      </p:cBhvr>
                                      <p:to>
                                        <p:strVal val="visible"/>
                                      </p:to>
                                    </p:set>
                                    <p:animEffect transition="in" filter="fade">
                                      <p:cBhvr>
                                        <p:cTn id="67" dur="500"/>
                                        <p:tgtEl>
                                          <p:spTgt spid="147"/>
                                        </p:tgtEl>
                                      </p:cBhvr>
                                    </p:animEffect>
                                  </p:childTnLst>
                                </p:cTn>
                              </p:par>
                            </p:childTnLst>
                          </p:cTn>
                        </p:par>
                        <p:par>
                          <p:cTn id="68" fill="hold">
                            <p:stCondLst>
                              <p:cond delay="8500"/>
                            </p:stCondLst>
                            <p:childTnLst>
                              <p:par>
                                <p:cTn id="69" presetID="53" presetClass="entr" presetSubtype="16" fill="hold" grpId="0" nodeType="afterEffect">
                                  <p:stCondLst>
                                    <p:cond delay="0"/>
                                  </p:stCondLst>
                                  <p:childTnLst>
                                    <p:set>
                                      <p:cBhvr>
                                        <p:cTn id="70" dur="1" fill="hold">
                                          <p:stCondLst>
                                            <p:cond delay="0"/>
                                          </p:stCondLst>
                                        </p:cTn>
                                        <p:tgtEl>
                                          <p:spTgt spid="146"/>
                                        </p:tgtEl>
                                        <p:attrNameLst>
                                          <p:attrName>style.visibility</p:attrName>
                                        </p:attrNameLst>
                                      </p:cBhvr>
                                      <p:to>
                                        <p:strVal val="visible"/>
                                      </p:to>
                                    </p:set>
                                    <p:anim calcmode="lin" valueType="num">
                                      <p:cBhvr>
                                        <p:cTn id="71" dur="500" fill="hold"/>
                                        <p:tgtEl>
                                          <p:spTgt spid="146"/>
                                        </p:tgtEl>
                                        <p:attrNameLst>
                                          <p:attrName>ppt_w</p:attrName>
                                        </p:attrNameLst>
                                      </p:cBhvr>
                                      <p:tavLst>
                                        <p:tav tm="0">
                                          <p:val>
                                            <p:fltVal val="0"/>
                                          </p:val>
                                        </p:tav>
                                        <p:tav tm="100000">
                                          <p:val>
                                            <p:strVal val="#ppt_w"/>
                                          </p:val>
                                        </p:tav>
                                      </p:tavLst>
                                    </p:anim>
                                    <p:anim calcmode="lin" valueType="num">
                                      <p:cBhvr>
                                        <p:cTn id="72" dur="500" fill="hold"/>
                                        <p:tgtEl>
                                          <p:spTgt spid="146"/>
                                        </p:tgtEl>
                                        <p:attrNameLst>
                                          <p:attrName>ppt_h</p:attrName>
                                        </p:attrNameLst>
                                      </p:cBhvr>
                                      <p:tavLst>
                                        <p:tav tm="0">
                                          <p:val>
                                            <p:fltVal val="0"/>
                                          </p:val>
                                        </p:tav>
                                        <p:tav tm="100000">
                                          <p:val>
                                            <p:strVal val="#ppt_h"/>
                                          </p:val>
                                        </p:tav>
                                      </p:tavLst>
                                    </p:anim>
                                    <p:animEffect transition="in" filter="fade">
                                      <p:cBhvr>
                                        <p:cTn id="73" dur="500"/>
                                        <p:tgtEl>
                                          <p:spTgt spid="14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7" grpId="0"/>
      <p:bldP spid="138" grpId="0"/>
      <p:bldP spid="139" grpId="0" animBg="1"/>
      <p:bldP spid="140" grpId="0"/>
      <p:bldP spid="141" grpId="0" animBg="1"/>
      <p:bldP spid="14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6841" y="112834"/>
            <a:ext cx="11696700" cy="689422"/>
          </a:xfrm>
        </p:spPr>
        <p:txBody>
          <a:bodyPr/>
          <a:lstStyle/>
          <a:p>
            <a:r>
              <a:rPr lang="ru-RU" sz="2800" b="1" dirty="0"/>
              <a:t>Компоненты платформы </a:t>
            </a:r>
            <a:r>
              <a:rPr lang="en-US" sz="2800" b="1" dirty="0"/>
              <a:t>Microsoft </a:t>
            </a:r>
            <a:r>
              <a:rPr lang="ru-RU" sz="2800" b="1" dirty="0"/>
              <a:t>для публичных, гибридных, частных облаков</a:t>
            </a:r>
          </a:p>
        </p:txBody>
      </p:sp>
      <p:grpSp>
        <p:nvGrpSpPr>
          <p:cNvPr id="3" name="Group 2"/>
          <p:cNvGrpSpPr/>
          <p:nvPr/>
        </p:nvGrpSpPr>
        <p:grpSpPr>
          <a:xfrm>
            <a:off x="83927" y="3006530"/>
            <a:ext cx="11277600" cy="718364"/>
            <a:chOff x="579437" y="2505836"/>
            <a:chExt cx="11277600" cy="718364"/>
          </a:xfrm>
          <a:solidFill>
            <a:schemeClr val="tx2">
              <a:lumMod val="75000"/>
            </a:schemeClr>
          </a:solidFill>
        </p:grpSpPr>
        <p:sp>
          <p:nvSpPr>
            <p:cNvPr id="4" name="Rectangle 3"/>
            <p:cNvSpPr/>
            <p:nvPr/>
          </p:nvSpPr>
          <p:spPr bwMode="auto">
            <a:xfrm>
              <a:off x="579437" y="2506662"/>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5" name="Rectangle 4"/>
            <p:cNvSpPr/>
            <p:nvPr/>
          </p:nvSpPr>
          <p:spPr bwMode="auto">
            <a:xfrm>
              <a:off x="579438" y="2505836"/>
              <a:ext cx="3657600" cy="71836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 name="Rectangle 5"/>
            <p:cNvSpPr/>
            <p:nvPr/>
          </p:nvSpPr>
          <p:spPr bwMode="auto">
            <a:xfrm>
              <a:off x="4252371" y="2528138"/>
              <a:ext cx="7376066"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SQL Server + SQL Data Warehouse +Storage + </a:t>
              </a:r>
              <a:r>
                <a:rPr kumimoji="0" lang="en-US" sz="2000" b="0" i="0" u="none" strike="noStrike" kern="0" cap="none" spc="0" normalizeH="0" baseline="0" noProof="0" dirty="0" err="1">
                  <a:ln>
                    <a:noFill/>
                  </a:ln>
                  <a:solidFill>
                    <a:srgbClr val="FFFFFF"/>
                  </a:solidFill>
                  <a:effectLst/>
                  <a:uLnTx/>
                  <a:uFillTx/>
                  <a:latin typeface="Segoe UI Semilight"/>
                  <a:ea typeface="Segoe UI" pitchFamily="34" charset="0"/>
                  <a:cs typeface="Segoe UI" pitchFamily="34" charset="0"/>
                </a:rPr>
                <a:t>DocumentDB</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 </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Data Factory + Data Lake</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 </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Data Catalogue</a:t>
              </a:r>
            </a:p>
          </p:txBody>
        </p:sp>
        <p:sp>
          <p:nvSpPr>
            <p:cNvPr id="7" name="Rectangle 6"/>
            <p:cNvSpPr/>
            <p:nvPr/>
          </p:nvSpPr>
          <p:spPr bwMode="auto">
            <a:xfrm>
              <a:off x="579437" y="2535858"/>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данные</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8" name="Group 7"/>
          <p:cNvGrpSpPr/>
          <p:nvPr/>
        </p:nvGrpSpPr>
        <p:grpSpPr>
          <a:xfrm>
            <a:off x="83927" y="701857"/>
            <a:ext cx="11277600" cy="717538"/>
            <a:chOff x="579437" y="1781105"/>
            <a:chExt cx="11277600" cy="717538"/>
          </a:xfrm>
          <a:solidFill>
            <a:schemeClr val="tx2">
              <a:lumMod val="75000"/>
            </a:schemeClr>
          </a:solidFill>
        </p:grpSpPr>
        <p:sp>
          <p:nvSpPr>
            <p:cNvPr id="9" name="Rectangle 8"/>
            <p:cNvSpPr/>
            <p:nvPr/>
          </p:nvSpPr>
          <p:spPr bwMode="auto">
            <a:xfrm>
              <a:off x="579437" y="1781105"/>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0" name="Rectangle 9"/>
            <p:cNvSpPr/>
            <p:nvPr/>
          </p:nvSpPr>
          <p:spPr bwMode="auto">
            <a:xfrm>
              <a:off x="579438" y="1781105"/>
              <a:ext cx="3657600" cy="717538"/>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1" name="Rectangle 10"/>
            <p:cNvSpPr/>
            <p:nvPr/>
          </p:nvSpPr>
          <p:spPr bwMode="auto">
            <a:xfrm>
              <a:off x="579437" y="1810301"/>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SAAS </a:t>
              </a: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Решения</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nvGrpSpPr>
            <p:cNvPr id="12" name="Group 11"/>
            <p:cNvGrpSpPr/>
            <p:nvPr/>
          </p:nvGrpSpPr>
          <p:grpSpPr>
            <a:xfrm>
              <a:off x="4562820" y="1966693"/>
              <a:ext cx="5942291" cy="337954"/>
              <a:chOff x="1713538" y="3653952"/>
              <a:chExt cx="7513419" cy="427309"/>
            </a:xfrm>
            <a:grpFill/>
          </p:grpSpPr>
          <p:pic>
            <p:nvPicPr>
              <p:cNvPr id="14" name="Picture 13"/>
              <p:cNvPicPr>
                <a:picLocks noChangeAspect="1"/>
              </p:cNvPicPr>
              <p:nvPr/>
            </p:nvPicPr>
            <p:blipFill>
              <a:blip r:embed="rId3" cstate="print">
                <a:biLevel thresh="25000"/>
                <a:extLst>
                  <a:ext uri="{28A0092B-C50C-407E-A947-70E740481C1C}">
                    <a14:useLocalDpi xmlns:a14="http://schemas.microsoft.com/office/drawing/2010/main" val="0"/>
                  </a:ext>
                </a:extLst>
              </a:blip>
              <a:stretch>
                <a:fillRect/>
              </a:stretch>
            </p:blipFill>
            <p:spPr>
              <a:xfrm>
                <a:off x="1713538" y="3653952"/>
                <a:ext cx="1782999" cy="394280"/>
              </a:xfrm>
              <a:prstGeom prst="rect">
                <a:avLst/>
              </a:prstGeom>
              <a:grpFill/>
            </p:spPr>
          </p:pic>
          <p:pic>
            <p:nvPicPr>
              <p:cNvPr id="15" name="Picture 14"/>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7496301" y="3663691"/>
                <a:ext cx="1730656" cy="417570"/>
              </a:xfrm>
              <a:prstGeom prst="rect">
                <a:avLst/>
              </a:prstGeom>
              <a:grpFill/>
            </p:spPr>
          </p:pic>
        </p:grpSp>
      </p:grpSp>
      <p:grpSp>
        <p:nvGrpSpPr>
          <p:cNvPr id="16" name="Group 15"/>
          <p:cNvGrpSpPr/>
          <p:nvPr/>
        </p:nvGrpSpPr>
        <p:grpSpPr>
          <a:xfrm>
            <a:off x="83927" y="6101418"/>
            <a:ext cx="11277600" cy="717538"/>
            <a:chOff x="579437" y="3311731"/>
            <a:chExt cx="11277600" cy="717538"/>
          </a:xfrm>
          <a:solidFill>
            <a:schemeClr val="tx2">
              <a:lumMod val="75000"/>
            </a:schemeClr>
          </a:solidFill>
        </p:grpSpPr>
        <p:sp>
          <p:nvSpPr>
            <p:cNvPr id="17" name="Rectangle 16"/>
            <p:cNvSpPr/>
            <p:nvPr/>
          </p:nvSpPr>
          <p:spPr bwMode="auto">
            <a:xfrm>
              <a:off x="579437" y="3311731"/>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18" name="Rectangle 17"/>
            <p:cNvSpPr/>
            <p:nvPr/>
          </p:nvSpPr>
          <p:spPr bwMode="auto">
            <a:xfrm>
              <a:off x="579438" y="3311731"/>
              <a:ext cx="3657600" cy="717538"/>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9" name="Rectangle 18"/>
            <p:cNvSpPr/>
            <p:nvPr/>
          </p:nvSpPr>
          <p:spPr bwMode="auto">
            <a:xfrm>
              <a:off x="4237037" y="3333207"/>
              <a:ext cx="7620000"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lvl="0" algn="ctr" defTabSz="932472" fontAlgn="base">
                <a:lnSpc>
                  <a:spcPct val="90000"/>
                </a:lnSpc>
                <a:spcBef>
                  <a:spcPct val="0"/>
                </a:spcBef>
                <a:spcAft>
                  <a:spcPct val="0"/>
                </a:spcAft>
                <a:defRPr/>
              </a:pPr>
              <a:r>
                <a:rPr kumimoji="0" lang="en-US" sz="2000" b="0" i="0" u="none" strike="noStrike" kern="0" cap="none" spc="-50" normalizeH="0" baseline="0" noProof="0" dirty="0">
                  <a:ln>
                    <a:noFill/>
                  </a:ln>
                  <a:solidFill>
                    <a:srgbClr val="FFFFFF"/>
                  </a:solidFill>
                  <a:effectLst/>
                  <a:uLnTx/>
                  <a:uFillTx/>
                  <a:latin typeface="Calibri" panose="020F0502020204030204"/>
                  <a:ea typeface="Segoe UI" pitchFamily="34" charset="0"/>
                  <a:cs typeface="Segoe UI" pitchFamily="34" charset="0"/>
                </a:rPr>
                <a:t>Windows Server 2016 + System Center 2016 + Operations Management </a:t>
              </a:r>
              <a:r>
                <a:rPr lang="en-US" sz="2000" kern="0" spc="-50" dirty="0">
                  <a:solidFill>
                    <a:srgbClr val="FFFFFF"/>
                  </a:solidFill>
                  <a:latin typeface="Calibri" panose="020F0502020204030204"/>
                  <a:ea typeface="Segoe UI" pitchFamily="34" charset="0"/>
                  <a:cs typeface="Segoe UI" pitchFamily="34" charset="0"/>
                </a:rPr>
                <a:t>Suite (OMS) + Azure Stack </a:t>
              </a:r>
              <a:endParaRPr kumimoji="0" lang="en-US" sz="2000" b="0" i="0" u="none" strike="noStrike" kern="0" cap="none" spc="-50" normalizeH="0" baseline="0" noProof="0" dirty="0">
                <a:ln>
                  <a:noFill/>
                </a:ln>
                <a:solidFill>
                  <a:srgbClr val="FFFFFF"/>
                </a:solidFill>
                <a:effectLst/>
                <a:uLnTx/>
                <a:uFillTx/>
                <a:latin typeface="Calibri" panose="020F0502020204030204"/>
                <a:ea typeface="Segoe UI" pitchFamily="34" charset="0"/>
                <a:cs typeface="Segoe UI" pitchFamily="34" charset="0"/>
              </a:endParaRPr>
            </a:p>
          </p:txBody>
        </p:sp>
        <p:sp>
          <p:nvSpPr>
            <p:cNvPr id="20" name="Rectangle 19"/>
            <p:cNvSpPr/>
            <p:nvPr/>
          </p:nvSpPr>
          <p:spPr bwMode="auto">
            <a:xfrm>
              <a:off x="579437" y="3340927"/>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Инфраструктура ЧАСТНОГО ОБЛАКА</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21" name="Group 20"/>
          <p:cNvGrpSpPr/>
          <p:nvPr/>
        </p:nvGrpSpPr>
        <p:grpSpPr>
          <a:xfrm>
            <a:off x="83927" y="4528478"/>
            <a:ext cx="11277600" cy="717538"/>
            <a:chOff x="579437" y="4126739"/>
            <a:chExt cx="11277600" cy="717538"/>
          </a:xfrm>
          <a:solidFill>
            <a:schemeClr val="tx2">
              <a:lumMod val="75000"/>
            </a:schemeClr>
          </a:solidFill>
        </p:grpSpPr>
        <p:sp>
          <p:nvSpPr>
            <p:cNvPr id="22" name="Rectangle 21"/>
            <p:cNvSpPr/>
            <p:nvPr/>
          </p:nvSpPr>
          <p:spPr bwMode="auto">
            <a:xfrm>
              <a:off x="579437" y="4126739"/>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3" name="Rectangle 22"/>
            <p:cNvSpPr/>
            <p:nvPr/>
          </p:nvSpPr>
          <p:spPr bwMode="auto">
            <a:xfrm>
              <a:off x="579438" y="4126739"/>
              <a:ext cx="3657600" cy="71753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4" name="Rectangle 23"/>
            <p:cNvSpPr/>
            <p:nvPr/>
          </p:nvSpPr>
          <p:spPr bwMode="auto">
            <a:xfrm>
              <a:off x="4423797" y="4148215"/>
              <a:ext cx="7204640"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err="1">
                  <a:ln>
                    <a:noFill/>
                  </a:ln>
                  <a:solidFill>
                    <a:srgbClr val="FFFFFF"/>
                  </a:solidFill>
                  <a:effectLst/>
                  <a:uLnTx/>
                  <a:uFillTx/>
                  <a:latin typeface="Segoe UI Semilight"/>
                  <a:ea typeface="Segoe UI" pitchFamily="34" charset="0"/>
                  <a:cs typeface="Segoe UI" pitchFamily="34" charset="0"/>
                </a:rPr>
                <a:t>IoT</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Hub + Service Bus + BizTalk Services + API Apps + Logic Apps</a:t>
              </a:r>
            </a:p>
          </p:txBody>
        </p:sp>
        <p:sp>
          <p:nvSpPr>
            <p:cNvPr id="25" name="Rectangle 24"/>
            <p:cNvSpPr/>
            <p:nvPr/>
          </p:nvSpPr>
          <p:spPr bwMode="auto">
            <a:xfrm>
              <a:off x="579437" y="4155935"/>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интеграция</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26" name="Group 25"/>
          <p:cNvGrpSpPr/>
          <p:nvPr/>
        </p:nvGrpSpPr>
        <p:grpSpPr>
          <a:xfrm>
            <a:off x="83927" y="3765148"/>
            <a:ext cx="11277600" cy="718364"/>
            <a:chOff x="579437" y="4856282"/>
            <a:chExt cx="11277600" cy="718364"/>
          </a:xfrm>
          <a:solidFill>
            <a:schemeClr val="tx2">
              <a:lumMod val="75000"/>
            </a:schemeClr>
          </a:solidFill>
        </p:grpSpPr>
        <p:sp>
          <p:nvSpPr>
            <p:cNvPr id="27" name="Rectangle 26"/>
            <p:cNvSpPr/>
            <p:nvPr/>
          </p:nvSpPr>
          <p:spPr bwMode="auto">
            <a:xfrm>
              <a:off x="579437" y="4857108"/>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28" name="Rectangle 27"/>
            <p:cNvSpPr/>
            <p:nvPr/>
          </p:nvSpPr>
          <p:spPr bwMode="auto">
            <a:xfrm>
              <a:off x="579438" y="4856282"/>
              <a:ext cx="3657600" cy="71836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9" name="Rectangle 28"/>
            <p:cNvSpPr/>
            <p:nvPr/>
          </p:nvSpPr>
          <p:spPr bwMode="auto">
            <a:xfrm>
              <a:off x="4237037" y="4878584"/>
              <a:ext cx="7620000"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HDInsight + Machine Learning + Events Hubs &amp; Stream Analytics</a:t>
              </a:r>
            </a:p>
          </p:txBody>
        </p:sp>
        <p:sp>
          <p:nvSpPr>
            <p:cNvPr id="30" name="Rectangle 29"/>
            <p:cNvSpPr/>
            <p:nvPr/>
          </p:nvSpPr>
          <p:spPr bwMode="auto">
            <a:xfrm>
              <a:off x="579437" y="4886304"/>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аналитика</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31" name="Group 30"/>
          <p:cNvGrpSpPr/>
          <p:nvPr/>
        </p:nvGrpSpPr>
        <p:grpSpPr>
          <a:xfrm>
            <a:off x="83927" y="5338086"/>
            <a:ext cx="11277600" cy="718366"/>
            <a:chOff x="579437" y="5646005"/>
            <a:chExt cx="11277600" cy="718366"/>
          </a:xfrm>
          <a:solidFill>
            <a:schemeClr val="tx2">
              <a:lumMod val="75000"/>
            </a:schemeClr>
          </a:solidFill>
        </p:grpSpPr>
        <p:sp>
          <p:nvSpPr>
            <p:cNvPr id="32" name="Rectangle 31"/>
            <p:cNvSpPr/>
            <p:nvPr/>
          </p:nvSpPr>
          <p:spPr bwMode="auto">
            <a:xfrm>
              <a:off x="579437" y="5646833"/>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3" name="Rectangle 32"/>
            <p:cNvSpPr/>
            <p:nvPr/>
          </p:nvSpPr>
          <p:spPr bwMode="auto">
            <a:xfrm>
              <a:off x="579438" y="5646005"/>
              <a:ext cx="3657600" cy="718365"/>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4" name="Rectangle 33"/>
            <p:cNvSpPr/>
            <p:nvPr/>
          </p:nvSpPr>
          <p:spPr bwMode="auto">
            <a:xfrm>
              <a:off x="3996602" y="5668309"/>
              <a:ext cx="7631835"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Backup + </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Восстановление + Автоматизация процессов</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 Operational Insights + </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Центр безопасности</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 </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Портал </a:t>
              </a:r>
              <a:r>
                <a:rPr kumimoji="0" lang="ru-RU" sz="2000" b="0" i="0" u="none" strike="noStrike" kern="0" cap="none" spc="0" normalizeH="0" baseline="0" noProof="0" dirty="0" err="1">
                  <a:ln>
                    <a:noFill/>
                  </a:ln>
                  <a:solidFill>
                    <a:srgbClr val="FFFFFF"/>
                  </a:solidFill>
                  <a:effectLst/>
                  <a:uLnTx/>
                  <a:uFillTx/>
                  <a:latin typeface="Segoe UI Semilight"/>
                  <a:ea typeface="Segoe UI" pitchFamily="34" charset="0"/>
                  <a:cs typeface="Segoe UI" pitchFamily="34" charset="0"/>
                </a:rPr>
                <a:t>упр-ия</a:t>
              </a:r>
              <a:endPar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35" name="Rectangle 34"/>
            <p:cNvSpPr/>
            <p:nvPr/>
          </p:nvSpPr>
          <p:spPr bwMode="auto">
            <a:xfrm>
              <a:off x="579437" y="5676029"/>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Мониторинг и управление</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36" name="Group 35"/>
          <p:cNvGrpSpPr/>
          <p:nvPr/>
        </p:nvGrpSpPr>
        <p:grpSpPr>
          <a:xfrm>
            <a:off x="89681" y="1485408"/>
            <a:ext cx="11277600" cy="718364"/>
            <a:chOff x="579437" y="2505836"/>
            <a:chExt cx="11277600" cy="718364"/>
          </a:xfrm>
          <a:solidFill>
            <a:schemeClr val="tx2">
              <a:lumMod val="75000"/>
            </a:schemeClr>
          </a:solidFill>
        </p:grpSpPr>
        <p:sp>
          <p:nvSpPr>
            <p:cNvPr id="37" name="Rectangle 36"/>
            <p:cNvSpPr/>
            <p:nvPr/>
          </p:nvSpPr>
          <p:spPr bwMode="auto">
            <a:xfrm>
              <a:off x="579437" y="2506662"/>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38" name="Rectangle 37"/>
            <p:cNvSpPr/>
            <p:nvPr/>
          </p:nvSpPr>
          <p:spPr bwMode="auto">
            <a:xfrm>
              <a:off x="579438" y="2505836"/>
              <a:ext cx="3657600" cy="71836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9" name="Rectangle 38"/>
            <p:cNvSpPr/>
            <p:nvPr/>
          </p:nvSpPr>
          <p:spPr bwMode="auto">
            <a:xfrm>
              <a:off x="4423797" y="2528138"/>
              <a:ext cx="7204640"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Виртуальные машины + Облачные службы</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 + HPC + </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Виртуальные сети + </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DNS + </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Диспетчер трафика </a:t>
              </a:r>
              <a:endPar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sp>
          <p:nvSpPr>
            <p:cNvPr id="40" name="Rectangle 39"/>
            <p:cNvSpPr/>
            <p:nvPr/>
          </p:nvSpPr>
          <p:spPr bwMode="auto">
            <a:xfrm>
              <a:off x="579437" y="2535858"/>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Вычислительные</a:t>
              </a:r>
            </a:p>
            <a:p>
              <a:pPr marL="0" marR="0" lvl="0" indent="0" algn="l" defTabSz="932472" rtl="0" eaLnBrk="1" fontAlgn="base" latinLnBrk="0" hangingPunct="1">
                <a:lnSpc>
                  <a:spcPct val="90000"/>
                </a:lnSpc>
                <a:spcBef>
                  <a:spcPct val="0"/>
                </a:spcBef>
                <a:spcAft>
                  <a:spcPct val="0"/>
                </a:spcAft>
                <a:buClrTx/>
                <a:buSzTx/>
                <a:buFontTx/>
                <a:buNone/>
                <a:tabLst/>
                <a:defRPr/>
              </a:pP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Мощности</a:t>
              </a:r>
              <a:r>
                <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 </a:t>
              </a: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и сети</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grpSp>
        <p:nvGrpSpPr>
          <p:cNvPr id="41" name="Group 40"/>
          <p:cNvGrpSpPr/>
          <p:nvPr/>
        </p:nvGrpSpPr>
        <p:grpSpPr>
          <a:xfrm>
            <a:off x="72422" y="2244535"/>
            <a:ext cx="11277600" cy="718364"/>
            <a:chOff x="579437" y="2505836"/>
            <a:chExt cx="11277600" cy="718364"/>
          </a:xfrm>
          <a:solidFill>
            <a:schemeClr val="tx2">
              <a:lumMod val="75000"/>
            </a:schemeClr>
          </a:solidFill>
        </p:grpSpPr>
        <p:sp>
          <p:nvSpPr>
            <p:cNvPr id="42" name="Rectangle 41"/>
            <p:cNvSpPr/>
            <p:nvPr/>
          </p:nvSpPr>
          <p:spPr bwMode="auto">
            <a:xfrm>
              <a:off x="579437" y="2506662"/>
              <a:ext cx="11277600" cy="717538"/>
            </a:xfrm>
            <a:prstGeom prst="rect">
              <a:avLst/>
            </a:prstGeom>
            <a:grpFill/>
            <a:ln w="15875"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000" b="1" i="0" u="none" strike="noStrike" kern="0" cap="all" spc="0" normalizeH="0" baseline="0" noProof="0" dirty="0">
                <a:ln>
                  <a:noFill/>
                </a:ln>
                <a:solidFill>
                  <a:srgbClr val="00B0F0"/>
                </a:soli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43" name="Rectangle 42"/>
            <p:cNvSpPr/>
            <p:nvPr/>
          </p:nvSpPr>
          <p:spPr bwMode="auto">
            <a:xfrm>
              <a:off x="579438" y="2505836"/>
              <a:ext cx="3657600" cy="718364"/>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Rectangle 43"/>
            <p:cNvSpPr/>
            <p:nvPr/>
          </p:nvSpPr>
          <p:spPr bwMode="auto">
            <a:xfrm>
              <a:off x="4423797" y="2528138"/>
              <a:ext cx="7204640" cy="67458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Web Apps + </a:t>
              </a:r>
              <a:r>
                <a:rPr kumimoji="0" lang="ru-RU"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Мобильные службы + </a:t>
              </a:r>
              <a:r>
                <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rPr>
                <a:t>Media Services + CDN + Search</a:t>
              </a:r>
            </a:p>
          </p:txBody>
        </p:sp>
        <p:sp>
          <p:nvSpPr>
            <p:cNvPr id="45" name="Rectangle 44"/>
            <p:cNvSpPr/>
            <p:nvPr/>
          </p:nvSpPr>
          <p:spPr bwMode="auto">
            <a:xfrm>
              <a:off x="579437" y="2535858"/>
              <a:ext cx="3657600" cy="659147"/>
            </a:xfrm>
            <a:prstGeom prst="rect">
              <a:avLst/>
            </a:prstGeom>
            <a:grp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Web </a:t>
              </a:r>
              <a:r>
                <a:rPr kumimoji="0" lang="ru-RU"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rPr>
                <a:t>и мобильные сервисы</a:t>
              </a:r>
              <a:endParaRPr kumimoji="0" lang="en-US" sz="1800" b="1" i="0" u="none" strike="noStrike" kern="0" cap="all" spc="0" normalizeH="0" baseline="0" noProof="0" dirty="0">
                <a:ln>
                  <a:noFill/>
                </a:ln>
                <a:solidFill>
                  <a:srgbClr val="E7E6E6">
                    <a:lumMod val="40000"/>
                    <a:lumOff val="60000"/>
                  </a:srgbClr>
                </a:solidFill>
                <a:effectLst/>
                <a:uLnTx/>
                <a:uFillTx/>
                <a:latin typeface="Segoe UI Semibold" panose="020B0702040204020203" pitchFamily="34" charset="0"/>
                <a:ea typeface="Segoe UI" pitchFamily="34" charset="0"/>
                <a:cs typeface="Segoe UI Semibold" panose="020B0702040204020203" pitchFamily="34" charset="0"/>
              </a:endParaRPr>
            </a:p>
          </p:txBody>
        </p:sp>
      </p:grpSp>
      <p:sp>
        <p:nvSpPr>
          <p:cNvPr id="46" name="5-Point Star 45"/>
          <p:cNvSpPr/>
          <p:nvPr/>
        </p:nvSpPr>
        <p:spPr>
          <a:xfrm>
            <a:off x="11647692" y="6130614"/>
            <a:ext cx="483080" cy="468594"/>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
        <p:nvSpPr>
          <p:cNvPr id="47" name="Rectangle 46"/>
          <p:cNvSpPr/>
          <p:nvPr/>
        </p:nvSpPr>
        <p:spPr bwMode="auto">
          <a:xfrm>
            <a:off x="2894783" y="698493"/>
            <a:ext cx="1090818" cy="691707"/>
          </a:xfrm>
          <a:prstGeom prst="rect">
            <a:avLst/>
          </a:prstGeom>
          <a:solidFill>
            <a:schemeClr val="tx2">
              <a:lumMod val="75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90000"/>
              </a:lnSpc>
              <a:spcBef>
                <a:spcPct val="0"/>
              </a:spcBef>
              <a:spcAft>
                <a:spcPct val="0"/>
              </a:spcAft>
              <a:buClrTx/>
              <a:buSzTx/>
              <a:buFontTx/>
              <a:buNone/>
              <a:tabLst/>
              <a:defRPr/>
            </a:pPr>
            <a:r>
              <a:rPr kumimoji="0" lang="en-US" sz="2000" b="0" i="0" u="none" strike="noStrike" kern="0" cap="none" spc="0" normalizeH="0" baseline="0" noProof="0">
                <a:ln>
                  <a:noFill/>
                </a:ln>
                <a:solidFill>
                  <a:srgbClr val="FFFFFF"/>
                </a:solidFill>
                <a:effectLst/>
                <a:uLnTx/>
                <a:uFillTx/>
                <a:latin typeface="Segoe UI Semilight"/>
                <a:ea typeface="Segoe UI" pitchFamily="34" charset="0"/>
                <a:cs typeface="Segoe UI" pitchFamily="34" charset="0"/>
              </a:rPr>
              <a:t>Office</a:t>
            </a:r>
            <a:endParaRPr kumimoji="0" lang="en-US" sz="2000" b="0" i="0" u="none" strike="noStrike" kern="0" cap="none" spc="0" normalizeH="0" baseline="0" noProof="0" dirty="0">
              <a:ln>
                <a:noFill/>
              </a:ln>
              <a:solidFill>
                <a:srgbClr val="FFFFFF"/>
              </a:solidFill>
              <a:effectLst/>
              <a:uLnTx/>
              <a:uFillTx/>
              <a:latin typeface="Segoe UI Semilight"/>
              <a:ea typeface="Segoe UI" pitchFamily="34" charset="0"/>
              <a:cs typeface="Segoe UI" pitchFamily="34" charset="0"/>
            </a:endParaRPr>
          </a:p>
        </p:txBody>
      </p:sp>
      <p:pic>
        <p:nvPicPr>
          <p:cNvPr id="48" name="Picture 4"/>
          <p:cNvPicPr>
            <a:picLocks noChangeAspect="1" noChangeArrowheads="1"/>
          </p:cNvPicPr>
          <p:nvPr/>
        </p:nvPicPr>
        <p:blipFill>
          <a:blip r:embed="rId5" cstate="screen">
            <a:extLst>
              <a:ext uri="{28A0092B-C50C-407E-A947-70E740481C1C}">
                <a14:useLocalDpi xmlns:a14="http://schemas.microsoft.com/office/drawing/2010/main" val="0"/>
              </a:ext>
            </a:extLst>
          </a:blip>
          <a:stretch>
            <a:fillRect/>
          </a:stretch>
        </p:blipFill>
        <p:spPr bwMode="auto">
          <a:xfrm>
            <a:off x="7271885" y="939554"/>
            <a:ext cx="1257690" cy="263826"/>
          </a:xfrm>
          <a:prstGeom prst="rect">
            <a:avLst/>
          </a:prstGeom>
          <a:solidFill>
            <a:schemeClr val="tx2">
              <a:lumMod val="75000"/>
            </a:schemeClr>
          </a:solidFill>
          <a:extLst/>
        </p:spPr>
      </p:pic>
      <p:pic>
        <p:nvPicPr>
          <p:cNvPr id="49" name="Picture 3"/>
          <p:cNvPicPr>
            <a:picLocks noChangeAspect="1" noChangeArrowheads="1"/>
          </p:cNvPicPr>
          <p:nvPr/>
        </p:nvPicPr>
        <p:blipFill>
          <a:blip r:embed="rId6" cstate="screen">
            <a:extLst>
              <a:ext uri="{28A0092B-C50C-407E-A947-70E740481C1C}">
                <a14:useLocalDpi xmlns:a14="http://schemas.microsoft.com/office/drawing/2010/main" val="0"/>
              </a:ext>
            </a:extLst>
          </a:blip>
          <a:stretch>
            <a:fillRect/>
          </a:stretch>
        </p:blipFill>
        <p:spPr bwMode="auto">
          <a:xfrm>
            <a:off x="5567288" y="895148"/>
            <a:ext cx="1593330" cy="304130"/>
          </a:xfrm>
          <a:prstGeom prst="rect">
            <a:avLst/>
          </a:prstGeom>
          <a:solidFill>
            <a:schemeClr val="tx2">
              <a:lumMod val="75000"/>
            </a:schemeClr>
          </a:solidFill>
          <a:extLst/>
        </p:spPr>
      </p:pic>
      <p:pic>
        <p:nvPicPr>
          <p:cNvPr id="50" name="Picture 2"/>
          <p:cNvPicPr>
            <a:picLocks noChangeAspect="1" noChangeArrowheads="1"/>
          </p:cNvPicPr>
          <p:nvPr/>
        </p:nvPicPr>
        <p:blipFill>
          <a:blip r:embed="rId7" cstate="screen">
            <a:extLst>
              <a:ext uri="{28A0092B-C50C-407E-A947-70E740481C1C}">
                <a14:useLocalDpi xmlns:a14="http://schemas.microsoft.com/office/drawing/2010/main" val="0"/>
              </a:ext>
            </a:extLst>
          </a:blip>
          <a:stretch>
            <a:fillRect/>
          </a:stretch>
        </p:blipFill>
        <p:spPr bwMode="auto">
          <a:xfrm>
            <a:off x="9990157" y="850564"/>
            <a:ext cx="1346366" cy="452025"/>
          </a:xfrm>
          <a:prstGeom prst="rect">
            <a:avLst/>
          </a:prstGeom>
          <a:solidFill>
            <a:schemeClr val="tx2">
              <a:lumMod val="75000"/>
            </a:schemeClr>
          </a:solidFill>
          <a:extLst/>
        </p:spPr>
      </p:pic>
      <p:sp>
        <p:nvSpPr>
          <p:cNvPr id="51" name="Right Brace 50"/>
          <p:cNvSpPr/>
          <p:nvPr/>
        </p:nvSpPr>
        <p:spPr>
          <a:xfrm>
            <a:off x="11424846" y="1498095"/>
            <a:ext cx="357250" cy="4632519"/>
          </a:xfrm>
          <a:prstGeom prst="rightBrace">
            <a:avLst/>
          </a:prstGeom>
          <a:ln w="2540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1800" b="0" i="0" u="none" strike="noStrike" kern="1200" cap="none" spc="0" normalizeH="0" baseline="0" noProof="0">
              <a:ln>
                <a:noFill/>
              </a:ln>
              <a:solidFill>
                <a:srgbClr val="505050"/>
              </a:solidFill>
              <a:effectLst/>
              <a:uLnTx/>
              <a:uFillTx/>
              <a:latin typeface="Segoe UI"/>
              <a:ea typeface="+mn-ea"/>
              <a:cs typeface="+mn-cs"/>
            </a:endParaRPr>
          </a:p>
        </p:txBody>
      </p:sp>
      <p:sp>
        <p:nvSpPr>
          <p:cNvPr id="13" name="TextBox 12"/>
          <p:cNvSpPr txBox="1"/>
          <p:nvPr/>
        </p:nvSpPr>
        <p:spPr>
          <a:xfrm rot="5400000">
            <a:off x="10682958" y="3823923"/>
            <a:ext cx="2707011" cy="437990"/>
          </a:xfrm>
          <a:prstGeom prst="rect">
            <a:avLst/>
          </a:prstGeom>
        </p:spPr>
        <p:txBody>
          <a:bodyPr vert="horz" wrap="none" lIns="91440" tIns="91440" rIns="91440" bIns="91440" rtlCol="0" anchor="t">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Microsoft Azure</a:t>
            </a:r>
            <a:endParaRPr kumimoji="0" lang="ru-RU" sz="2800" b="1"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endParaRPr>
          </a:p>
        </p:txBody>
      </p:sp>
      <p:cxnSp>
        <p:nvCxnSpPr>
          <p:cNvPr id="53" name="Straight Connector 52"/>
          <p:cNvCxnSpPr/>
          <p:nvPr/>
        </p:nvCxnSpPr>
        <p:spPr>
          <a:xfrm>
            <a:off x="2950669" y="698493"/>
            <a:ext cx="1" cy="6120463"/>
          </a:xfrm>
          <a:prstGeom prst="line">
            <a:avLst/>
          </a:prstGeom>
          <a:ln w="50800">
            <a:solidFill>
              <a:schemeClr val="bg1"/>
            </a:solidFill>
          </a:ln>
        </p:spPr>
        <p:style>
          <a:lnRef idx="1">
            <a:schemeClr val="accent1"/>
          </a:lnRef>
          <a:fillRef idx="0">
            <a:schemeClr val="accent1"/>
          </a:fillRef>
          <a:effectRef idx="0">
            <a:schemeClr val="accent1"/>
          </a:effectRef>
          <a:fontRef idx="minor">
            <a:schemeClr val="tx1"/>
          </a:fontRef>
        </p:style>
      </p:cxnSp>
      <p:sp>
        <p:nvSpPr>
          <p:cNvPr id="54" name="5-Point Star 53"/>
          <p:cNvSpPr/>
          <p:nvPr/>
        </p:nvSpPr>
        <p:spPr>
          <a:xfrm>
            <a:off x="11535170" y="822247"/>
            <a:ext cx="483080" cy="468594"/>
          </a:xfrm>
          <a:prstGeom prst="star5">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u-RU" sz="1200" b="0" i="0" u="none" strike="noStrike" kern="1200" cap="none" spc="0" normalizeH="0" baseline="0" noProof="0" dirty="0" err="1">
              <a:ln>
                <a:noFill/>
              </a:ln>
              <a:solidFill>
                <a:prstClr val="white"/>
              </a:solidFill>
              <a:effectLst/>
              <a:uLnTx/>
              <a:uFillTx/>
              <a:latin typeface="Segoe UI"/>
              <a:ea typeface="+mn-ea"/>
              <a:cs typeface="+mn-cs"/>
            </a:endParaRPr>
          </a:p>
        </p:txBody>
      </p:sp>
    </p:spTree>
    <p:extLst>
      <p:ext uri="{BB962C8B-B14F-4D97-AF65-F5344CB8AC3E}">
        <p14:creationId xmlns:p14="http://schemas.microsoft.com/office/powerpoint/2010/main" val="2163415406"/>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3695" y="-37287"/>
            <a:ext cx="11655840" cy="1353994"/>
          </a:xfrm>
        </p:spPr>
        <p:txBody>
          <a:bodyPr/>
          <a:lstStyle/>
          <a:p>
            <a:r>
              <a:rPr lang="ru-RU" sz="4800" dirty="0"/>
              <a:t>Инициатива партнерских облаков в России (</a:t>
            </a:r>
            <a:r>
              <a:rPr lang="ru-RU" sz="4800" dirty="0" err="1"/>
              <a:t>Cloud</a:t>
            </a:r>
            <a:r>
              <a:rPr lang="ru-RU" sz="4800" dirty="0"/>
              <a:t> OS </a:t>
            </a:r>
            <a:r>
              <a:rPr lang="ru-RU" sz="4800" dirty="0" err="1"/>
              <a:t>Network</a:t>
            </a:r>
            <a:r>
              <a:rPr lang="ru-RU" sz="4800" dirty="0"/>
              <a:t> </a:t>
            </a:r>
            <a:r>
              <a:rPr lang="en-US" sz="4800" dirty="0"/>
              <a:t>Russia</a:t>
            </a:r>
            <a:r>
              <a:rPr lang="ru-RU" sz="4800" dirty="0"/>
              <a:t>)</a:t>
            </a:r>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48539" y="1767279"/>
            <a:ext cx="2886075" cy="1581150"/>
          </a:xfrm>
          <a:prstGeom prst="rect">
            <a:avLst/>
          </a:prstGeom>
        </p:spPr>
      </p:pic>
      <p:pic>
        <p:nvPicPr>
          <p:cNvPr id="4" name="Picture 3"/>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10405413" y="1894928"/>
            <a:ext cx="1520371" cy="1325853"/>
          </a:xfrm>
          <a:prstGeom prst="rect">
            <a:avLst/>
          </a:prstGeom>
        </p:spPr>
      </p:pic>
      <p:pic>
        <p:nvPicPr>
          <p:cNvPr id="5" name="Picture 4"/>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170223" y="3659072"/>
            <a:ext cx="2090056" cy="607925"/>
          </a:xfrm>
          <a:prstGeom prst="rect">
            <a:avLst/>
          </a:prstGeom>
        </p:spPr>
      </p:pic>
      <p:pic>
        <p:nvPicPr>
          <p:cNvPr id="6" name="Picture 5"/>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10634614" y="3251374"/>
            <a:ext cx="1546214" cy="1420667"/>
          </a:xfrm>
          <a:prstGeom prst="rect">
            <a:avLst/>
          </a:prstGeom>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46525" y="5926975"/>
            <a:ext cx="1773382" cy="343417"/>
          </a:xfrm>
          <a:prstGeom prst="rect">
            <a:avLst/>
          </a:prstGeom>
        </p:spPr>
      </p:pic>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137198" y="4826197"/>
            <a:ext cx="2246162" cy="650205"/>
          </a:xfrm>
          <a:prstGeom prst="rect">
            <a:avLst/>
          </a:prstGeom>
        </p:spPr>
      </p:pic>
      <p:pic>
        <p:nvPicPr>
          <p:cNvPr id="9" name="Picture 8"/>
          <p:cNvPicPr>
            <a:picLocks noChangeAspect="1"/>
          </p:cNvPicPr>
          <p:nvPr/>
        </p:nvPicPr>
        <p:blipFill rotWithShape="1">
          <a:blip r:embed="rId9" cstate="email">
            <a:extLst>
              <a:ext uri="{28A0092B-C50C-407E-A947-70E740481C1C}">
                <a14:useLocalDpi xmlns:a14="http://schemas.microsoft.com/office/drawing/2010/main" val="0"/>
              </a:ext>
            </a:extLst>
          </a:blip>
          <a:srcRect/>
          <a:stretch/>
        </p:blipFill>
        <p:spPr>
          <a:xfrm>
            <a:off x="8116939" y="6034072"/>
            <a:ext cx="1544323" cy="468107"/>
          </a:xfrm>
          <a:prstGeom prst="rect">
            <a:avLst/>
          </a:prstGeom>
        </p:spPr>
      </p:pic>
      <p:sp>
        <p:nvSpPr>
          <p:cNvPr id="10" name="Text Placeholder 1"/>
          <p:cNvSpPr txBox="1">
            <a:spLocks/>
          </p:cNvSpPr>
          <p:nvPr/>
        </p:nvSpPr>
        <p:spPr>
          <a:xfrm>
            <a:off x="114299" y="1316707"/>
            <a:ext cx="8055923" cy="5541294"/>
          </a:xfrm>
          <a:prstGeom prst="rect">
            <a:avLst/>
          </a:prstGeom>
        </p:spPr>
        <p:txBody>
          <a:bodyPr>
            <a:normAutofit fontScale="55000" lnSpcReduction="20000"/>
          </a:bodyPr>
          <a:lstStyle>
            <a:lvl1pPr marL="336145" marR="0" indent="-336145"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1961"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336145" marR="0" lvl="0" indent="-336145" algn="l" defTabSz="914367" rtl="0" eaLnBrk="1" fontAlgn="auto" latinLnBrk="0" hangingPunct="1">
              <a:lnSpc>
                <a:spcPct val="90000"/>
              </a:lnSpc>
              <a:spcBef>
                <a:spcPct val="20000"/>
              </a:spcBef>
              <a:spcAft>
                <a:spcPts val="0"/>
              </a:spcAft>
              <a:buClr>
                <a:srgbClr val="505050"/>
              </a:buClr>
              <a:buSzPct val="90000"/>
              <a:buFont typeface="Wingdings" panose="05000000000000000000" pitchFamily="2" charset="2"/>
              <a:buChar char="§"/>
              <a:tabLst/>
              <a:defRPr/>
            </a:pPr>
            <a:r>
              <a:rPr kumimoji="0" lang="ru-RU" sz="4000" b="0" i="0" u="none" strike="noStrike" kern="1200" cap="none" spc="0" normalizeH="0" baseline="0" noProof="0" dirty="0">
                <a:ln>
                  <a:noFill/>
                </a:ln>
                <a:solidFill>
                  <a:srgbClr val="1B5CA9"/>
                </a:solidFill>
                <a:effectLst/>
                <a:uLnTx/>
                <a:uFillTx/>
                <a:latin typeface="Segoe UI"/>
                <a:ea typeface="+mn-ea"/>
                <a:cs typeface="+mn-cs"/>
              </a:rPr>
              <a:t>Использование облачных сервисов из дата-центров партнеров, расположенных на территории РФ, имеет преимущества при следующих сценариях использования:</a:t>
            </a:r>
          </a:p>
          <a:p>
            <a:pPr marL="572691" marR="0" lvl="1" indent="-236546" algn="l" defTabSz="914367" rtl="0" eaLnBrk="1" fontAlgn="auto" latinLnBrk="0" hangingPunct="1">
              <a:lnSpc>
                <a:spcPct val="90000"/>
              </a:lnSpc>
              <a:spcBef>
                <a:spcPct val="20000"/>
              </a:spcBef>
              <a:spcAft>
                <a:spcPts val="0"/>
              </a:spcAft>
              <a:buClr>
                <a:srgbClr val="505050"/>
              </a:buClr>
              <a:buSzPct val="90000"/>
              <a:buFont typeface="Wingdings" panose="05000000000000000000" pitchFamily="2" charset="2"/>
              <a:buChar char="§"/>
              <a:tabLst/>
              <a:defRPr/>
            </a:pPr>
            <a:r>
              <a:rPr kumimoji="0" lang="ru-RU" sz="2353"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если заказчик использует облачные сервисы для обработки и хранения персональных данных </a:t>
            </a:r>
          </a:p>
          <a:p>
            <a:pPr marL="572691" marR="0" lvl="1" indent="-236546" algn="l" defTabSz="914367" rtl="0" eaLnBrk="1" fontAlgn="auto" latinLnBrk="0" hangingPunct="1">
              <a:lnSpc>
                <a:spcPct val="90000"/>
              </a:lnSpc>
              <a:spcBef>
                <a:spcPct val="20000"/>
              </a:spcBef>
              <a:spcAft>
                <a:spcPts val="0"/>
              </a:spcAft>
              <a:buClr>
                <a:srgbClr val="505050"/>
              </a:buClr>
              <a:buSzPct val="90000"/>
              <a:buFont typeface="Wingdings" panose="05000000000000000000" pitchFamily="2" charset="2"/>
              <a:buChar char="§"/>
              <a:tabLst/>
              <a:defRPr/>
            </a:pPr>
            <a:r>
              <a:rPr kumimoji="0" lang="ru-RU" sz="2353"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если заказчику необходимы </a:t>
            </a:r>
            <a:r>
              <a:rPr kumimoji="0" lang="ru-RU" sz="2353" b="0" i="0" u="none" strike="noStrike" kern="1200" cap="none" spc="0" normalizeH="0" baseline="0" noProof="0" dirty="0" err="1">
                <a:ln>
                  <a:noFill/>
                </a:ln>
                <a:gradFill>
                  <a:gsLst>
                    <a:gs pos="1250">
                      <a:srgbClr val="505050"/>
                    </a:gs>
                    <a:gs pos="100000">
                      <a:srgbClr val="505050"/>
                    </a:gs>
                  </a:gsLst>
                  <a:lin ang="5400000" scaled="0"/>
                </a:gradFill>
                <a:effectLst/>
                <a:uLnTx/>
                <a:uFillTx/>
                <a:latin typeface="Segoe UI"/>
                <a:ea typeface="+mn-ea"/>
                <a:cs typeface="+mn-cs"/>
              </a:rPr>
              <a:t>кастомизированные</a:t>
            </a:r>
            <a:r>
              <a:rPr kumimoji="0" lang="ru-RU" sz="2353"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 сервисы, разработанные с учетом специфики российских рыночных реалий   </a:t>
            </a:r>
          </a:p>
          <a:p>
            <a:pPr marL="572691" marR="0" lvl="1" indent="-236546" algn="l" defTabSz="914367" rtl="0" eaLnBrk="1" fontAlgn="auto" latinLnBrk="0" hangingPunct="1">
              <a:lnSpc>
                <a:spcPct val="90000"/>
              </a:lnSpc>
              <a:spcBef>
                <a:spcPct val="20000"/>
              </a:spcBef>
              <a:spcAft>
                <a:spcPts val="0"/>
              </a:spcAft>
              <a:buClr>
                <a:srgbClr val="505050"/>
              </a:buClr>
              <a:buSzPct val="90000"/>
              <a:buFont typeface="Wingdings" panose="05000000000000000000" pitchFamily="2" charset="2"/>
              <a:buChar char="§"/>
              <a:tabLst/>
              <a:defRPr/>
            </a:pPr>
            <a:r>
              <a:rPr kumimoji="0" lang="ru-RU" sz="2353"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rPr>
              <a:t>если заказчик хочет также арендовать выделенную часть машинного зала ЦОД со специальными процедурами доступа/защитой </a:t>
            </a:r>
          </a:p>
          <a:p>
            <a:pPr marL="336145" marR="0" lvl="0" indent="-336145" algn="l" defTabSz="914367" rtl="0" eaLnBrk="1" fontAlgn="auto" latinLnBrk="0" hangingPunct="1">
              <a:lnSpc>
                <a:spcPct val="90000"/>
              </a:lnSpc>
              <a:spcBef>
                <a:spcPct val="20000"/>
              </a:spcBef>
              <a:spcAft>
                <a:spcPts val="0"/>
              </a:spcAft>
              <a:buClr>
                <a:srgbClr val="505050"/>
              </a:buClr>
              <a:buSzPct val="90000"/>
              <a:buFont typeface="Wingdings" panose="05000000000000000000" pitchFamily="2" charset="2"/>
              <a:buChar char="§"/>
              <a:tabLst/>
              <a:defRPr/>
            </a:pPr>
            <a:r>
              <a:rPr kumimoji="0" lang="en-US" sz="4368" b="0" i="0" u="none" strike="noStrike" kern="1200" cap="none" spc="0" normalizeH="0" baseline="0" noProof="0" dirty="0" err="1">
                <a:ln>
                  <a:noFill/>
                </a:ln>
                <a:solidFill>
                  <a:srgbClr val="1B5CA9"/>
                </a:solidFill>
                <a:effectLst/>
                <a:uLnTx/>
                <a:uFillTx/>
                <a:latin typeface="Segoe UI"/>
                <a:ea typeface="+mn-ea"/>
                <a:cs typeface="+mn-cs"/>
              </a:rPr>
              <a:t>IaaS</a:t>
            </a:r>
            <a:r>
              <a:rPr kumimoji="0" lang="en-US" sz="4368" b="0" i="0" u="none" strike="noStrike" kern="1200" cap="none" spc="0" normalizeH="0" baseline="0" noProof="0" dirty="0">
                <a:ln>
                  <a:noFill/>
                </a:ln>
                <a:solidFill>
                  <a:srgbClr val="1B5CA9"/>
                </a:solidFill>
                <a:effectLst/>
                <a:uLnTx/>
                <a:uFillTx/>
                <a:latin typeface="Segoe UI"/>
                <a:ea typeface="+mn-ea"/>
                <a:cs typeface="+mn-cs"/>
              </a:rPr>
              <a:t>-</a:t>
            </a:r>
            <a:r>
              <a:rPr kumimoji="0" lang="ru-RU" sz="4368" b="0" i="0" u="none" strike="noStrike" kern="1200" cap="none" spc="0" normalizeH="0" baseline="0" noProof="0" dirty="0">
                <a:ln>
                  <a:noFill/>
                </a:ln>
                <a:solidFill>
                  <a:srgbClr val="1B5CA9"/>
                </a:solidFill>
                <a:effectLst/>
                <a:uLnTx/>
                <a:uFillTx/>
                <a:latin typeface="Segoe UI"/>
                <a:ea typeface="+mn-ea"/>
                <a:cs typeface="+mn-cs"/>
              </a:rPr>
              <a:t>сервисы</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Виртуальные машины на базе </a:t>
            </a:r>
            <a:r>
              <a:rPr kumimoji="0" lang="en-US" sz="2400" b="0" i="0" u="none" strike="noStrike" kern="1200" cap="none" spc="0" normalizeH="0" baseline="0" noProof="0" dirty="0">
                <a:ln>
                  <a:noFill/>
                </a:ln>
                <a:solidFill>
                  <a:srgbClr val="616161"/>
                </a:solidFill>
                <a:effectLst/>
                <a:uLnTx/>
                <a:uFillTx/>
                <a:latin typeface="Segoe UI"/>
                <a:ea typeface="+mn-ea"/>
                <a:cs typeface="+mn-cs"/>
              </a:rPr>
              <a:t>Hyper-V 2012 R2 (Windows/Linux)</a:t>
            </a:r>
            <a:endParaRPr kumimoji="0" lang="ru-RU" sz="2400" b="0" i="0" u="none" strike="noStrike" kern="1200" cap="none" spc="0" normalizeH="0" baseline="0" noProof="0" dirty="0">
              <a:ln>
                <a:noFill/>
              </a:ln>
              <a:solidFill>
                <a:srgbClr val="616161"/>
              </a:solidFill>
              <a:effectLst/>
              <a:uLnTx/>
              <a:uFillTx/>
              <a:latin typeface="Segoe UI"/>
              <a:ea typeface="+mn-ea"/>
              <a:cs typeface="+mn-cs"/>
            </a:endParaRP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Виртуальные сети</a:t>
            </a:r>
            <a:r>
              <a:rPr kumimoji="0" lang="en-US" sz="2400" b="0" i="0" u="none" strike="noStrike" kern="1200" cap="none" spc="0" normalizeH="0" baseline="0" noProof="0" dirty="0">
                <a:ln>
                  <a:noFill/>
                </a:ln>
                <a:solidFill>
                  <a:srgbClr val="616161"/>
                </a:solidFill>
                <a:effectLst/>
                <a:uLnTx/>
                <a:uFillTx/>
                <a:latin typeface="Segoe UI"/>
                <a:ea typeface="+mn-ea"/>
                <a:cs typeface="+mn-cs"/>
              </a:rPr>
              <a:t>, site-to-site VPN</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Шаблоны виртуальных машин (</a:t>
            </a:r>
            <a:r>
              <a:rPr kumimoji="0" lang="en-US" sz="2400" b="0" i="0" u="none" strike="noStrike" kern="1200" cap="none" spc="0" normalizeH="0" baseline="0" noProof="0" dirty="0">
                <a:ln>
                  <a:noFill/>
                </a:ln>
                <a:solidFill>
                  <a:srgbClr val="616161"/>
                </a:solidFill>
                <a:effectLst/>
                <a:uLnTx/>
                <a:uFillTx/>
                <a:latin typeface="Segoe UI"/>
                <a:ea typeface="+mn-ea"/>
                <a:cs typeface="+mn-cs"/>
              </a:rPr>
              <a:t>VM Roles</a:t>
            </a:r>
            <a:r>
              <a:rPr kumimoji="0" lang="ru-RU" sz="2400" b="0" i="0" u="none" strike="noStrike" kern="1200" cap="none" spc="0" normalizeH="0" baseline="0" noProof="0" dirty="0">
                <a:ln>
                  <a:noFill/>
                </a:ln>
                <a:solidFill>
                  <a:srgbClr val="616161"/>
                </a:solidFill>
                <a:effectLst/>
                <a:uLnTx/>
                <a:uFillTx/>
                <a:latin typeface="Segoe UI"/>
                <a:ea typeface="+mn-ea"/>
                <a:cs typeface="+mn-cs"/>
              </a:rPr>
              <a:t>)</a:t>
            </a: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en-US" sz="4400" b="0" i="0" u="none" strike="noStrike" kern="1200" cap="none" spc="0" normalizeH="0" baseline="0" noProof="0" dirty="0" err="1">
                <a:ln>
                  <a:noFill/>
                </a:ln>
                <a:solidFill>
                  <a:srgbClr val="1B5CA9"/>
                </a:solidFill>
                <a:effectLst/>
                <a:uLnTx/>
                <a:uFillTx/>
                <a:latin typeface="Segoe UI"/>
                <a:ea typeface="+mn-ea"/>
                <a:cs typeface="+mn-cs"/>
              </a:rPr>
              <a:t>PaaS</a:t>
            </a:r>
            <a:r>
              <a:rPr kumimoji="0" lang="en-US" sz="4400" b="0" i="0" u="none" strike="noStrike" kern="1200" cap="none" spc="0" normalizeH="0" baseline="0" noProof="0" dirty="0">
                <a:ln>
                  <a:noFill/>
                </a:ln>
                <a:solidFill>
                  <a:srgbClr val="1B5CA9"/>
                </a:solidFill>
                <a:effectLst/>
                <a:uLnTx/>
                <a:uFillTx/>
                <a:latin typeface="Segoe UI"/>
                <a:ea typeface="+mn-ea"/>
                <a:cs typeface="+mn-cs"/>
              </a:rPr>
              <a:t>-</a:t>
            </a:r>
            <a:r>
              <a:rPr kumimoji="0" lang="ru-RU" sz="4400" b="0" i="0" u="none" strike="noStrike" kern="1200" cap="none" spc="0" normalizeH="0" baseline="0" noProof="0" dirty="0">
                <a:ln>
                  <a:noFill/>
                </a:ln>
                <a:solidFill>
                  <a:srgbClr val="1B5CA9"/>
                </a:solidFill>
                <a:effectLst/>
                <a:uLnTx/>
                <a:uFillTx/>
                <a:latin typeface="Segoe UI"/>
                <a:ea typeface="+mn-ea"/>
                <a:cs typeface="+mn-cs"/>
              </a:rPr>
              <a:t>сервисы</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Веб-сайты</a:t>
            </a:r>
            <a:r>
              <a:rPr kumimoji="0" lang="en-US" sz="2400" b="0" i="0" u="none" strike="noStrike" kern="1200" cap="none" spc="0" normalizeH="0" baseline="0" noProof="0" dirty="0">
                <a:ln>
                  <a:noFill/>
                </a:ln>
                <a:solidFill>
                  <a:srgbClr val="616161"/>
                </a:solidFill>
                <a:effectLst/>
                <a:uLnTx/>
                <a:uFillTx/>
                <a:latin typeface="Segoe UI"/>
                <a:ea typeface="+mn-ea"/>
                <a:cs typeface="+mn-cs"/>
              </a:rPr>
              <a:t>, SQL Server as a Service, MySQL as a Service</a:t>
            </a:r>
            <a:endParaRPr kumimoji="0" lang="ru-RU" sz="3968" b="0" i="0" u="none" strike="noStrike" kern="1200" cap="none" spc="0" normalizeH="0" baseline="0" noProof="0" dirty="0">
              <a:ln>
                <a:noFill/>
              </a:ln>
              <a:solidFill>
                <a:srgbClr val="616161"/>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ru-RU" sz="4400" b="0" i="0" u="none" strike="noStrike" kern="1200" cap="none" spc="0" normalizeH="0" baseline="0" noProof="0" dirty="0">
                <a:ln>
                  <a:noFill/>
                </a:ln>
                <a:solidFill>
                  <a:srgbClr val="1B5CA9"/>
                </a:solidFill>
                <a:effectLst/>
                <a:uLnTx/>
                <a:uFillTx/>
                <a:latin typeface="Segoe UI"/>
                <a:ea typeface="+mn-ea"/>
                <a:cs typeface="+mn-cs"/>
              </a:rPr>
              <a:t>Решения для продуктивной работы</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Набор сервисов для коллективной работы, включающий:</a:t>
            </a:r>
          </a:p>
          <a:p>
            <a:pPr marL="897447" marR="0" lvl="2"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err="1">
                <a:ln>
                  <a:noFill/>
                </a:ln>
                <a:solidFill>
                  <a:srgbClr val="616161"/>
                </a:solidFill>
                <a:effectLst/>
                <a:uLnTx/>
                <a:uFillTx/>
                <a:latin typeface="Segoe UI"/>
                <a:ea typeface="+mn-ea"/>
                <a:cs typeface="+mn-cs"/>
              </a:rPr>
              <a:t>Hosted</a:t>
            </a:r>
            <a:r>
              <a:rPr kumimoji="0" lang="ru-RU" sz="2400" b="0" i="0" u="none" strike="noStrike" kern="1200" cap="none" spc="0" normalizeH="0" baseline="0" noProof="0" dirty="0">
                <a:ln>
                  <a:noFill/>
                </a:ln>
                <a:solidFill>
                  <a:srgbClr val="616161"/>
                </a:solidFill>
                <a:effectLst/>
                <a:uLnTx/>
                <a:uFillTx/>
                <a:latin typeface="Segoe UI"/>
                <a:ea typeface="+mn-ea"/>
                <a:cs typeface="+mn-cs"/>
              </a:rPr>
              <a:t> </a:t>
            </a:r>
            <a:r>
              <a:rPr kumimoji="0" lang="ru-RU" sz="2400" b="0" i="0" u="none" strike="noStrike" kern="1200" cap="none" spc="0" normalizeH="0" baseline="0" noProof="0" dirty="0" err="1">
                <a:ln>
                  <a:noFill/>
                </a:ln>
                <a:solidFill>
                  <a:srgbClr val="616161"/>
                </a:solidFill>
                <a:effectLst/>
                <a:uLnTx/>
                <a:uFillTx/>
                <a:latin typeface="Segoe UI"/>
                <a:ea typeface="+mn-ea"/>
                <a:cs typeface="+mn-cs"/>
              </a:rPr>
              <a:t>Exchange</a:t>
            </a:r>
            <a:r>
              <a:rPr kumimoji="0" lang="ru-RU" sz="2400" b="0" i="0" u="none" strike="noStrike" kern="1200" cap="none" spc="0" normalizeH="0" baseline="0" noProof="0" dirty="0">
                <a:ln>
                  <a:noFill/>
                </a:ln>
                <a:solidFill>
                  <a:srgbClr val="616161"/>
                </a:solidFill>
                <a:effectLst/>
                <a:uLnTx/>
                <a:uFillTx/>
                <a:latin typeface="Segoe UI"/>
                <a:ea typeface="+mn-ea"/>
                <a:cs typeface="+mn-cs"/>
              </a:rPr>
              <a:t> 2013</a:t>
            </a:r>
          </a:p>
          <a:p>
            <a:pPr marL="897447" marR="0" lvl="2"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err="1">
                <a:ln>
                  <a:noFill/>
                </a:ln>
                <a:solidFill>
                  <a:srgbClr val="616161"/>
                </a:solidFill>
                <a:effectLst/>
                <a:uLnTx/>
                <a:uFillTx/>
                <a:latin typeface="Segoe UI"/>
                <a:ea typeface="+mn-ea"/>
                <a:cs typeface="+mn-cs"/>
              </a:rPr>
              <a:t>Hosted</a:t>
            </a:r>
            <a:r>
              <a:rPr kumimoji="0" lang="ru-RU" sz="2400" b="0" i="0" u="none" strike="noStrike" kern="1200" cap="none" spc="0" normalizeH="0" baseline="0" noProof="0" dirty="0">
                <a:ln>
                  <a:noFill/>
                </a:ln>
                <a:solidFill>
                  <a:srgbClr val="616161"/>
                </a:solidFill>
                <a:effectLst/>
                <a:uLnTx/>
                <a:uFillTx/>
                <a:latin typeface="Segoe UI"/>
                <a:ea typeface="+mn-ea"/>
                <a:cs typeface="+mn-cs"/>
              </a:rPr>
              <a:t> </a:t>
            </a:r>
            <a:r>
              <a:rPr kumimoji="0" lang="ru-RU" sz="2400" b="0" i="0" u="none" strike="noStrike" kern="1200" cap="none" spc="0" normalizeH="0" baseline="0" noProof="0" dirty="0" err="1">
                <a:ln>
                  <a:noFill/>
                </a:ln>
                <a:solidFill>
                  <a:srgbClr val="616161"/>
                </a:solidFill>
                <a:effectLst/>
                <a:uLnTx/>
                <a:uFillTx/>
                <a:latin typeface="Segoe UI"/>
                <a:ea typeface="+mn-ea"/>
                <a:cs typeface="+mn-cs"/>
              </a:rPr>
              <a:t>Lync</a:t>
            </a:r>
            <a:r>
              <a:rPr kumimoji="0" lang="ru-RU" sz="2400" b="0" i="0" u="none" strike="noStrike" kern="1200" cap="none" spc="0" normalizeH="0" baseline="0" noProof="0" dirty="0">
                <a:ln>
                  <a:noFill/>
                </a:ln>
                <a:solidFill>
                  <a:srgbClr val="616161"/>
                </a:solidFill>
                <a:effectLst/>
                <a:uLnTx/>
                <a:uFillTx/>
                <a:latin typeface="Segoe UI"/>
                <a:ea typeface="+mn-ea"/>
                <a:cs typeface="+mn-cs"/>
              </a:rPr>
              <a:t> 2013</a:t>
            </a:r>
          </a:p>
          <a:p>
            <a:pPr marL="897447" marR="0" lvl="2"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err="1">
                <a:ln>
                  <a:noFill/>
                </a:ln>
                <a:solidFill>
                  <a:srgbClr val="616161"/>
                </a:solidFill>
                <a:effectLst/>
                <a:uLnTx/>
                <a:uFillTx/>
                <a:latin typeface="Segoe UI"/>
                <a:ea typeface="+mn-ea"/>
                <a:cs typeface="+mn-cs"/>
              </a:rPr>
              <a:t>Hosted</a:t>
            </a:r>
            <a:r>
              <a:rPr kumimoji="0" lang="ru-RU" sz="2400" b="0" i="0" u="none" strike="noStrike" kern="1200" cap="none" spc="0" normalizeH="0" baseline="0" noProof="0" dirty="0">
                <a:ln>
                  <a:noFill/>
                </a:ln>
                <a:solidFill>
                  <a:srgbClr val="616161"/>
                </a:solidFill>
                <a:effectLst/>
                <a:uLnTx/>
                <a:uFillTx/>
                <a:latin typeface="Segoe UI"/>
                <a:ea typeface="+mn-ea"/>
                <a:cs typeface="+mn-cs"/>
              </a:rPr>
              <a:t> </a:t>
            </a:r>
            <a:r>
              <a:rPr kumimoji="0" lang="ru-RU" sz="2400" b="0" i="0" u="none" strike="noStrike" kern="1200" cap="none" spc="0" normalizeH="0" baseline="0" noProof="0" dirty="0" err="1">
                <a:ln>
                  <a:noFill/>
                </a:ln>
                <a:solidFill>
                  <a:srgbClr val="616161"/>
                </a:solidFill>
                <a:effectLst/>
                <a:uLnTx/>
                <a:uFillTx/>
                <a:latin typeface="Segoe UI"/>
                <a:ea typeface="+mn-ea"/>
                <a:cs typeface="+mn-cs"/>
              </a:rPr>
              <a:t>SharePoint</a:t>
            </a:r>
            <a:r>
              <a:rPr kumimoji="0" lang="ru-RU" sz="2400" b="0" i="0" u="none" strike="noStrike" kern="1200" cap="none" spc="0" normalizeH="0" baseline="0" noProof="0" dirty="0">
                <a:ln>
                  <a:noFill/>
                </a:ln>
                <a:solidFill>
                  <a:srgbClr val="616161"/>
                </a:solidFill>
                <a:effectLst/>
                <a:uLnTx/>
                <a:uFillTx/>
                <a:latin typeface="Segoe UI"/>
                <a:ea typeface="+mn-ea"/>
                <a:cs typeface="+mn-cs"/>
              </a:rPr>
              <a:t> 2013</a:t>
            </a:r>
          </a:p>
          <a:p>
            <a:pPr marL="897447" marR="0" lvl="2"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Средства для управления</a:t>
            </a:r>
          </a:p>
          <a:p>
            <a:pPr marL="685800" marR="0" lvl="1" indent="-228600" algn="l" defTabSz="914400" rtl="0" eaLnBrk="1" fontAlgn="auto" latinLnBrk="0" hangingPunct="1">
              <a:lnSpc>
                <a:spcPct val="90000"/>
              </a:lnSpc>
              <a:spcBef>
                <a:spcPts val="500"/>
              </a:spcBef>
              <a:spcAft>
                <a:spcPts val="0"/>
              </a:spcAft>
              <a:buClrTx/>
              <a:buSzTx/>
              <a:buFont typeface="Wingdings" panose="05000000000000000000" pitchFamily="2" charset="2"/>
              <a:buChar char="§"/>
              <a:tabLst/>
              <a:defRPr/>
            </a:pPr>
            <a:r>
              <a:rPr kumimoji="0" lang="ru-RU" sz="2400" b="0" i="0" u="none" strike="noStrike" kern="1200" cap="none" spc="0" normalizeH="0" baseline="0" noProof="0" dirty="0">
                <a:ln>
                  <a:noFill/>
                </a:ln>
                <a:solidFill>
                  <a:srgbClr val="616161"/>
                </a:solidFill>
                <a:effectLst/>
                <a:uLnTx/>
                <a:uFillTx/>
                <a:latin typeface="Segoe UI"/>
                <a:ea typeface="+mn-ea"/>
                <a:cs typeface="+mn-cs"/>
              </a:rPr>
              <a:t>Внедрение согласно всем рекомендациям </a:t>
            </a:r>
            <a:r>
              <a:rPr kumimoji="0" lang="ru-RU" sz="2400" b="0" i="0" u="none" strike="noStrike" kern="1200" cap="none" spc="0" normalizeH="0" baseline="0" noProof="0" dirty="0" err="1">
                <a:ln>
                  <a:noFill/>
                </a:ln>
                <a:solidFill>
                  <a:srgbClr val="616161"/>
                </a:solidFill>
                <a:effectLst/>
                <a:uLnTx/>
                <a:uFillTx/>
                <a:latin typeface="Segoe UI"/>
                <a:ea typeface="+mn-ea"/>
                <a:cs typeface="+mn-cs"/>
              </a:rPr>
              <a:t>Microsoft</a:t>
            </a:r>
            <a:r>
              <a:rPr kumimoji="0" lang="ru-RU" sz="2400" b="0" i="0" u="none" strike="noStrike" kern="1200" cap="none" spc="0" normalizeH="0" baseline="0" noProof="0" dirty="0">
                <a:ln>
                  <a:noFill/>
                </a:ln>
                <a:solidFill>
                  <a:srgbClr val="616161"/>
                </a:solidFill>
                <a:effectLst/>
                <a:uLnTx/>
                <a:uFillTx/>
                <a:latin typeface="Segoe UI"/>
                <a:ea typeface="+mn-ea"/>
                <a:cs typeface="+mn-cs"/>
              </a:rPr>
              <a:t> (</a:t>
            </a:r>
            <a:r>
              <a:rPr kumimoji="0" lang="ru-RU" sz="2400" b="0" i="0" u="none" strike="noStrike" kern="1200" cap="none" spc="0" normalizeH="0" baseline="0" noProof="0" dirty="0" err="1">
                <a:ln>
                  <a:noFill/>
                </a:ln>
                <a:solidFill>
                  <a:srgbClr val="616161"/>
                </a:solidFill>
                <a:effectLst/>
                <a:uLnTx/>
                <a:uFillTx/>
                <a:latin typeface="Segoe UI"/>
                <a:ea typeface="+mn-ea"/>
                <a:cs typeface="+mn-cs"/>
              </a:rPr>
              <a:t>референсная</a:t>
            </a:r>
            <a:r>
              <a:rPr kumimoji="0" lang="ru-RU" sz="2400" b="0" i="0" u="none" strike="noStrike" kern="1200" cap="none" spc="0" normalizeH="0" baseline="0" noProof="0" dirty="0">
                <a:ln>
                  <a:noFill/>
                </a:ln>
                <a:solidFill>
                  <a:srgbClr val="616161"/>
                </a:solidFill>
                <a:effectLst/>
                <a:uLnTx/>
                <a:uFillTx/>
                <a:latin typeface="Segoe UI"/>
                <a:ea typeface="+mn-ea"/>
                <a:cs typeface="+mn-cs"/>
              </a:rPr>
              <a:t> архитектура)</a:t>
            </a:r>
            <a:endParaRPr kumimoji="0" lang="en-US" sz="2400" b="0" i="0" u="none" strike="noStrike" kern="1200" cap="none" spc="0" normalizeH="0" baseline="0" noProof="0" dirty="0">
              <a:ln>
                <a:noFill/>
              </a:ln>
              <a:solidFill>
                <a:srgbClr val="616161"/>
              </a:solidFill>
              <a:effectLst/>
              <a:uLnTx/>
              <a:uFillTx/>
              <a:latin typeface="Segoe UI"/>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Wingdings" panose="05000000000000000000" pitchFamily="2" charset="2"/>
              <a:buChar char="§"/>
              <a:tabLst/>
              <a:defRPr/>
            </a:pPr>
            <a:r>
              <a:rPr kumimoji="0" lang="ru-RU" sz="4400" b="0" i="0" u="none" strike="noStrike" kern="1200" cap="none" spc="0" normalizeH="0" baseline="0" noProof="0" dirty="0">
                <a:ln>
                  <a:noFill/>
                </a:ln>
                <a:solidFill>
                  <a:srgbClr val="1B5CA9"/>
                </a:solidFill>
                <a:effectLst/>
                <a:uLnTx/>
                <a:uFillTx/>
                <a:latin typeface="Segoe UI"/>
                <a:ea typeface="+mn-ea"/>
                <a:cs typeface="+mn-cs"/>
              </a:rPr>
              <a:t>Решение </a:t>
            </a:r>
            <a:r>
              <a:rPr kumimoji="0" lang="en-US" sz="4400" b="0" i="0" u="none" strike="noStrike" kern="1200" cap="none" spc="0" normalizeH="0" baseline="0" noProof="0" dirty="0">
                <a:ln>
                  <a:noFill/>
                </a:ln>
                <a:solidFill>
                  <a:srgbClr val="1B5CA9"/>
                </a:solidFill>
                <a:effectLst/>
                <a:uLnTx/>
                <a:uFillTx/>
                <a:latin typeface="Segoe UI"/>
                <a:ea typeface="+mn-ea"/>
                <a:cs typeface="+mn-cs"/>
              </a:rPr>
              <a:t>Hosted Dynamics CRM 2015 </a:t>
            </a:r>
            <a:r>
              <a:rPr kumimoji="0" lang="ru-RU" sz="4400" b="0" i="0" u="none" strike="noStrike" kern="1200" cap="none" spc="0" normalizeH="0" baseline="0" noProof="0" dirty="0">
                <a:ln>
                  <a:noFill/>
                </a:ln>
                <a:solidFill>
                  <a:srgbClr val="1B5CA9"/>
                </a:solidFill>
                <a:effectLst/>
                <a:uLnTx/>
                <a:uFillTx/>
                <a:latin typeface="Segoe UI"/>
                <a:ea typeface="+mn-ea"/>
                <a:cs typeface="+mn-cs"/>
              </a:rPr>
              <a:t>в российском облаке</a:t>
            </a:r>
            <a:endParaRPr kumimoji="0" lang="en-US" sz="4400" b="0" i="0" u="none" strike="noStrike" kern="1200" cap="none" spc="0" normalizeH="0" baseline="0" noProof="0" dirty="0">
              <a:ln>
                <a:noFill/>
              </a:ln>
              <a:solidFill>
                <a:srgbClr val="1B5CA9"/>
              </a:solidFill>
              <a:effectLst/>
              <a:uLnTx/>
              <a:uFillTx/>
              <a:latin typeface="Segoe UI"/>
              <a:ea typeface="+mn-ea"/>
              <a:cs typeface="+mn-cs"/>
            </a:endParaRPr>
          </a:p>
          <a:p>
            <a:pPr marL="572691" marR="0" lvl="1" indent="-236546" algn="l" defTabSz="914367" rtl="0" eaLnBrk="1" fontAlgn="auto" latinLnBrk="0" hangingPunct="1">
              <a:lnSpc>
                <a:spcPct val="90000"/>
              </a:lnSpc>
              <a:spcBef>
                <a:spcPct val="20000"/>
              </a:spcBef>
              <a:spcAft>
                <a:spcPts val="0"/>
              </a:spcAft>
              <a:buClr>
                <a:srgbClr val="505050"/>
              </a:buClr>
              <a:buSzPct val="90000"/>
              <a:buFont typeface="Wingdings" panose="05000000000000000000" pitchFamily="2" charset="2"/>
              <a:buChar char="§"/>
              <a:tabLst/>
              <a:defRPr/>
            </a:pPr>
            <a:endParaRPr kumimoji="0" lang="ru-RU" sz="2353" b="0" i="0" u="none" strike="noStrike" kern="1200" cap="none" spc="0" normalizeH="0" baseline="0" noProof="0" dirty="0">
              <a:ln>
                <a:noFill/>
              </a:ln>
              <a:gradFill>
                <a:gsLst>
                  <a:gs pos="1250">
                    <a:srgbClr val="505050"/>
                  </a:gs>
                  <a:gs pos="100000">
                    <a:srgbClr val="505050"/>
                  </a:gs>
                </a:gsLst>
                <a:lin ang="5400000" scaled="0"/>
              </a:gradFill>
              <a:effectLst/>
              <a:uLnTx/>
              <a:uFillTx/>
              <a:latin typeface="Segoe UI"/>
              <a:ea typeface="+mn-ea"/>
              <a:cs typeface="+mn-cs"/>
            </a:endParaRPr>
          </a:p>
        </p:txBody>
      </p:sp>
      <p:pic>
        <p:nvPicPr>
          <p:cNvPr id="12" name="Picture 11"/>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170223" y="5413369"/>
            <a:ext cx="1943268" cy="434378"/>
          </a:xfrm>
          <a:prstGeom prst="rect">
            <a:avLst/>
          </a:prstGeom>
        </p:spPr>
      </p:pic>
    </p:spTree>
    <p:extLst>
      <p:ext uri="{BB962C8B-B14F-4D97-AF65-F5344CB8AC3E}">
        <p14:creationId xmlns:p14="http://schemas.microsoft.com/office/powerpoint/2010/main" val="1173241944"/>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239" y="113883"/>
            <a:ext cx="11655840" cy="1447849"/>
          </a:xfrm>
        </p:spPr>
        <p:txBody>
          <a:bodyPr/>
          <a:lstStyle/>
          <a:p>
            <a:r>
              <a:rPr lang="ru-RU" sz="4800" dirty="0"/>
              <a:t>Повышение доверия к ПО, прозрачность и сертификация в Российской Федерации</a:t>
            </a:r>
          </a:p>
        </p:txBody>
      </p:sp>
      <p:sp>
        <p:nvSpPr>
          <p:cNvPr id="4" name="Rectangle 3"/>
          <p:cNvSpPr/>
          <p:nvPr/>
        </p:nvSpPr>
        <p:spPr>
          <a:xfrm>
            <a:off x="501518" y="3123716"/>
            <a:ext cx="11423561" cy="3609593"/>
          </a:xfrm>
          <a:prstGeom prst="rect">
            <a:avLst/>
          </a:prstGeom>
          <a:solidFill>
            <a:srgbClr val="002050">
              <a:alpha val="90000"/>
            </a:srgbClr>
          </a:solidFill>
          <a:ln w="25400" cap="flat" cmpd="sng" algn="ctr">
            <a:noFill/>
            <a:prstDash val="solid"/>
          </a:ln>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marL="214313" lvl="0" indent="-214313">
              <a:lnSpc>
                <a:spcPct val="80000"/>
              </a:lnSpc>
              <a:buFont typeface="Arial" panose="020B0604020202020204" pitchFamily="34" charset="0"/>
              <a:buChar char="•"/>
            </a:pPr>
            <a:r>
              <a:rPr lang="ru-RU" sz="2400" kern="0" dirty="0">
                <a:solidFill>
                  <a:prstClr val="white"/>
                </a:solidFill>
              </a:rPr>
              <a:t>Мы повышаем прозрачность наших продуктов: в России компания Microsoft предоставляет возможность уполномоченным органам удостовериться, что «внутреннее устройство» продуктов Microsoft не содержит «потайных дверей». </a:t>
            </a:r>
          </a:p>
          <a:p>
            <a:pPr marL="214313" lvl="0" indent="-214313">
              <a:lnSpc>
                <a:spcPct val="80000"/>
              </a:lnSpc>
              <a:buFont typeface="Arial" panose="020B0604020202020204" pitchFamily="34" charset="0"/>
              <a:buChar char="•"/>
            </a:pPr>
            <a:r>
              <a:rPr lang="ru-RU" sz="2400" kern="0" dirty="0">
                <a:solidFill>
                  <a:prstClr val="white"/>
                </a:solidFill>
              </a:rPr>
              <a:t>При этом это не означает, что госорганы тем самым получают доступ к частным данным пользователя или его контенту.</a:t>
            </a:r>
          </a:p>
          <a:p>
            <a:pPr marL="214313" lvl="0" indent="-214313">
              <a:lnSpc>
                <a:spcPct val="80000"/>
              </a:lnSpc>
              <a:buFont typeface="Arial" panose="020B0604020202020204" pitchFamily="34" charset="0"/>
              <a:buChar char="•"/>
            </a:pPr>
            <a:r>
              <a:rPr lang="ru-RU" sz="2400" kern="0" dirty="0">
                <a:solidFill>
                  <a:prstClr val="white"/>
                </a:solidFill>
              </a:rPr>
              <a:t>Это позволяет создавать ИТ- инфраструктуры, отвечающие требованиям максимальной безопасности.</a:t>
            </a:r>
          </a:p>
          <a:p>
            <a:pPr marL="214313" lvl="0" indent="-214313">
              <a:lnSpc>
                <a:spcPct val="80000"/>
              </a:lnSpc>
              <a:buFont typeface="Arial" panose="020B0604020202020204" pitchFamily="34" charset="0"/>
              <a:buChar char="•"/>
            </a:pPr>
            <a:r>
              <a:rPr lang="ru-RU" sz="2400" kern="0" dirty="0">
                <a:solidFill>
                  <a:prstClr val="white"/>
                </a:solidFill>
              </a:rPr>
              <a:t>Все продукты Microsoft отвечают особым национальным требованиям и проходят обязательную в РФ сертификацию по информационной безопасности. На сегодня сертифицированы уже более 60 продуктов.</a:t>
            </a:r>
          </a:p>
        </p:txBody>
      </p:sp>
      <p:sp>
        <p:nvSpPr>
          <p:cNvPr id="7" name="Rectangle 6"/>
          <p:cNvSpPr/>
          <p:nvPr/>
        </p:nvSpPr>
        <p:spPr>
          <a:xfrm>
            <a:off x="501518" y="1636032"/>
            <a:ext cx="11423561" cy="1314450"/>
          </a:xfrm>
          <a:prstGeom prst="rect">
            <a:avLst/>
          </a:prstGeom>
          <a:solidFill>
            <a:srgbClr val="002050">
              <a:alpha val="90000"/>
            </a:srgbClr>
          </a:solidFill>
          <a:ln w="25400" cap="flat" cmpd="sng" algn="ctr">
            <a:noFill/>
            <a:prstDash val="solid"/>
          </a:ln>
          <a:effectLst/>
        </p:spPr>
        <p:txBody>
          <a:bodyPr rot="0" spcFirstLastPara="0" vertOverflow="overflow" horzOverflow="overflow" vert="horz" wrap="square" lIns="68580" tIns="68580" rIns="68580" bIns="68580" numCol="1" spcCol="0" rtlCol="0" fromWordArt="0" anchor="t" anchorCtr="0" forceAA="0" compatLnSpc="1">
            <a:prstTxWarp prst="textNoShape">
              <a:avLst/>
            </a:prstTxWarp>
            <a:noAutofit/>
          </a:bodyPr>
          <a:lstStyle/>
          <a:p>
            <a:pPr marL="0" marR="0" lvl="0" indent="-131645" defTabSz="914400" eaLnBrk="1" fontAlgn="auto" latinLnBrk="0" hangingPunct="1">
              <a:lnSpc>
                <a:spcPct val="80000"/>
              </a:lnSpc>
              <a:spcBef>
                <a:spcPts val="0"/>
              </a:spcBef>
              <a:spcAft>
                <a:spcPts val="0"/>
              </a:spcAft>
              <a:buClrTx/>
              <a:buSzTx/>
              <a:buFontTx/>
              <a:buNone/>
              <a:tabLst/>
              <a:defRPr/>
            </a:pPr>
            <a:endParaRPr kumimoji="0" lang="ru-RU" sz="2400" b="0" i="0" u="none" strike="noStrike" kern="0" cap="none" spc="0" normalizeH="0" baseline="0" noProof="0" dirty="0" err="1">
              <a:ln>
                <a:noFill/>
              </a:ln>
              <a:solidFill>
                <a:prstClr val="white"/>
              </a:solidFill>
              <a:effectLst/>
              <a:uLnTx/>
              <a:uFillTx/>
              <a:latin typeface="Segoe UI Light"/>
              <a:ea typeface="+mn-ea"/>
              <a:cs typeface="+mn-cs"/>
            </a:endParaRPr>
          </a:p>
        </p:txBody>
      </p:sp>
      <p:sp>
        <p:nvSpPr>
          <p:cNvPr id="8" name="Rectangle 3"/>
          <p:cNvSpPr txBox="1">
            <a:spLocks noChangeArrowheads="1"/>
          </p:cNvSpPr>
          <p:nvPr/>
        </p:nvSpPr>
        <p:spPr>
          <a:xfrm>
            <a:off x="497264" y="1734966"/>
            <a:ext cx="11199789" cy="1116581"/>
          </a:xfrm>
          <a:prstGeom prst="rect">
            <a:avLst/>
          </a:prstGeom>
        </p:spPr>
        <p:txBody>
          <a:bodyPr vert="horz" lIns="182880" tIns="91440" rIns="182880" bIns="45720" rtlCol="0">
            <a:normAutofit fontScale="92500" lnSpcReduction="10000"/>
          </a:bodyPr>
          <a:lstStyle>
            <a:lvl1pPr marL="0" indent="0" algn="l" defTabSz="816079" rtl="0" eaLnBrk="1" latinLnBrk="0" hangingPunct="1">
              <a:spcBef>
                <a:spcPts val="1350"/>
              </a:spcBef>
              <a:buClr>
                <a:srgbClr val="0072C6"/>
              </a:buClr>
              <a:buSzPct val="100000"/>
              <a:buFont typeface="Wingdings" pitchFamily="2" charset="2"/>
              <a:buNone/>
              <a:defRPr sz="1800" kern="1200">
                <a:solidFill>
                  <a:schemeClr val="tx2"/>
                </a:solidFill>
                <a:latin typeface="Segoe UI" pitchFamily="34" charset="0"/>
                <a:ea typeface="Segoe UI" pitchFamily="34" charset="0"/>
                <a:cs typeface="Segoe UI" pitchFamily="34" charset="0"/>
              </a:defRPr>
            </a:lvl1pPr>
            <a:lvl2pPr marL="357053" indent="-145797" algn="l" defTabSz="816079" rtl="0" eaLnBrk="1" latinLnBrk="0" hangingPunct="1">
              <a:spcBef>
                <a:spcPct val="20000"/>
              </a:spcBef>
              <a:buFont typeface="Arial" pitchFamily="34" charset="0"/>
              <a:buChar char="•"/>
              <a:defRPr sz="1350" kern="1200">
                <a:solidFill>
                  <a:schemeClr val="tx1"/>
                </a:solidFill>
                <a:latin typeface="Segoe UI" pitchFamily="34" charset="0"/>
                <a:ea typeface="Segoe UI" pitchFamily="34" charset="0"/>
                <a:cs typeface="Segoe UI" pitchFamily="34" charset="0"/>
              </a:defRPr>
            </a:lvl2pPr>
            <a:lvl3pPr marL="571284" indent="-129927" algn="l" defTabSz="816079" rtl="0" eaLnBrk="1" latinLnBrk="0" hangingPunct="1">
              <a:spcBef>
                <a:spcPct val="20000"/>
              </a:spcBef>
              <a:buFont typeface="Arial" pitchFamily="34" charset="0"/>
              <a:buChar char="•"/>
              <a:defRPr sz="1200" kern="1200">
                <a:solidFill>
                  <a:schemeClr val="tx1"/>
                </a:solidFill>
                <a:latin typeface="Segoe UI" pitchFamily="34" charset="0"/>
                <a:ea typeface="Segoe UI" pitchFamily="34" charset="0"/>
                <a:cs typeface="Segoe UI" pitchFamily="34" charset="0"/>
              </a:defRPr>
            </a:lvl3pPr>
            <a:lvl4pPr marL="785516" indent="-132903" algn="l" defTabSz="816079"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4pPr>
            <a:lvl5pPr marL="964042" indent="-134887" algn="l" defTabSz="816079" rtl="0" eaLnBrk="1" latinLnBrk="0" hangingPunct="1">
              <a:spcBef>
                <a:spcPct val="20000"/>
              </a:spcBef>
              <a:buFont typeface="Arial" pitchFamily="34" charset="0"/>
              <a:buChar char="»"/>
              <a:defRPr sz="1050" kern="1200">
                <a:solidFill>
                  <a:schemeClr val="tx1"/>
                </a:solidFill>
                <a:latin typeface="Segoe UI" pitchFamily="34" charset="0"/>
                <a:ea typeface="Segoe UI" pitchFamily="34" charset="0"/>
                <a:cs typeface="Segoe UI" pitchFamily="34" charset="0"/>
              </a:defRPr>
            </a:lvl5pPr>
            <a:lvl6pPr marL="2244218" indent="-204020" algn="l" defTabSz="816079" rtl="0" eaLnBrk="1" latinLnBrk="0" hangingPunct="1">
              <a:spcBef>
                <a:spcPct val="20000"/>
              </a:spcBef>
              <a:buFont typeface="Arial" pitchFamily="34" charset="0"/>
              <a:buChar char="•"/>
              <a:defRPr sz="1875" kern="1200">
                <a:solidFill>
                  <a:schemeClr val="tx1"/>
                </a:solidFill>
                <a:latin typeface="+mn-lt"/>
                <a:ea typeface="+mn-ea"/>
                <a:cs typeface="+mn-cs"/>
              </a:defRPr>
            </a:lvl6pPr>
            <a:lvl7pPr marL="2652257" indent="-204020" algn="l" defTabSz="816079" rtl="0" eaLnBrk="1" latinLnBrk="0" hangingPunct="1">
              <a:spcBef>
                <a:spcPct val="20000"/>
              </a:spcBef>
              <a:buFont typeface="Arial" pitchFamily="34" charset="0"/>
              <a:buChar char="•"/>
              <a:defRPr sz="1875" kern="1200">
                <a:solidFill>
                  <a:schemeClr val="tx1"/>
                </a:solidFill>
                <a:latin typeface="+mn-lt"/>
                <a:ea typeface="+mn-ea"/>
                <a:cs typeface="+mn-cs"/>
              </a:defRPr>
            </a:lvl7pPr>
            <a:lvl8pPr marL="3060297" indent="-204020" algn="l" defTabSz="816079" rtl="0" eaLnBrk="1" latinLnBrk="0" hangingPunct="1">
              <a:spcBef>
                <a:spcPct val="20000"/>
              </a:spcBef>
              <a:buFont typeface="Arial" pitchFamily="34" charset="0"/>
              <a:buChar char="•"/>
              <a:defRPr sz="1875" kern="1200">
                <a:solidFill>
                  <a:schemeClr val="tx1"/>
                </a:solidFill>
                <a:latin typeface="+mn-lt"/>
                <a:ea typeface="+mn-ea"/>
                <a:cs typeface="+mn-cs"/>
              </a:defRPr>
            </a:lvl8pPr>
            <a:lvl9pPr marL="3468336" indent="-204020" algn="l" defTabSz="816079" rtl="0" eaLnBrk="1" latinLnBrk="0" hangingPunct="1">
              <a:spcBef>
                <a:spcPct val="20000"/>
              </a:spcBef>
              <a:buFont typeface="Arial" pitchFamily="34" charset="0"/>
              <a:buChar char="•"/>
              <a:defRPr sz="1875"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 typeface="Wingdings" pitchFamily="2" charset="2"/>
              <a:buNone/>
              <a:tabLst/>
              <a:defRPr/>
            </a:pPr>
            <a:r>
              <a:rPr kumimoji="0" lang="en-US" sz="2800" b="1" i="0" u="none" strike="noStrike" kern="1200" cap="none" spc="0" normalizeH="0" baseline="0" noProof="0" dirty="0">
                <a:ln>
                  <a:noFill/>
                </a:ln>
                <a:solidFill>
                  <a:sysClr val="window" lastClr="FFFFFF"/>
                </a:solidFill>
                <a:effectLst/>
                <a:uLnTx/>
                <a:uFillTx/>
                <a:latin typeface="Segoe UI"/>
                <a:ea typeface="+mn-ea"/>
                <a:cs typeface="Segoe UI" pitchFamily="34" charset="0"/>
              </a:rPr>
              <a:t>Trustworthy Computing</a:t>
            </a:r>
            <a:endParaRPr kumimoji="0" lang="ru-RU" sz="2800" b="1" i="0" u="none" strike="noStrike" kern="1200" cap="none" spc="0" normalizeH="0" baseline="0" noProof="0" dirty="0">
              <a:ln>
                <a:noFill/>
              </a:ln>
              <a:solidFill>
                <a:sysClr val="window" lastClr="FFFFFF"/>
              </a:solidFill>
              <a:effectLst/>
              <a:uLnTx/>
              <a:uFillTx/>
              <a:latin typeface="Segoe UI"/>
              <a:ea typeface="+mn-ea"/>
              <a:cs typeface="Segoe UI" pitchFamily="34" charset="0"/>
            </a:endParaRPr>
          </a:p>
          <a:p>
            <a:pPr marL="0" marR="0" lvl="0" indent="0" algn="ctr" defTabSz="685800" rtl="0" eaLnBrk="1" fontAlgn="auto" latinLnBrk="0" hangingPunct="1">
              <a:lnSpc>
                <a:spcPct val="100000"/>
              </a:lnSpc>
              <a:spcBef>
                <a:spcPts val="0"/>
              </a:spcBef>
              <a:spcAft>
                <a:spcPts val="0"/>
              </a:spcAft>
              <a:buClrTx/>
              <a:buSzTx/>
              <a:buFont typeface="Wingdings" pitchFamily="2" charset="2"/>
              <a:buNone/>
              <a:tabLst/>
              <a:defRPr/>
            </a:pPr>
            <a:r>
              <a:rPr kumimoji="0" lang="ru-RU" sz="2200" b="0" i="0" u="none" strike="noStrike" kern="1200" cap="none" spc="0" normalizeH="0" baseline="0" noProof="0" dirty="0">
                <a:ln>
                  <a:noFill/>
                </a:ln>
                <a:solidFill>
                  <a:sysClr val="window" lastClr="FFFFFF"/>
                </a:solidFill>
                <a:effectLst/>
                <a:uLnTx/>
                <a:uFillTx/>
                <a:latin typeface="Segoe UI"/>
                <a:ea typeface="+mn-ea"/>
                <a:cs typeface="Segoe UI" pitchFamily="34" charset="0"/>
              </a:rPr>
              <a:t>- стратегия построения защищенных информационных систем.</a:t>
            </a:r>
            <a:r>
              <a:rPr kumimoji="0" lang="en-AU" sz="2200" b="0" i="0" u="none" strike="noStrike" kern="1200" cap="none" spc="0" normalizeH="0" baseline="0" noProof="0" dirty="0">
                <a:ln>
                  <a:noFill/>
                </a:ln>
                <a:solidFill>
                  <a:sysClr val="window" lastClr="FFFFFF"/>
                </a:solidFill>
                <a:effectLst/>
                <a:uLnTx/>
                <a:uFillTx/>
                <a:latin typeface="Segoe UI"/>
                <a:ea typeface="+mn-ea"/>
                <a:cs typeface="Segoe UI" pitchFamily="34" charset="0"/>
              </a:rPr>
              <a:t> </a:t>
            </a:r>
            <a:endParaRPr kumimoji="0" lang="ru-RU" sz="2200" b="0" i="0" u="none" strike="noStrike" kern="1200" cap="none" spc="0" normalizeH="0" baseline="0" noProof="0" dirty="0">
              <a:ln>
                <a:noFill/>
              </a:ln>
              <a:solidFill>
                <a:sysClr val="window" lastClr="FFFFFF"/>
              </a:solidFill>
              <a:effectLst/>
              <a:uLnTx/>
              <a:uFillTx/>
              <a:latin typeface="Segoe UI"/>
              <a:ea typeface="+mn-ea"/>
              <a:cs typeface="Segoe UI" pitchFamily="34" charset="0"/>
            </a:endParaRPr>
          </a:p>
          <a:p>
            <a:pPr marL="0" marR="0" lvl="0" indent="0" algn="ctr" defTabSz="685800" rtl="0" eaLnBrk="1" fontAlgn="auto" latinLnBrk="0" hangingPunct="1">
              <a:lnSpc>
                <a:spcPct val="100000"/>
              </a:lnSpc>
              <a:spcBef>
                <a:spcPts val="0"/>
              </a:spcBef>
              <a:spcAft>
                <a:spcPts val="0"/>
              </a:spcAft>
              <a:buClrTx/>
              <a:buSzTx/>
              <a:buFont typeface="Wingdings" pitchFamily="2" charset="2"/>
              <a:buNone/>
              <a:tabLst/>
              <a:defRPr/>
            </a:pPr>
            <a:r>
              <a:rPr kumimoji="0" lang="ru-RU" sz="2200" b="0" i="0" u="none" strike="noStrike" kern="1200" cap="none" spc="0" normalizeH="0" baseline="0" noProof="0" dirty="0">
                <a:ln>
                  <a:noFill/>
                </a:ln>
                <a:solidFill>
                  <a:sysClr val="window" lastClr="FFFFFF"/>
                </a:solidFill>
                <a:effectLst/>
                <a:uLnTx/>
                <a:uFillTx/>
                <a:latin typeface="Segoe UI"/>
                <a:ea typeface="+mn-ea"/>
                <a:cs typeface="Segoe UI" pitchFamily="34" charset="0"/>
              </a:rPr>
              <a:t>Реализуемая с </a:t>
            </a:r>
            <a:r>
              <a:rPr kumimoji="0" lang="en-US" sz="2200" b="0" i="0" u="none" strike="noStrike" kern="1200" cap="none" spc="0" normalizeH="0" baseline="0" noProof="0" dirty="0">
                <a:ln>
                  <a:noFill/>
                </a:ln>
                <a:solidFill>
                  <a:sysClr val="window" lastClr="FFFFFF"/>
                </a:solidFill>
                <a:effectLst/>
                <a:uLnTx/>
                <a:uFillTx/>
                <a:latin typeface="Segoe UI"/>
                <a:cs typeface="Segoe UI" pitchFamily="34" charset="0"/>
              </a:rPr>
              <a:t>2002</a:t>
            </a:r>
            <a:r>
              <a:rPr kumimoji="0" lang="ru-RU" sz="2200" b="0" i="0" u="none" strike="noStrike" kern="1200" cap="none" spc="0" normalizeH="0" baseline="0" noProof="0" dirty="0">
                <a:ln>
                  <a:noFill/>
                </a:ln>
                <a:solidFill>
                  <a:sysClr val="window" lastClr="FFFFFF"/>
                </a:solidFill>
                <a:effectLst/>
                <a:uLnTx/>
                <a:uFillTx/>
                <a:latin typeface="Segoe UI"/>
                <a:cs typeface="Segoe UI" pitchFamily="34" charset="0"/>
              </a:rPr>
              <a:t> года.</a:t>
            </a:r>
            <a:endParaRPr kumimoji="0" lang="ru-RU" sz="2200" b="0" i="0" u="none" strike="noStrike" kern="1200" cap="none" spc="0" normalizeH="0" baseline="0" noProof="0" dirty="0">
              <a:ln>
                <a:noFill/>
              </a:ln>
              <a:solidFill>
                <a:sysClr val="window" lastClr="FFFFFF"/>
              </a:solidFill>
              <a:effectLst/>
              <a:uLnTx/>
              <a:uFillTx/>
              <a:latin typeface="Segoe UI"/>
              <a:ea typeface="+mn-ea"/>
              <a:cs typeface="Segoe UI" pitchFamily="34" charset="0"/>
            </a:endParaRPr>
          </a:p>
          <a:p>
            <a:pPr marL="0" marR="0" lvl="0" indent="0" algn="l" defTabSz="816079" rtl="0" eaLnBrk="1" fontAlgn="auto" latinLnBrk="0" hangingPunct="1">
              <a:lnSpc>
                <a:spcPct val="80000"/>
              </a:lnSpc>
              <a:spcBef>
                <a:spcPts val="1350"/>
              </a:spcBef>
              <a:spcAft>
                <a:spcPts val="0"/>
              </a:spcAft>
              <a:buClr>
                <a:srgbClr val="0072C6"/>
              </a:buClr>
              <a:buSzPct val="100000"/>
              <a:buFont typeface="Wingdings" pitchFamily="2" charset="2"/>
              <a:buNone/>
              <a:tabLst/>
              <a:defRPr/>
            </a:pPr>
            <a:endParaRPr kumimoji="0" lang="ru-RU" sz="2100" b="0" i="0" u="none" strike="noStrike" kern="1200" cap="none" spc="0" normalizeH="0" baseline="0" noProof="0" dirty="0">
              <a:ln>
                <a:noFill/>
              </a:ln>
              <a:solidFill>
                <a:sysClr val="window" lastClr="FFFFFF"/>
              </a:solidFill>
              <a:effectLst/>
              <a:uLnTx/>
              <a:uFillTx/>
              <a:latin typeface="Segoe UI" pitchFamily="34" charset="0"/>
              <a:cs typeface="Segoe UI" pitchFamily="34" charset="0"/>
            </a:endParaRPr>
          </a:p>
          <a:p>
            <a:pPr marL="0" marR="0" lvl="0" indent="0" algn="l" defTabSz="816079" rtl="0" eaLnBrk="1" fontAlgn="auto" latinLnBrk="0" hangingPunct="1">
              <a:lnSpc>
                <a:spcPct val="80000"/>
              </a:lnSpc>
              <a:spcBef>
                <a:spcPts val="1350"/>
              </a:spcBef>
              <a:spcAft>
                <a:spcPts val="0"/>
              </a:spcAft>
              <a:buClr>
                <a:srgbClr val="0072C6"/>
              </a:buClr>
              <a:buSzPct val="100000"/>
              <a:buFont typeface="Wingdings" pitchFamily="2" charset="2"/>
              <a:buNone/>
              <a:tabLst/>
              <a:defRPr/>
            </a:pPr>
            <a:endParaRPr kumimoji="0" lang="ru-RU" sz="2100" b="0" i="0" u="none" strike="noStrike" kern="1200" cap="none" spc="0" normalizeH="0" baseline="0" noProof="0" dirty="0">
              <a:ln>
                <a:noFill/>
              </a:ln>
              <a:solidFill>
                <a:sysClr val="window" lastClr="FFFFFF"/>
              </a:solidFill>
              <a:effectLst/>
              <a:uLnTx/>
              <a:uFillTx/>
              <a:latin typeface="Segoe UI" pitchFamily="34" charset="0"/>
              <a:cs typeface="Segoe UI" pitchFamily="34" charset="0"/>
            </a:endParaRPr>
          </a:p>
        </p:txBody>
      </p:sp>
    </p:spTree>
    <p:extLst>
      <p:ext uri="{BB962C8B-B14F-4D97-AF65-F5344CB8AC3E}">
        <p14:creationId xmlns:p14="http://schemas.microsoft.com/office/powerpoint/2010/main" val="1654527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ext Placeholder 7"/>
          <p:cNvSpPr>
            <a:spLocks noGrp="1"/>
          </p:cNvSpPr>
          <p:nvPr>
            <p:ph type="body" sz="quarter" idx="12"/>
          </p:nvPr>
        </p:nvSpPr>
        <p:spPr>
          <a:xfrm>
            <a:off x="390035" y="969218"/>
            <a:ext cx="11386771" cy="399984"/>
          </a:xfrm>
        </p:spPr>
        <p:txBody>
          <a:bodyPr>
            <a:normAutofit/>
          </a:bodyPr>
          <a:lstStyle/>
          <a:p>
            <a:r>
              <a:rPr lang="ru-RU" dirty="0"/>
              <a:t>Узнайте больше</a:t>
            </a:r>
            <a:r>
              <a:rPr lang="en-US" dirty="0"/>
              <a:t>. </a:t>
            </a:r>
            <a:r>
              <a:rPr lang="ru-RU" dirty="0"/>
              <a:t>Смотрите</a:t>
            </a:r>
            <a:r>
              <a:rPr lang="en-US" dirty="0"/>
              <a:t>. </a:t>
            </a:r>
            <a:r>
              <a:rPr lang="ru-RU" dirty="0"/>
              <a:t>Давайте вместе обсуждать</a:t>
            </a:r>
            <a:r>
              <a:rPr lang="en-US" dirty="0"/>
              <a:t>. </a:t>
            </a:r>
            <a:r>
              <a:rPr lang="ru-RU" dirty="0"/>
              <a:t>Пробуйте</a:t>
            </a:r>
            <a:r>
              <a:rPr lang="en-US" dirty="0"/>
              <a:t>.</a:t>
            </a:r>
          </a:p>
        </p:txBody>
      </p:sp>
      <p:sp>
        <p:nvSpPr>
          <p:cNvPr id="9" name="Content Placeholder 5"/>
          <p:cNvSpPr txBox="1">
            <a:spLocks/>
          </p:cNvSpPr>
          <p:nvPr/>
        </p:nvSpPr>
        <p:spPr>
          <a:xfrm>
            <a:off x="6003236" y="3906757"/>
            <a:ext cx="2778692" cy="2843900"/>
          </a:xfrm>
          <a:prstGeom prst="rect">
            <a:avLst/>
          </a:prstGeom>
          <a:solidFill>
            <a:schemeClr val="bg2">
              <a:lumMod val="95000"/>
              <a:alpha val="95000"/>
            </a:schemeClr>
          </a:solidFill>
        </p:spPr>
        <p:txBody>
          <a:bodyPr wrap="square" lIns="182880" tIns="182880" bIns="0" anchor="t" anchorCtr="0">
            <a:noAutofit/>
          </a:bodyPr>
          <a:lst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ru-RU" sz="2400" b="1" dirty="0">
                <a:solidFill>
                  <a:srgbClr val="002050"/>
                </a:solidFill>
                <a:latin typeface="Segoe UI Light"/>
              </a:rPr>
              <a:t>Контакты</a:t>
            </a:r>
            <a:endParaRPr lang="en-US" sz="2400" b="1" dirty="0">
              <a:solidFill>
                <a:srgbClr val="002050"/>
              </a:solidFill>
              <a:latin typeface="Segoe UI Light"/>
            </a:endParaRPr>
          </a:p>
          <a:p>
            <a:pPr lvl="0" defTabSz="914400">
              <a:spcBef>
                <a:spcPts val="0"/>
              </a:spcBef>
            </a:pPr>
            <a:r>
              <a:rPr lang="ru-RU" sz="1800" dirty="0" err="1">
                <a:solidFill>
                  <a:schemeClr val="tx1"/>
                </a:solidFill>
                <a:latin typeface="Segoe UI"/>
                <a:ea typeface="+mn-ea"/>
                <a:cs typeface="+mn-cs"/>
              </a:rPr>
              <a:t>Машика</a:t>
            </a:r>
            <a:r>
              <a:rPr lang="ru-RU" sz="1800" dirty="0">
                <a:solidFill>
                  <a:schemeClr val="tx1"/>
                </a:solidFill>
                <a:latin typeface="Segoe UI"/>
                <a:ea typeface="+mn-ea"/>
                <a:cs typeface="+mn-cs"/>
              </a:rPr>
              <a:t> Александр</a:t>
            </a:r>
          </a:p>
          <a:p>
            <a:pPr lvl="0" defTabSz="914400">
              <a:spcBef>
                <a:spcPts val="0"/>
              </a:spcBef>
            </a:pPr>
            <a:r>
              <a:rPr lang="ru-RU" sz="1800" dirty="0">
                <a:solidFill>
                  <a:schemeClr val="tx1"/>
                </a:solidFill>
                <a:latin typeface="Segoe UI"/>
                <a:ea typeface="+mn-ea"/>
                <a:cs typeface="+mn-cs"/>
              </a:rPr>
              <a:t>+7(963) 993 12 26</a:t>
            </a:r>
          </a:p>
          <a:p>
            <a:pPr lvl="0" defTabSz="914400">
              <a:spcBef>
                <a:spcPts val="0"/>
              </a:spcBef>
            </a:pPr>
            <a:r>
              <a:rPr lang="en-US" sz="1700" dirty="0">
                <a:solidFill>
                  <a:srgbClr val="FF0000"/>
                </a:solidFill>
                <a:latin typeface="Segoe UI"/>
                <a:ea typeface="+mn-ea"/>
                <a:cs typeface="+mn-cs"/>
                <a:hlinkClick r:id="rId3"/>
              </a:rPr>
              <a:t>amashika@microsoft.com</a:t>
            </a:r>
            <a:endParaRPr lang="en-US" sz="1700" dirty="0">
              <a:solidFill>
                <a:srgbClr val="FF0000"/>
              </a:solidFill>
              <a:latin typeface="Segoe UI"/>
              <a:ea typeface="+mn-ea"/>
              <a:cs typeface="+mn-cs"/>
            </a:endParaRPr>
          </a:p>
          <a:p>
            <a:pPr lvl="0" defTabSz="914400">
              <a:spcBef>
                <a:spcPts val="0"/>
              </a:spcBef>
            </a:pPr>
            <a:endParaRPr lang="en-US" sz="1800" dirty="0">
              <a:solidFill>
                <a:srgbClr val="FF0000"/>
              </a:solidFill>
              <a:latin typeface="Segoe UI"/>
              <a:ea typeface="+mn-ea"/>
              <a:cs typeface="+mn-cs"/>
            </a:endParaRPr>
          </a:p>
        </p:txBody>
      </p:sp>
      <p:sp>
        <p:nvSpPr>
          <p:cNvPr id="10" name="Content Placeholder 5"/>
          <p:cNvSpPr txBox="1">
            <a:spLocks/>
          </p:cNvSpPr>
          <p:nvPr/>
        </p:nvSpPr>
        <p:spPr>
          <a:xfrm>
            <a:off x="278296" y="3906757"/>
            <a:ext cx="2784297" cy="2843900"/>
          </a:xfrm>
          <a:prstGeom prst="rect">
            <a:avLst/>
          </a:prstGeom>
          <a:solidFill>
            <a:schemeClr val="bg2">
              <a:lumMod val="95000"/>
              <a:alpha val="95000"/>
            </a:schemeClr>
          </a:solidFill>
        </p:spPr>
        <p:txBody>
          <a:bodyPr lIns="182880" tIns="182880" bIns="0" anchor="t" anchorCtr="0">
            <a:noAutofit/>
          </a:bodyPr>
          <a:lst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ru-RU" sz="2400" b="1" dirty="0">
                <a:solidFill>
                  <a:srgbClr val="002050"/>
                </a:solidFill>
                <a:latin typeface="Segoe UI Light"/>
              </a:rPr>
              <a:t>Дополнительная информация</a:t>
            </a:r>
            <a:r>
              <a:rPr lang="en-US" sz="2400" b="1" dirty="0">
                <a:solidFill>
                  <a:srgbClr val="002050"/>
                </a:solidFill>
                <a:latin typeface="Segoe UI"/>
              </a:rPr>
              <a:t> </a:t>
            </a:r>
          </a:p>
          <a:p>
            <a:pPr marL="285750" indent="-285750" defTabSz="914400">
              <a:spcBef>
                <a:spcPts val="0"/>
              </a:spcBef>
              <a:buFont typeface="Arial" panose="020B0604020202020204" pitchFamily="34" charset="0"/>
              <a:buChar char="•"/>
            </a:pPr>
            <a:r>
              <a:rPr lang="en-US" sz="1200" dirty="0">
                <a:solidFill>
                  <a:srgbClr val="505050"/>
                </a:solidFill>
                <a:latin typeface="Segoe UI"/>
                <a:ea typeface="+mn-ea"/>
              </a:rPr>
              <a:t>microsoft.com/enterprise/ru-ru</a:t>
            </a:r>
            <a:endParaRPr lang="ru-RU" sz="1200" dirty="0">
              <a:solidFill>
                <a:srgbClr val="505050"/>
              </a:solidFill>
              <a:latin typeface="Segoe UI"/>
              <a:ea typeface="+mn-ea"/>
            </a:endParaRPr>
          </a:p>
          <a:p>
            <a:pPr marL="285750" indent="-285750" defTabSz="914400">
              <a:spcBef>
                <a:spcPts val="0"/>
              </a:spcBef>
              <a:buFont typeface="Arial" panose="020B0604020202020204" pitchFamily="34" charset="0"/>
              <a:buChar char="•"/>
            </a:pPr>
            <a:r>
              <a:rPr lang="en-US" sz="1200" dirty="0">
                <a:solidFill>
                  <a:srgbClr val="505050"/>
                </a:solidFill>
                <a:latin typeface="Segoe UI"/>
                <a:ea typeface="+mn-ea"/>
              </a:rPr>
              <a:t>http://www.microsoft.com/ru-ru/citynext</a:t>
            </a:r>
            <a:endParaRPr lang="ru-RU" sz="1200" dirty="0">
              <a:solidFill>
                <a:srgbClr val="505050"/>
              </a:solidFill>
              <a:latin typeface="Segoe UI"/>
              <a:ea typeface="+mn-ea"/>
            </a:endParaRPr>
          </a:p>
          <a:p>
            <a:pPr marL="285750" indent="-285750" defTabSz="914400">
              <a:spcBef>
                <a:spcPts val="0"/>
              </a:spcBef>
              <a:buFont typeface="Arial" panose="020B0604020202020204" pitchFamily="34" charset="0"/>
              <a:buChar char="•"/>
            </a:pPr>
            <a:r>
              <a:rPr lang="en-US" sz="1200" dirty="0">
                <a:solidFill>
                  <a:srgbClr val="505050"/>
                </a:solidFill>
                <a:latin typeface="Segoe UI"/>
                <a:ea typeface="+mn-ea"/>
              </a:rPr>
              <a:t>www.microsoft.com/citynext</a:t>
            </a:r>
            <a:endParaRPr lang="ru-RU" sz="1200" dirty="0">
              <a:solidFill>
                <a:srgbClr val="505050"/>
              </a:solidFill>
              <a:latin typeface="Segoe UI"/>
              <a:ea typeface="+mn-ea"/>
            </a:endParaRPr>
          </a:p>
          <a:p>
            <a:pPr marL="285750" indent="-285750" defTabSz="914400">
              <a:spcBef>
                <a:spcPts val="0"/>
              </a:spcBef>
              <a:buFont typeface="Arial" panose="020B0604020202020204" pitchFamily="34" charset="0"/>
              <a:buChar char="•"/>
            </a:pPr>
            <a:r>
              <a:rPr lang="en-US" sz="1200" dirty="0">
                <a:solidFill>
                  <a:srgbClr val="505050"/>
                </a:solidFill>
                <a:latin typeface="Segoe UI"/>
                <a:ea typeface="+mn-ea"/>
              </a:rPr>
              <a:t>https://customers.microsoft.com</a:t>
            </a:r>
            <a:r>
              <a:rPr lang="ru-RU" sz="1200" dirty="0">
                <a:solidFill>
                  <a:srgbClr val="505050"/>
                </a:solidFill>
                <a:latin typeface="Segoe UI"/>
                <a:ea typeface="+mn-ea"/>
              </a:rPr>
              <a:t> </a:t>
            </a:r>
            <a:r>
              <a:rPr lang="en-US" sz="1200" dirty="0">
                <a:solidFill>
                  <a:srgbClr val="505050"/>
                </a:solidFill>
              </a:rPr>
              <a:t> </a:t>
            </a:r>
          </a:p>
          <a:p>
            <a:pPr>
              <a:spcBef>
                <a:spcPts val="0"/>
              </a:spcBef>
            </a:pPr>
            <a:endParaRPr lang="en-US" sz="1400" dirty="0">
              <a:solidFill>
                <a:srgbClr val="505050"/>
              </a:solidFill>
              <a:latin typeface="Segoe UI"/>
            </a:endParaRPr>
          </a:p>
        </p:txBody>
      </p:sp>
      <p:sp>
        <p:nvSpPr>
          <p:cNvPr id="11" name="Content Placeholder 5"/>
          <p:cNvSpPr txBox="1">
            <a:spLocks/>
          </p:cNvSpPr>
          <p:nvPr/>
        </p:nvSpPr>
        <p:spPr>
          <a:xfrm>
            <a:off x="3214546" y="3906757"/>
            <a:ext cx="2642484" cy="2843900"/>
          </a:xfrm>
          <a:prstGeom prst="rect">
            <a:avLst/>
          </a:prstGeom>
          <a:solidFill>
            <a:schemeClr val="bg2">
              <a:lumMod val="95000"/>
              <a:alpha val="95000"/>
            </a:schemeClr>
          </a:solidFill>
        </p:spPr>
        <p:txBody>
          <a:bodyPr lIns="182880" tIns="182880" bIns="0" anchor="t" anchorCtr="0">
            <a:noAutofit/>
          </a:bodyPr>
          <a:lst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ru-RU" sz="2400" b="1" dirty="0">
                <a:solidFill>
                  <a:srgbClr val="002050"/>
                </a:solidFill>
                <a:latin typeface="Segoe UI Light"/>
              </a:rPr>
              <a:t>Узнайте больше</a:t>
            </a:r>
            <a:endParaRPr lang="en-US" sz="2400" b="1" dirty="0">
              <a:solidFill>
                <a:srgbClr val="002050"/>
              </a:solidFill>
              <a:latin typeface="Segoe UI Light"/>
            </a:endParaRPr>
          </a:p>
          <a:p>
            <a:pPr>
              <a:spcBef>
                <a:spcPts val="0"/>
              </a:spcBef>
            </a:pPr>
            <a:endParaRPr lang="ru-RU" sz="1400" dirty="0">
              <a:solidFill>
                <a:srgbClr val="505050"/>
              </a:solidFill>
            </a:endParaRPr>
          </a:p>
          <a:p>
            <a:pPr marL="285750" indent="-285750">
              <a:spcBef>
                <a:spcPts val="0"/>
              </a:spcBef>
              <a:buFont typeface="Arial" panose="020B0604020202020204" pitchFamily="34" charset="0"/>
              <a:buChar char="•"/>
            </a:pPr>
            <a:r>
              <a:rPr lang="ru-RU" sz="1400" dirty="0">
                <a:solidFill>
                  <a:srgbClr val="505050"/>
                </a:solidFill>
              </a:rPr>
              <a:t>Конференция и выставка “</a:t>
            </a:r>
            <a:r>
              <a:rPr lang="en-US" sz="1400" dirty="0">
                <a:solidFill>
                  <a:srgbClr val="505050"/>
                </a:solidFill>
              </a:rPr>
              <a:t>Smart City Expo World Congress” (</a:t>
            </a:r>
            <a:r>
              <a:rPr lang="ru-RU" sz="1400" dirty="0" err="1">
                <a:solidFill>
                  <a:srgbClr val="505050"/>
                </a:solidFill>
              </a:rPr>
              <a:t>г.Барселона</a:t>
            </a:r>
            <a:r>
              <a:rPr lang="ru-RU" sz="1400" dirty="0">
                <a:solidFill>
                  <a:srgbClr val="505050"/>
                </a:solidFill>
              </a:rPr>
              <a:t>, 15-17 ноября 2016 г. ) – стенд </a:t>
            </a:r>
            <a:r>
              <a:rPr lang="en-US" sz="1400" dirty="0">
                <a:solidFill>
                  <a:srgbClr val="505050"/>
                </a:solidFill>
              </a:rPr>
              <a:t>Microsoft </a:t>
            </a:r>
            <a:r>
              <a:rPr lang="ru-RU" sz="1400" dirty="0">
                <a:solidFill>
                  <a:srgbClr val="505050"/>
                </a:solidFill>
              </a:rPr>
              <a:t>и партнеров</a:t>
            </a:r>
          </a:p>
          <a:p>
            <a:pPr>
              <a:spcBef>
                <a:spcPts val="0"/>
              </a:spcBef>
            </a:pPr>
            <a:r>
              <a:rPr lang="en-US" sz="1200" dirty="0">
                <a:solidFill>
                  <a:srgbClr val="505050"/>
                </a:solidFill>
              </a:rPr>
              <a:t>http://www.smartcityexpo.com/en/</a:t>
            </a:r>
            <a:r>
              <a:rPr lang="ru-RU" sz="1200" dirty="0">
                <a:solidFill>
                  <a:srgbClr val="505050"/>
                </a:solidFill>
              </a:rPr>
              <a:t> </a:t>
            </a:r>
          </a:p>
          <a:p>
            <a:pPr>
              <a:spcBef>
                <a:spcPts val="0"/>
              </a:spcBef>
            </a:pPr>
            <a:endParaRPr lang="en-US" sz="1400" dirty="0">
              <a:solidFill>
                <a:srgbClr val="505050"/>
              </a:solidFill>
            </a:endParaRPr>
          </a:p>
        </p:txBody>
      </p:sp>
      <p:sp>
        <p:nvSpPr>
          <p:cNvPr id="12" name="Content Placeholder 5"/>
          <p:cNvSpPr txBox="1">
            <a:spLocks/>
          </p:cNvSpPr>
          <p:nvPr/>
        </p:nvSpPr>
        <p:spPr>
          <a:xfrm>
            <a:off x="8943927" y="3906757"/>
            <a:ext cx="2642484" cy="2843900"/>
          </a:xfrm>
          <a:prstGeom prst="rect">
            <a:avLst/>
          </a:prstGeom>
          <a:solidFill>
            <a:schemeClr val="bg2">
              <a:lumMod val="95000"/>
              <a:alpha val="95000"/>
            </a:schemeClr>
          </a:solidFill>
        </p:spPr>
        <p:txBody>
          <a:bodyPr wrap="square" lIns="182880" tIns="182880" bIns="0" anchor="t" anchorCtr="0">
            <a:noAutofit/>
          </a:bodyPr>
          <a:lstStyle>
            <a:lvl1pPr marL="0" indent="0" algn="l" defTabSz="896214" rtl="0" eaLnBrk="1" latinLnBrk="0" hangingPunct="1">
              <a:spcBef>
                <a:spcPct val="20000"/>
              </a:spcBef>
              <a:buFontTx/>
              <a:buNone/>
              <a:defRPr sz="3000" kern="120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spcBef>
                <a:spcPts val="0"/>
              </a:spcBef>
            </a:pPr>
            <a:r>
              <a:rPr lang="ru-RU" sz="2400" b="1" dirty="0">
                <a:solidFill>
                  <a:srgbClr val="002050"/>
                </a:solidFill>
                <a:latin typeface="Segoe UI Light"/>
              </a:rPr>
              <a:t>Пробуйте</a:t>
            </a:r>
            <a:endParaRPr lang="en-US" sz="2400" b="1" dirty="0">
              <a:solidFill>
                <a:srgbClr val="002050"/>
              </a:solidFill>
              <a:latin typeface="Segoe UI Light"/>
            </a:endParaRPr>
          </a:p>
          <a:p>
            <a:pPr>
              <a:spcBef>
                <a:spcPts val="0"/>
              </a:spcBef>
            </a:pPr>
            <a:r>
              <a:rPr lang="ru-RU" sz="1800" dirty="0">
                <a:solidFill>
                  <a:srgbClr val="505050"/>
                </a:solidFill>
              </a:rPr>
              <a:t>Приходите к нам в Технологический Центр </a:t>
            </a:r>
            <a:r>
              <a:rPr lang="en-US" sz="1800" dirty="0">
                <a:solidFill>
                  <a:srgbClr val="505050"/>
                </a:solidFill>
              </a:rPr>
              <a:t>Microsoft (MTC) </a:t>
            </a:r>
            <a:r>
              <a:rPr lang="ru-RU" sz="1800" dirty="0">
                <a:solidFill>
                  <a:srgbClr val="505050"/>
                </a:solidFill>
              </a:rPr>
              <a:t>в Москве около </a:t>
            </a:r>
            <a:r>
              <a:rPr lang="ru-RU" sz="1800" dirty="0" err="1">
                <a:solidFill>
                  <a:srgbClr val="505050"/>
                </a:solidFill>
              </a:rPr>
              <a:t>м.«Белорусская</a:t>
            </a:r>
            <a:r>
              <a:rPr lang="ru-RU" sz="1800" dirty="0">
                <a:solidFill>
                  <a:srgbClr val="505050"/>
                </a:solidFill>
              </a:rPr>
              <a:t>»</a:t>
            </a:r>
            <a:endParaRPr lang="en-US" sz="1800" dirty="0">
              <a:solidFill>
                <a:srgbClr val="505050"/>
              </a:solidFill>
            </a:endParaRPr>
          </a:p>
        </p:txBody>
      </p:sp>
      <p:pic>
        <p:nvPicPr>
          <p:cNvPr id="40" name="Picture 39"/>
          <p:cNvPicPr>
            <a:picLocks noChangeAspect="1"/>
          </p:cNvPicPr>
          <p:nvPr/>
        </p:nvPicPr>
        <p:blipFill rotWithShape="1">
          <a:blip r:embed="rId4" cstate="print">
            <a:extLst>
              <a:ext uri="{28A0092B-C50C-407E-A947-70E740481C1C}">
                <a14:useLocalDpi xmlns:a14="http://schemas.microsoft.com/office/drawing/2010/main" val="0"/>
              </a:ext>
            </a:extLst>
          </a:blip>
          <a:srcRect l="4052" t="25617" r="2745" b="11699"/>
          <a:stretch/>
        </p:blipFill>
        <p:spPr>
          <a:xfrm>
            <a:off x="278295" y="1269933"/>
            <a:ext cx="2774252" cy="2636824"/>
          </a:xfrm>
          <a:prstGeom prst="rect">
            <a:avLst/>
          </a:prstGeom>
        </p:spPr>
      </p:pic>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17054" y="1269932"/>
            <a:ext cx="2639975" cy="2636824"/>
          </a:xfrm>
          <a:prstGeom prst="rect">
            <a:avLst/>
          </a:prstGeom>
        </p:spPr>
      </p:pic>
      <p:pic>
        <p:nvPicPr>
          <p:cNvPr id="14" name="Picture 13"/>
          <p:cNvPicPr>
            <a:picLocks noChangeAspect="1"/>
          </p:cNvPicPr>
          <p:nvPr/>
        </p:nvPicPr>
        <p:blipFill>
          <a:blip r:embed="rId6">
            <a:extLst>
              <a:ext uri="{BEBA8EAE-BF5A-486C-A8C5-ECC9F3942E4B}">
                <a14:imgProps xmlns:a14="http://schemas.microsoft.com/office/drawing/2010/main">
                  <a14:imgLayer r:embed="rId7">
                    <a14:imgEffect>
                      <a14:artisticPencilGrayscale trans="50000"/>
                    </a14:imgEffect>
                  </a14:imgLayer>
                </a14:imgProps>
              </a:ext>
              <a:ext uri="{28A0092B-C50C-407E-A947-70E740481C1C}">
                <a14:useLocalDpi xmlns:a14="http://schemas.microsoft.com/office/drawing/2010/main" val="0"/>
              </a:ext>
            </a:extLst>
          </a:blip>
          <a:stretch>
            <a:fillRect/>
          </a:stretch>
        </p:blipFill>
        <p:spPr>
          <a:xfrm>
            <a:off x="8955950" y="1269933"/>
            <a:ext cx="2630461" cy="2636823"/>
          </a:xfrm>
          <a:prstGeom prst="rect">
            <a:avLst/>
          </a:prstGeom>
        </p:spPr>
      </p:pic>
      <p:pic>
        <p:nvPicPr>
          <p:cNvPr id="18" name="MSB09_George_003.jpg" descr="/Users/curt.cutler/Desktop/clients/Microsoft/100260920 - MICR Creative Sols for WW Public Sector/working/psd/MS images/MSB09_George_003.jpg"/>
          <p:cNvPicPr>
            <a:picLocks noChangeAspect="1"/>
          </p:cNvPicPr>
          <p:nvPr/>
        </p:nvPicPr>
        <p:blipFill>
          <a:blip r:embed="rId8" r:link="rId9" cstate="print">
            <a:extLst>
              <a:ext uri="{28A0092B-C50C-407E-A947-70E740481C1C}">
                <a14:useLocalDpi xmlns:a14="http://schemas.microsoft.com/office/drawing/2010/main" val="0"/>
              </a:ext>
            </a:extLst>
          </a:blip>
          <a:srcRect/>
          <a:stretch>
            <a:fillRect/>
          </a:stretch>
        </p:blipFill>
        <p:spPr>
          <a:xfrm>
            <a:off x="6003236" y="1269932"/>
            <a:ext cx="2778692" cy="2636824"/>
          </a:xfrm>
          <a:prstGeom prst="rect">
            <a:avLst/>
          </a:prstGeom>
        </p:spPr>
      </p:pic>
      <p:sp>
        <p:nvSpPr>
          <p:cNvPr id="2" name="Title 1"/>
          <p:cNvSpPr>
            <a:spLocks noGrp="1"/>
          </p:cNvSpPr>
          <p:nvPr>
            <p:ph type="title"/>
          </p:nvPr>
        </p:nvSpPr>
        <p:spPr>
          <a:xfrm>
            <a:off x="349617" y="135554"/>
            <a:ext cx="10654988" cy="727715"/>
          </a:xfrm>
        </p:spPr>
        <p:txBody>
          <a:bodyPr>
            <a:noAutofit/>
          </a:bodyPr>
          <a:lstStyle/>
          <a:p>
            <a:r>
              <a:rPr lang="ru-RU" sz="2800" b="1" dirty="0">
                <a:solidFill>
                  <a:srgbClr val="FFFFFF"/>
                </a:solidFill>
              </a:rPr>
              <a:t>Цифровое правительство</a:t>
            </a:r>
            <a:r>
              <a:rPr lang="en-US" sz="2800" b="1" dirty="0">
                <a:solidFill>
                  <a:srgbClr val="FFFFFF"/>
                </a:solidFill>
              </a:rPr>
              <a:t>. </a:t>
            </a:r>
            <a:r>
              <a:rPr lang="ru-RU" sz="2800" dirty="0">
                <a:solidFill>
                  <a:srgbClr val="FFFFFF"/>
                </a:solidFill>
              </a:rPr>
              <a:t>На перекрестке приоритетов государства и технологических трендов.</a:t>
            </a:r>
            <a:endParaRPr lang="ru-RU" sz="2800" dirty="0"/>
          </a:p>
        </p:txBody>
      </p:sp>
    </p:spTree>
    <p:extLst>
      <p:ext uri="{BB962C8B-B14F-4D97-AF65-F5344CB8AC3E}">
        <p14:creationId xmlns:p14="http://schemas.microsoft.com/office/powerpoint/2010/main" val="886341129"/>
      </p:ext>
    </p:extLst>
  </p:cSld>
  <p:clrMapOvr>
    <a:masterClrMapping/>
  </p:clrMapOvr>
  <p:transition spd="slow">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8612" y="57283"/>
            <a:ext cx="12059309" cy="899665"/>
          </a:xfrm>
        </p:spPr>
        <p:txBody>
          <a:bodyPr/>
          <a:lstStyle/>
          <a:p>
            <a:r>
              <a:rPr lang="ru-RU" sz="3600" dirty="0"/>
              <a:t>Новый этап ИТ в госсекторе: трансформация «электронного правительства» в «цифровое правительство»</a:t>
            </a:r>
          </a:p>
        </p:txBody>
      </p:sp>
      <p:sp>
        <p:nvSpPr>
          <p:cNvPr id="3" name="TextBox 2"/>
          <p:cNvSpPr txBox="1"/>
          <p:nvPr/>
        </p:nvSpPr>
        <p:spPr>
          <a:xfrm>
            <a:off x="7719618" y="2550278"/>
            <a:ext cx="1871187" cy="2508189"/>
          </a:xfrm>
          <a:prstGeom prst="rect">
            <a:avLst/>
          </a:prstGeom>
          <a:solidFill>
            <a:srgbClr val="00BCF2"/>
          </a:solidFill>
        </p:spPr>
        <p:txBody>
          <a:bodyPr vert="horz" wrap="square" lIns="93236" tIns="93236" rIns="93236" bIns="93236" rtlCol="0" anchor="b">
            <a:noAutofit/>
          </a:bodyPr>
          <a:lstStyle/>
          <a:p>
            <a:pPr defTabSz="1109758">
              <a:defRPr/>
            </a:pPr>
            <a:endParaRPr lang="en-US" sz="2040" kern="0" dirty="0">
              <a:solidFill>
                <a:prstClr val="white"/>
              </a:solidFill>
              <a:latin typeface="Segoe UI Light" panose="020B0502040204020203" pitchFamily="34" charset="0"/>
              <a:ea typeface="Segoe UI" pitchFamily="34" charset="0"/>
              <a:cs typeface="Segoe UI" pitchFamily="34" charset="0"/>
            </a:endParaRPr>
          </a:p>
        </p:txBody>
      </p:sp>
      <p:sp>
        <p:nvSpPr>
          <p:cNvPr id="4" name="TextBox 3"/>
          <p:cNvSpPr txBox="1"/>
          <p:nvPr/>
        </p:nvSpPr>
        <p:spPr>
          <a:xfrm>
            <a:off x="5719240" y="2559008"/>
            <a:ext cx="1924059" cy="2507211"/>
          </a:xfrm>
          <a:prstGeom prst="rect">
            <a:avLst/>
          </a:prstGeom>
          <a:solidFill>
            <a:srgbClr val="00BCF2"/>
          </a:solidFill>
        </p:spPr>
        <p:txBody>
          <a:bodyPr vert="horz" wrap="square" lIns="93236" tIns="93236" rIns="93236" bIns="93236" rtlCol="0" anchor="b">
            <a:noAutofit/>
          </a:bodyPr>
          <a:lstStyle/>
          <a:p>
            <a:pPr defTabSz="1109758">
              <a:defRPr/>
            </a:pPr>
            <a:endParaRPr lang="en-US" sz="2040" kern="0" dirty="0">
              <a:solidFill>
                <a:prstClr val="white"/>
              </a:solidFill>
              <a:latin typeface="Segoe UI Light" panose="020B0502040204020203" pitchFamily="34" charset="0"/>
              <a:ea typeface="Segoe UI" pitchFamily="34" charset="0"/>
              <a:cs typeface="Segoe UI" pitchFamily="34" charset="0"/>
            </a:endParaRPr>
          </a:p>
        </p:txBody>
      </p:sp>
      <p:sp>
        <p:nvSpPr>
          <p:cNvPr id="5" name="TextBox 4"/>
          <p:cNvSpPr txBox="1"/>
          <p:nvPr/>
        </p:nvSpPr>
        <p:spPr>
          <a:xfrm>
            <a:off x="3875444" y="2548280"/>
            <a:ext cx="1809798" cy="2525767"/>
          </a:xfrm>
          <a:prstGeom prst="rect">
            <a:avLst/>
          </a:prstGeom>
          <a:solidFill>
            <a:srgbClr val="00BCF2"/>
          </a:solidFill>
        </p:spPr>
        <p:txBody>
          <a:bodyPr vert="horz" wrap="square" lIns="93236" tIns="93236" rIns="93236" bIns="93236" rtlCol="0" anchor="b">
            <a:noAutofit/>
          </a:bodyPr>
          <a:lstStyle/>
          <a:p>
            <a:pPr defTabSz="1109758">
              <a:defRPr/>
            </a:pPr>
            <a:endParaRPr lang="en-US" sz="2040" kern="0" dirty="0">
              <a:solidFill>
                <a:prstClr val="white"/>
              </a:solidFill>
              <a:latin typeface="Segoe UI Light" panose="020B0502040204020203" pitchFamily="34" charset="0"/>
              <a:ea typeface="Segoe UI" pitchFamily="34" charset="0"/>
              <a:cs typeface="Segoe UI" pitchFamily="34" charset="0"/>
            </a:endParaRPr>
          </a:p>
        </p:txBody>
      </p:sp>
      <p:pic>
        <p:nvPicPr>
          <p:cNvPr id="6" name="Picture 5"/>
          <p:cNvPicPr>
            <a:picLocks noChangeAspect="1"/>
          </p:cNvPicPr>
          <p:nvPr/>
        </p:nvPicPr>
        <p:blipFill rotWithShape="1">
          <a:blip r:embed="rId3" cstate="email">
            <a:extLst>
              <a:ext uri="{28A0092B-C50C-407E-A947-70E740481C1C}">
                <a14:useLocalDpi xmlns:a14="http://schemas.microsoft.com/office/drawing/2010/main" val="0"/>
              </a:ext>
            </a:extLst>
          </a:blip>
          <a:srcRect/>
          <a:stretch/>
        </p:blipFill>
        <p:spPr>
          <a:xfrm flipH="1">
            <a:off x="426121" y="1280706"/>
            <a:ext cx="3238735" cy="1303791"/>
          </a:xfrm>
          <a:prstGeom prst="rect">
            <a:avLst/>
          </a:prstGeom>
        </p:spPr>
      </p:pic>
      <p:sp>
        <p:nvSpPr>
          <p:cNvPr id="7" name="Title 2"/>
          <p:cNvSpPr txBox="1">
            <a:spLocks/>
          </p:cNvSpPr>
          <p:nvPr/>
        </p:nvSpPr>
        <p:spPr>
          <a:xfrm>
            <a:off x="426122" y="1277228"/>
            <a:ext cx="3238734" cy="1298161"/>
          </a:xfrm>
          <a:prstGeom prst="rect">
            <a:avLst/>
          </a:prstGeom>
          <a:solidFill>
            <a:srgbClr val="002050">
              <a:alpha val="58000"/>
            </a:srgbClr>
          </a:solidFill>
        </p:spPr>
        <p:txBody>
          <a:bodyPr vert="horz" lIns="93236" tIns="93236" rIns="54372" bIns="54372" rtlCol="0" anchor="t">
            <a:noAutofit/>
          </a:bodyPr>
          <a:lstStyle>
            <a:lvl1pPr marL="0" algn="l" defTabSz="1088105" rtl="0" eaLnBrk="1" latinLnBrk="0" hangingPunct="1">
              <a:lnSpc>
                <a:spcPct val="90000"/>
              </a:lnSpc>
              <a:spcBef>
                <a:spcPct val="0"/>
              </a:spcBef>
              <a:buNone/>
              <a:defRPr lang="en-US" sz="4000" kern="1200" spc="-58" baseline="0">
                <a:solidFill>
                  <a:srgbClr val="505050"/>
                </a:solidFill>
                <a:latin typeface="Segoe UI Light" pitchFamily="34" charset="0"/>
                <a:ea typeface="Segoe UI" pitchFamily="34" charset="0"/>
                <a:cs typeface="Segoe UI" pitchFamily="34" charset="0"/>
              </a:defRPr>
            </a:lvl1pPr>
          </a:lstStyle>
          <a:p>
            <a:pPr>
              <a:lnSpc>
                <a:spcPct val="100000"/>
              </a:lnSpc>
              <a:defRPr/>
            </a:pPr>
            <a:r>
              <a:rPr lang="ru-RU" sz="2448" dirty="0">
                <a:solidFill>
                  <a:prstClr val="white"/>
                </a:solidFill>
              </a:rPr>
              <a:t>Технологические тренды открывают новые возможности</a:t>
            </a:r>
            <a:endParaRPr sz="2448" dirty="0">
              <a:solidFill>
                <a:prstClr val="white"/>
              </a:solidFill>
            </a:endParaRPr>
          </a:p>
        </p:txBody>
      </p:sp>
      <p:sp>
        <p:nvSpPr>
          <p:cNvPr id="8" name="TextBox 7"/>
          <p:cNvSpPr txBox="1"/>
          <p:nvPr/>
        </p:nvSpPr>
        <p:spPr>
          <a:xfrm>
            <a:off x="3947582" y="1144241"/>
            <a:ext cx="4382141" cy="1333902"/>
          </a:xfrm>
          <a:prstGeom prst="rect">
            <a:avLst/>
          </a:prstGeom>
          <a:solidFill>
            <a:srgbClr val="002050"/>
          </a:solidFill>
        </p:spPr>
        <p:txBody>
          <a:bodyPr vert="horz" wrap="square" lIns="93236" tIns="93236" rIns="93236" bIns="93236" rtlCol="0" anchor="t">
            <a:noAutofit/>
          </a:bodyPr>
          <a:lstStyle/>
          <a:p>
            <a:pPr defTabSz="1109758">
              <a:spcAft>
                <a:spcPts val="612"/>
              </a:spcAft>
              <a:defRPr/>
            </a:pPr>
            <a:r>
              <a:rPr lang="ru-RU" sz="2447" kern="0" dirty="0">
                <a:solidFill>
                  <a:prstClr val="white"/>
                </a:solidFill>
                <a:latin typeface="Segoe UI Light" panose="020B0502040204020203" pitchFamily="34" charset="0"/>
                <a:ea typeface="Segoe UI" pitchFamily="34" charset="0"/>
                <a:cs typeface="Segoe UI" pitchFamily="34" charset="0"/>
              </a:rPr>
              <a:t>Государство</a:t>
            </a:r>
            <a:endParaRPr lang="en-US" sz="2447" kern="0" dirty="0">
              <a:solidFill>
                <a:prstClr val="white"/>
              </a:solidFill>
              <a:latin typeface="Segoe UI Light" panose="020B0502040204020203" pitchFamily="34" charset="0"/>
              <a:ea typeface="Segoe UI" pitchFamily="34" charset="0"/>
              <a:cs typeface="Segoe UI" pitchFamily="34" charset="0"/>
            </a:endParaRPr>
          </a:p>
          <a:p>
            <a:pPr defTabSz="1109758">
              <a:defRPr/>
            </a:pPr>
            <a:r>
              <a:rPr lang="ru-RU" sz="1428" kern="0" spc="-31" dirty="0">
                <a:solidFill>
                  <a:prstClr val="white"/>
                </a:solidFill>
              </a:rPr>
              <a:t>Граждане имеют больше</a:t>
            </a:r>
          </a:p>
          <a:p>
            <a:pPr defTabSz="1109758">
              <a:defRPr/>
            </a:pPr>
            <a:r>
              <a:rPr lang="ru-RU" sz="1428" kern="0" spc="-31" dirty="0">
                <a:solidFill>
                  <a:prstClr val="white"/>
                </a:solidFill>
              </a:rPr>
              <a:t>информации и способов доступа к ней</a:t>
            </a:r>
            <a:endParaRPr lang="en-US" sz="1428" kern="0" spc="-31" dirty="0">
              <a:solidFill>
                <a:prstClr val="white"/>
              </a:solidFill>
            </a:endParaRPr>
          </a:p>
        </p:txBody>
      </p:sp>
      <p:pic>
        <p:nvPicPr>
          <p:cNvPr id="9" name="Picture 8"/>
          <p:cNvPicPr>
            <a:picLocks noChangeAspect="1"/>
          </p:cNvPicPr>
          <p:nvPr/>
        </p:nvPicPr>
        <p:blipFill rotWithShape="1">
          <a:blip r:embed="rId4" cstate="email">
            <a:extLst>
              <a:ext uri="{28A0092B-C50C-407E-A947-70E740481C1C}">
                <a14:useLocalDpi xmlns:a14="http://schemas.microsoft.com/office/drawing/2010/main" val="0"/>
              </a:ext>
            </a:extLst>
          </a:blip>
          <a:srcRect/>
          <a:stretch/>
        </p:blipFill>
        <p:spPr>
          <a:xfrm>
            <a:off x="8655211" y="1117569"/>
            <a:ext cx="2754226" cy="1354486"/>
          </a:xfrm>
          <a:prstGeom prst="rect">
            <a:avLst/>
          </a:prstGeom>
        </p:spPr>
      </p:pic>
      <p:grpSp>
        <p:nvGrpSpPr>
          <p:cNvPr id="10" name="Group 93"/>
          <p:cNvGrpSpPr>
            <a:grpSpLocks noChangeAspect="1"/>
          </p:cNvGrpSpPr>
          <p:nvPr/>
        </p:nvGrpSpPr>
        <p:grpSpPr bwMode="auto">
          <a:xfrm>
            <a:off x="836128" y="2734827"/>
            <a:ext cx="773842" cy="963400"/>
            <a:chOff x="2750" y="-342"/>
            <a:chExt cx="2180" cy="2714"/>
          </a:xfrm>
          <a:solidFill>
            <a:srgbClr val="FFFFFF"/>
          </a:solidFill>
        </p:grpSpPr>
        <p:sp>
          <p:nvSpPr>
            <p:cNvPr id="11" name="Freeform 94"/>
            <p:cNvSpPr>
              <a:spLocks noEditPoints="1"/>
            </p:cNvSpPr>
            <p:nvPr/>
          </p:nvSpPr>
          <p:spPr bwMode="auto">
            <a:xfrm>
              <a:off x="3193" y="1079"/>
              <a:ext cx="1289" cy="1293"/>
            </a:xfrm>
            <a:custGeom>
              <a:avLst/>
              <a:gdLst>
                <a:gd name="T0" fmla="*/ 544 w 544"/>
                <a:gd name="T1" fmla="*/ 272 h 546"/>
                <a:gd name="T2" fmla="*/ 0 w 544"/>
                <a:gd name="T3" fmla="*/ 272 h 546"/>
                <a:gd name="T4" fmla="*/ 371 w 544"/>
                <a:gd name="T5" fmla="*/ 497 h 546"/>
                <a:gd name="T6" fmla="*/ 357 w 544"/>
                <a:gd name="T7" fmla="*/ 355 h 546"/>
                <a:gd name="T8" fmla="*/ 354 w 544"/>
                <a:gd name="T9" fmla="*/ 243 h 546"/>
                <a:gd name="T10" fmla="*/ 403 w 544"/>
                <a:gd name="T11" fmla="*/ 246 h 546"/>
                <a:gd name="T12" fmla="*/ 438 w 544"/>
                <a:gd name="T13" fmla="*/ 257 h 546"/>
                <a:gd name="T14" fmla="*/ 455 w 544"/>
                <a:gd name="T15" fmla="*/ 243 h 546"/>
                <a:gd name="T16" fmla="*/ 438 w 544"/>
                <a:gd name="T17" fmla="*/ 237 h 546"/>
                <a:gd name="T18" fmla="*/ 420 w 544"/>
                <a:gd name="T19" fmla="*/ 225 h 546"/>
                <a:gd name="T20" fmla="*/ 400 w 544"/>
                <a:gd name="T21" fmla="*/ 214 h 546"/>
                <a:gd name="T22" fmla="*/ 368 w 544"/>
                <a:gd name="T23" fmla="*/ 231 h 546"/>
                <a:gd name="T24" fmla="*/ 348 w 544"/>
                <a:gd name="T25" fmla="*/ 208 h 546"/>
                <a:gd name="T26" fmla="*/ 380 w 544"/>
                <a:gd name="T27" fmla="*/ 170 h 546"/>
                <a:gd name="T28" fmla="*/ 403 w 544"/>
                <a:gd name="T29" fmla="*/ 165 h 546"/>
                <a:gd name="T30" fmla="*/ 429 w 544"/>
                <a:gd name="T31" fmla="*/ 150 h 546"/>
                <a:gd name="T32" fmla="*/ 426 w 544"/>
                <a:gd name="T33" fmla="*/ 127 h 546"/>
                <a:gd name="T34" fmla="*/ 415 w 544"/>
                <a:gd name="T35" fmla="*/ 133 h 546"/>
                <a:gd name="T36" fmla="*/ 397 w 544"/>
                <a:gd name="T37" fmla="*/ 139 h 546"/>
                <a:gd name="T38" fmla="*/ 423 w 544"/>
                <a:gd name="T39" fmla="*/ 81 h 546"/>
                <a:gd name="T40" fmla="*/ 311 w 544"/>
                <a:gd name="T41" fmla="*/ 32 h 546"/>
                <a:gd name="T42" fmla="*/ 259 w 544"/>
                <a:gd name="T43" fmla="*/ 124 h 546"/>
                <a:gd name="T44" fmla="*/ 225 w 544"/>
                <a:gd name="T45" fmla="*/ 61 h 546"/>
                <a:gd name="T46" fmla="*/ 199 w 544"/>
                <a:gd name="T47" fmla="*/ 38 h 546"/>
                <a:gd name="T48" fmla="*/ 173 w 544"/>
                <a:gd name="T49" fmla="*/ 66 h 546"/>
                <a:gd name="T50" fmla="*/ 207 w 544"/>
                <a:gd name="T51" fmla="*/ 124 h 546"/>
                <a:gd name="T52" fmla="*/ 170 w 544"/>
                <a:gd name="T53" fmla="*/ 90 h 546"/>
                <a:gd name="T54" fmla="*/ 127 w 544"/>
                <a:gd name="T55" fmla="*/ 142 h 546"/>
                <a:gd name="T56" fmla="*/ 164 w 544"/>
                <a:gd name="T57" fmla="*/ 136 h 546"/>
                <a:gd name="T58" fmla="*/ 210 w 544"/>
                <a:gd name="T59" fmla="*/ 202 h 546"/>
                <a:gd name="T60" fmla="*/ 135 w 544"/>
                <a:gd name="T61" fmla="*/ 289 h 546"/>
                <a:gd name="T62" fmla="*/ 89 w 544"/>
                <a:gd name="T63" fmla="*/ 280 h 546"/>
                <a:gd name="T64" fmla="*/ 115 w 544"/>
                <a:gd name="T65" fmla="*/ 298 h 546"/>
                <a:gd name="T66" fmla="*/ 121 w 544"/>
                <a:gd name="T67" fmla="*/ 335 h 546"/>
                <a:gd name="T68" fmla="*/ 233 w 544"/>
                <a:gd name="T69" fmla="*/ 381 h 546"/>
                <a:gd name="T70" fmla="*/ 193 w 544"/>
                <a:gd name="T71" fmla="*/ 506 h 546"/>
                <a:gd name="T72" fmla="*/ 371 w 544"/>
                <a:gd name="T73" fmla="*/ 497 h 546"/>
                <a:gd name="T74" fmla="*/ 495 w 544"/>
                <a:gd name="T75" fmla="*/ 332 h 546"/>
                <a:gd name="T76" fmla="*/ 495 w 544"/>
                <a:gd name="T77" fmla="*/ 341 h 546"/>
                <a:gd name="T78" fmla="*/ 510 w 544"/>
                <a:gd name="T79" fmla="*/ 329 h 546"/>
                <a:gd name="T80" fmla="*/ 449 w 544"/>
                <a:gd name="T81" fmla="*/ 439 h 546"/>
                <a:gd name="T82" fmla="*/ 150 w 544"/>
                <a:gd name="T83" fmla="*/ 485 h 546"/>
                <a:gd name="T84" fmla="*/ 135 w 544"/>
                <a:gd name="T85" fmla="*/ 364 h 546"/>
                <a:gd name="T86" fmla="*/ 121 w 544"/>
                <a:gd name="T87" fmla="*/ 350 h 546"/>
                <a:gd name="T88" fmla="*/ 57 w 544"/>
                <a:gd name="T89" fmla="*/ 298 h 546"/>
                <a:gd name="T90" fmla="*/ 26 w 544"/>
                <a:gd name="T91" fmla="*/ 272 h 546"/>
                <a:gd name="T92" fmla="*/ 311 w 544"/>
                <a:gd name="T93" fmla="*/ 118 h 546"/>
                <a:gd name="T94" fmla="*/ 311 w 544"/>
                <a:gd name="T95" fmla="*/ 118 h 546"/>
                <a:gd name="T96" fmla="*/ 371 w 544"/>
                <a:gd name="T97" fmla="*/ 168 h 546"/>
                <a:gd name="T98" fmla="*/ 360 w 544"/>
                <a:gd name="T99" fmla="*/ 142 h 546"/>
                <a:gd name="T100" fmla="*/ 461 w 544"/>
                <a:gd name="T101" fmla="*/ 199 h 546"/>
                <a:gd name="T102" fmla="*/ 455 w 544"/>
                <a:gd name="T103" fmla="*/ 222 h 546"/>
                <a:gd name="T104" fmla="*/ 170 w 544"/>
                <a:gd name="T105" fmla="*/ 306 h 546"/>
                <a:gd name="T106" fmla="*/ 132 w 544"/>
                <a:gd name="T107" fmla="*/ 295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44" h="546">
                  <a:moveTo>
                    <a:pt x="271" y="0"/>
                  </a:moveTo>
                  <a:cubicBezTo>
                    <a:pt x="420" y="0"/>
                    <a:pt x="544" y="121"/>
                    <a:pt x="544" y="272"/>
                  </a:cubicBezTo>
                  <a:cubicBezTo>
                    <a:pt x="544" y="425"/>
                    <a:pt x="420" y="546"/>
                    <a:pt x="271" y="546"/>
                  </a:cubicBezTo>
                  <a:cubicBezTo>
                    <a:pt x="121" y="546"/>
                    <a:pt x="0" y="425"/>
                    <a:pt x="0" y="272"/>
                  </a:cubicBezTo>
                  <a:cubicBezTo>
                    <a:pt x="0" y="121"/>
                    <a:pt x="121" y="0"/>
                    <a:pt x="271" y="0"/>
                  </a:cubicBezTo>
                  <a:close/>
                  <a:moveTo>
                    <a:pt x="371" y="497"/>
                  </a:moveTo>
                  <a:cubicBezTo>
                    <a:pt x="363" y="451"/>
                    <a:pt x="389" y="373"/>
                    <a:pt x="374" y="358"/>
                  </a:cubicBezTo>
                  <a:cubicBezTo>
                    <a:pt x="368" y="355"/>
                    <a:pt x="363" y="352"/>
                    <a:pt x="357" y="355"/>
                  </a:cubicBezTo>
                  <a:cubicBezTo>
                    <a:pt x="345" y="358"/>
                    <a:pt x="334" y="364"/>
                    <a:pt x="325" y="361"/>
                  </a:cubicBezTo>
                  <a:cubicBezTo>
                    <a:pt x="276" y="338"/>
                    <a:pt x="305" y="260"/>
                    <a:pt x="354" y="243"/>
                  </a:cubicBezTo>
                  <a:cubicBezTo>
                    <a:pt x="363" y="240"/>
                    <a:pt x="371" y="240"/>
                    <a:pt x="380" y="240"/>
                  </a:cubicBezTo>
                  <a:cubicBezTo>
                    <a:pt x="394" y="237"/>
                    <a:pt x="403" y="237"/>
                    <a:pt x="403" y="246"/>
                  </a:cubicBezTo>
                  <a:cubicBezTo>
                    <a:pt x="403" y="257"/>
                    <a:pt x="426" y="266"/>
                    <a:pt x="432" y="266"/>
                  </a:cubicBezTo>
                  <a:cubicBezTo>
                    <a:pt x="435" y="266"/>
                    <a:pt x="435" y="257"/>
                    <a:pt x="438" y="257"/>
                  </a:cubicBezTo>
                  <a:cubicBezTo>
                    <a:pt x="458" y="257"/>
                    <a:pt x="472" y="269"/>
                    <a:pt x="475" y="260"/>
                  </a:cubicBezTo>
                  <a:cubicBezTo>
                    <a:pt x="481" y="231"/>
                    <a:pt x="478" y="246"/>
                    <a:pt x="455" y="243"/>
                  </a:cubicBezTo>
                  <a:cubicBezTo>
                    <a:pt x="446" y="240"/>
                    <a:pt x="452" y="225"/>
                    <a:pt x="443" y="225"/>
                  </a:cubicBezTo>
                  <a:cubicBezTo>
                    <a:pt x="438" y="222"/>
                    <a:pt x="446" y="243"/>
                    <a:pt x="438" y="237"/>
                  </a:cubicBezTo>
                  <a:cubicBezTo>
                    <a:pt x="426" y="228"/>
                    <a:pt x="420" y="208"/>
                    <a:pt x="409" y="205"/>
                  </a:cubicBezTo>
                  <a:cubicBezTo>
                    <a:pt x="394" y="202"/>
                    <a:pt x="417" y="217"/>
                    <a:pt x="420" y="225"/>
                  </a:cubicBezTo>
                  <a:cubicBezTo>
                    <a:pt x="423" y="234"/>
                    <a:pt x="412" y="246"/>
                    <a:pt x="406" y="237"/>
                  </a:cubicBezTo>
                  <a:cubicBezTo>
                    <a:pt x="403" y="234"/>
                    <a:pt x="417" y="225"/>
                    <a:pt x="400" y="214"/>
                  </a:cubicBezTo>
                  <a:cubicBezTo>
                    <a:pt x="397" y="208"/>
                    <a:pt x="389" y="208"/>
                    <a:pt x="383" y="214"/>
                  </a:cubicBezTo>
                  <a:cubicBezTo>
                    <a:pt x="374" y="222"/>
                    <a:pt x="371" y="231"/>
                    <a:pt x="368" y="231"/>
                  </a:cubicBezTo>
                  <a:cubicBezTo>
                    <a:pt x="360" y="237"/>
                    <a:pt x="354" y="237"/>
                    <a:pt x="345" y="234"/>
                  </a:cubicBezTo>
                  <a:cubicBezTo>
                    <a:pt x="334" y="231"/>
                    <a:pt x="337" y="205"/>
                    <a:pt x="348" y="208"/>
                  </a:cubicBezTo>
                  <a:cubicBezTo>
                    <a:pt x="383" y="217"/>
                    <a:pt x="351" y="196"/>
                    <a:pt x="360" y="191"/>
                  </a:cubicBezTo>
                  <a:cubicBezTo>
                    <a:pt x="363" y="188"/>
                    <a:pt x="374" y="179"/>
                    <a:pt x="380" y="170"/>
                  </a:cubicBezTo>
                  <a:cubicBezTo>
                    <a:pt x="386" y="165"/>
                    <a:pt x="383" y="147"/>
                    <a:pt x="394" y="150"/>
                  </a:cubicBezTo>
                  <a:cubicBezTo>
                    <a:pt x="400" y="150"/>
                    <a:pt x="397" y="162"/>
                    <a:pt x="403" y="165"/>
                  </a:cubicBezTo>
                  <a:cubicBezTo>
                    <a:pt x="406" y="168"/>
                    <a:pt x="415" y="165"/>
                    <a:pt x="420" y="165"/>
                  </a:cubicBezTo>
                  <a:cubicBezTo>
                    <a:pt x="429" y="165"/>
                    <a:pt x="429" y="159"/>
                    <a:pt x="429" y="150"/>
                  </a:cubicBezTo>
                  <a:cubicBezTo>
                    <a:pt x="429" y="139"/>
                    <a:pt x="449" y="142"/>
                    <a:pt x="449" y="136"/>
                  </a:cubicBezTo>
                  <a:cubicBezTo>
                    <a:pt x="446" y="127"/>
                    <a:pt x="426" y="139"/>
                    <a:pt x="426" y="127"/>
                  </a:cubicBezTo>
                  <a:cubicBezTo>
                    <a:pt x="426" y="113"/>
                    <a:pt x="443" y="110"/>
                    <a:pt x="432" y="107"/>
                  </a:cubicBezTo>
                  <a:cubicBezTo>
                    <a:pt x="423" y="104"/>
                    <a:pt x="412" y="113"/>
                    <a:pt x="415" y="133"/>
                  </a:cubicBezTo>
                  <a:cubicBezTo>
                    <a:pt x="417" y="153"/>
                    <a:pt x="420" y="162"/>
                    <a:pt x="406" y="156"/>
                  </a:cubicBezTo>
                  <a:cubicBezTo>
                    <a:pt x="394" y="147"/>
                    <a:pt x="409" y="133"/>
                    <a:pt x="397" y="139"/>
                  </a:cubicBezTo>
                  <a:cubicBezTo>
                    <a:pt x="389" y="144"/>
                    <a:pt x="383" y="147"/>
                    <a:pt x="383" y="133"/>
                  </a:cubicBezTo>
                  <a:cubicBezTo>
                    <a:pt x="383" y="121"/>
                    <a:pt x="406" y="87"/>
                    <a:pt x="423" y="81"/>
                  </a:cubicBezTo>
                  <a:cubicBezTo>
                    <a:pt x="392" y="55"/>
                    <a:pt x="354" y="38"/>
                    <a:pt x="311" y="32"/>
                  </a:cubicBezTo>
                  <a:cubicBezTo>
                    <a:pt x="311" y="32"/>
                    <a:pt x="311" y="32"/>
                    <a:pt x="311" y="32"/>
                  </a:cubicBezTo>
                  <a:cubicBezTo>
                    <a:pt x="311" y="55"/>
                    <a:pt x="311" y="69"/>
                    <a:pt x="308" y="81"/>
                  </a:cubicBezTo>
                  <a:cubicBezTo>
                    <a:pt x="308" y="95"/>
                    <a:pt x="265" y="98"/>
                    <a:pt x="259" y="124"/>
                  </a:cubicBezTo>
                  <a:cubicBezTo>
                    <a:pt x="253" y="147"/>
                    <a:pt x="245" y="133"/>
                    <a:pt x="230" y="116"/>
                  </a:cubicBezTo>
                  <a:cubicBezTo>
                    <a:pt x="216" y="98"/>
                    <a:pt x="233" y="75"/>
                    <a:pt x="225" y="61"/>
                  </a:cubicBezTo>
                  <a:cubicBezTo>
                    <a:pt x="219" y="46"/>
                    <a:pt x="193" y="66"/>
                    <a:pt x="193" y="52"/>
                  </a:cubicBezTo>
                  <a:cubicBezTo>
                    <a:pt x="193" y="46"/>
                    <a:pt x="199" y="40"/>
                    <a:pt x="199" y="38"/>
                  </a:cubicBezTo>
                  <a:cubicBezTo>
                    <a:pt x="196" y="40"/>
                    <a:pt x="193" y="40"/>
                    <a:pt x="190" y="40"/>
                  </a:cubicBezTo>
                  <a:cubicBezTo>
                    <a:pt x="181" y="46"/>
                    <a:pt x="176" y="64"/>
                    <a:pt x="173" y="66"/>
                  </a:cubicBezTo>
                  <a:cubicBezTo>
                    <a:pt x="164" y="78"/>
                    <a:pt x="184" y="75"/>
                    <a:pt x="193" y="87"/>
                  </a:cubicBezTo>
                  <a:cubicBezTo>
                    <a:pt x="204" y="104"/>
                    <a:pt x="213" y="116"/>
                    <a:pt x="207" y="124"/>
                  </a:cubicBezTo>
                  <a:cubicBezTo>
                    <a:pt x="204" y="133"/>
                    <a:pt x="170" y="124"/>
                    <a:pt x="176" y="110"/>
                  </a:cubicBezTo>
                  <a:cubicBezTo>
                    <a:pt x="184" y="95"/>
                    <a:pt x="178" y="92"/>
                    <a:pt x="170" y="90"/>
                  </a:cubicBezTo>
                  <a:cubicBezTo>
                    <a:pt x="161" y="90"/>
                    <a:pt x="161" y="101"/>
                    <a:pt x="161" y="116"/>
                  </a:cubicBezTo>
                  <a:cubicBezTo>
                    <a:pt x="161" y="127"/>
                    <a:pt x="138" y="130"/>
                    <a:pt x="127" y="142"/>
                  </a:cubicBezTo>
                  <a:cubicBezTo>
                    <a:pt x="115" y="156"/>
                    <a:pt x="135" y="168"/>
                    <a:pt x="153" y="173"/>
                  </a:cubicBezTo>
                  <a:cubicBezTo>
                    <a:pt x="170" y="179"/>
                    <a:pt x="158" y="150"/>
                    <a:pt x="164" y="136"/>
                  </a:cubicBezTo>
                  <a:cubicBezTo>
                    <a:pt x="170" y="116"/>
                    <a:pt x="190" y="133"/>
                    <a:pt x="204" y="150"/>
                  </a:cubicBezTo>
                  <a:cubicBezTo>
                    <a:pt x="216" y="168"/>
                    <a:pt x="236" y="191"/>
                    <a:pt x="210" y="202"/>
                  </a:cubicBezTo>
                  <a:cubicBezTo>
                    <a:pt x="167" y="220"/>
                    <a:pt x="150" y="240"/>
                    <a:pt x="141" y="257"/>
                  </a:cubicBezTo>
                  <a:cubicBezTo>
                    <a:pt x="132" y="274"/>
                    <a:pt x="141" y="283"/>
                    <a:pt x="135" y="289"/>
                  </a:cubicBezTo>
                  <a:cubicBezTo>
                    <a:pt x="129" y="295"/>
                    <a:pt x="129" y="286"/>
                    <a:pt x="124" y="272"/>
                  </a:cubicBezTo>
                  <a:cubicBezTo>
                    <a:pt x="118" y="263"/>
                    <a:pt x="98" y="263"/>
                    <a:pt x="89" y="280"/>
                  </a:cubicBezTo>
                  <a:cubicBezTo>
                    <a:pt x="83" y="283"/>
                    <a:pt x="83" y="292"/>
                    <a:pt x="83" y="300"/>
                  </a:cubicBezTo>
                  <a:cubicBezTo>
                    <a:pt x="83" y="329"/>
                    <a:pt x="104" y="292"/>
                    <a:pt x="115" y="298"/>
                  </a:cubicBezTo>
                  <a:cubicBezTo>
                    <a:pt x="129" y="300"/>
                    <a:pt x="104" y="303"/>
                    <a:pt x="106" y="315"/>
                  </a:cubicBezTo>
                  <a:cubicBezTo>
                    <a:pt x="109" y="326"/>
                    <a:pt x="127" y="309"/>
                    <a:pt x="121" y="335"/>
                  </a:cubicBezTo>
                  <a:cubicBezTo>
                    <a:pt x="118" y="350"/>
                    <a:pt x="141" y="338"/>
                    <a:pt x="155" y="332"/>
                  </a:cubicBezTo>
                  <a:cubicBezTo>
                    <a:pt x="187" y="321"/>
                    <a:pt x="210" y="373"/>
                    <a:pt x="233" y="381"/>
                  </a:cubicBezTo>
                  <a:cubicBezTo>
                    <a:pt x="259" y="390"/>
                    <a:pt x="268" y="396"/>
                    <a:pt x="262" y="407"/>
                  </a:cubicBezTo>
                  <a:cubicBezTo>
                    <a:pt x="245" y="442"/>
                    <a:pt x="210" y="465"/>
                    <a:pt x="193" y="506"/>
                  </a:cubicBezTo>
                  <a:cubicBezTo>
                    <a:pt x="216" y="514"/>
                    <a:pt x="245" y="517"/>
                    <a:pt x="271" y="517"/>
                  </a:cubicBezTo>
                  <a:cubicBezTo>
                    <a:pt x="308" y="517"/>
                    <a:pt x="340" y="511"/>
                    <a:pt x="371" y="497"/>
                  </a:cubicBezTo>
                  <a:close/>
                  <a:moveTo>
                    <a:pt x="510" y="329"/>
                  </a:moveTo>
                  <a:cubicBezTo>
                    <a:pt x="504" y="329"/>
                    <a:pt x="498" y="332"/>
                    <a:pt x="495" y="332"/>
                  </a:cubicBezTo>
                  <a:cubicBezTo>
                    <a:pt x="481" y="326"/>
                    <a:pt x="489" y="269"/>
                    <a:pt x="469" y="272"/>
                  </a:cubicBezTo>
                  <a:cubicBezTo>
                    <a:pt x="461" y="274"/>
                    <a:pt x="475" y="318"/>
                    <a:pt x="495" y="341"/>
                  </a:cubicBezTo>
                  <a:cubicBezTo>
                    <a:pt x="498" y="344"/>
                    <a:pt x="501" y="341"/>
                    <a:pt x="507" y="341"/>
                  </a:cubicBezTo>
                  <a:cubicBezTo>
                    <a:pt x="507" y="338"/>
                    <a:pt x="510" y="332"/>
                    <a:pt x="510" y="329"/>
                  </a:cubicBezTo>
                  <a:close/>
                  <a:moveTo>
                    <a:pt x="495" y="370"/>
                  </a:moveTo>
                  <a:cubicBezTo>
                    <a:pt x="472" y="364"/>
                    <a:pt x="455" y="416"/>
                    <a:pt x="449" y="439"/>
                  </a:cubicBezTo>
                  <a:cubicBezTo>
                    <a:pt x="469" y="419"/>
                    <a:pt x="484" y="396"/>
                    <a:pt x="495" y="370"/>
                  </a:cubicBezTo>
                  <a:close/>
                  <a:moveTo>
                    <a:pt x="150" y="485"/>
                  </a:moveTo>
                  <a:cubicBezTo>
                    <a:pt x="153" y="462"/>
                    <a:pt x="155" y="436"/>
                    <a:pt x="150" y="433"/>
                  </a:cubicBezTo>
                  <a:cubicBezTo>
                    <a:pt x="129" y="416"/>
                    <a:pt x="115" y="390"/>
                    <a:pt x="135" y="364"/>
                  </a:cubicBezTo>
                  <a:cubicBezTo>
                    <a:pt x="138" y="361"/>
                    <a:pt x="141" y="358"/>
                    <a:pt x="141" y="352"/>
                  </a:cubicBezTo>
                  <a:cubicBezTo>
                    <a:pt x="144" y="344"/>
                    <a:pt x="135" y="350"/>
                    <a:pt x="121" y="350"/>
                  </a:cubicBezTo>
                  <a:cubicBezTo>
                    <a:pt x="106" y="350"/>
                    <a:pt x="118" y="326"/>
                    <a:pt x="89" y="324"/>
                  </a:cubicBezTo>
                  <a:cubicBezTo>
                    <a:pt x="60" y="321"/>
                    <a:pt x="60" y="315"/>
                    <a:pt x="57" y="298"/>
                  </a:cubicBezTo>
                  <a:cubicBezTo>
                    <a:pt x="57" y="280"/>
                    <a:pt x="40" y="263"/>
                    <a:pt x="26" y="260"/>
                  </a:cubicBezTo>
                  <a:cubicBezTo>
                    <a:pt x="26" y="263"/>
                    <a:pt x="26" y="269"/>
                    <a:pt x="26" y="272"/>
                  </a:cubicBezTo>
                  <a:cubicBezTo>
                    <a:pt x="26" y="364"/>
                    <a:pt x="78" y="445"/>
                    <a:pt x="150" y="485"/>
                  </a:cubicBezTo>
                  <a:close/>
                  <a:moveTo>
                    <a:pt x="311" y="118"/>
                  </a:moveTo>
                  <a:cubicBezTo>
                    <a:pt x="322" y="124"/>
                    <a:pt x="334" y="116"/>
                    <a:pt x="331" y="107"/>
                  </a:cubicBezTo>
                  <a:cubicBezTo>
                    <a:pt x="322" y="92"/>
                    <a:pt x="296" y="101"/>
                    <a:pt x="311" y="118"/>
                  </a:cubicBezTo>
                  <a:close/>
                  <a:moveTo>
                    <a:pt x="360" y="142"/>
                  </a:moveTo>
                  <a:cubicBezTo>
                    <a:pt x="368" y="142"/>
                    <a:pt x="374" y="159"/>
                    <a:pt x="371" y="168"/>
                  </a:cubicBezTo>
                  <a:cubicBezTo>
                    <a:pt x="366" y="185"/>
                    <a:pt x="351" y="173"/>
                    <a:pt x="348" y="162"/>
                  </a:cubicBezTo>
                  <a:cubicBezTo>
                    <a:pt x="348" y="150"/>
                    <a:pt x="351" y="142"/>
                    <a:pt x="360" y="142"/>
                  </a:cubicBezTo>
                  <a:close/>
                  <a:moveTo>
                    <a:pt x="455" y="222"/>
                  </a:moveTo>
                  <a:cubicBezTo>
                    <a:pt x="446" y="214"/>
                    <a:pt x="449" y="202"/>
                    <a:pt x="461" y="199"/>
                  </a:cubicBezTo>
                  <a:cubicBezTo>
                    <a:pt x="481" y="196"/>
                    <a:pt x="507" y="217"/>
                    <a:pt x="489" y="222"/>
                  </a:cubicBezTo>
                  <a:cubicBezTo>
                    <a:pt x="481" y="225"/>
                    <a:pt x="466" y="225"/>
                    <a:pt x="455" y="222"/>
                  </a:cubicBezTo>
                  <a:close/>
                  <a:moveTo>
                    <a:pt x="132" y="295"/>
                  </a:moveTo>
                  <a:cubicBezTo>
                    <a:pt x="141" y="295"/>
                    <a:pt x="164" y="300"/>
                    <a:pt x="170" y="306"/>
                  </a:cubicBezTo>
                  <a:cubicBezTo>
                    <a:pt x="176" y="315"/>
                    <a:pt x="153" y="312"/>
                    <a:pt x="138" y="306"/>
                  </a:cubicBezTo>
                  <a:cubicBezTo>
                    <a:pt x="129" y="303"/>
                    <a:pt x="124" y="298"/>
                    <a:pt x="132" y="2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12" name="Freeform 95"/>
            <p:cNvSpPr>
              <a:spLocks/>
            </p:cNvSpPr>
            <p:nvPr/>
          </p:nvSpPr>
          <p:spPr bwMode="auto">
            <a:xfrm>
              <a:off x="2750" y="-342"/>
              <a:ext cx="2180" cy="609"/>
            </a:xfrm>
            <a:custGeom>
              <a:avLst/>
              <a:gdLst>
                <a:gd name="T0" fmla="*/ 920 w 920"/>
                <a:gd name="T1" fmla="*/ 193 h 257"/>
                <a:gd name="T2" fmla="*/ 865 w 920"/>
                <a:gd name="T3" fmla="*/ 249 h 257"/>
                <a:gd name="T4" fmla="*/ 847 w 920"/>
                <a:gd name="T5" fmla="*/ 246 h 257"/>
                <a:gd name="T6" fmla="*/ 710 w 920"/>
                <a:gd name="T7" fmla="*/ 152 h 257"/>
                <a:gd name="T8" fmla="*/ 518 w 920"/>
                <a:gd name="T9" fmla="*/ 97 h 257"/>
                <a:gd name="T10" fmla="*/ 286 w 920"/>
                <a:gd name="T11" fmla="*/ 121 h 257"/>
                <a:gd name="T12" fmla="*/ 121 w 920"/>
                <a:gd name="T13" fmla="*/ 206 h 257"/>
                <a:gd name="T14" fmla="*/ 71 w 920"/>
                <a:gd name="T15" fmla="*/ 247 h 257"/>
                <a:gd name="T16" fmla="*/ 53 w 920"/>
                <a:gd name="T17" fmla="*/ 249 h 257"/>
                <a:gd name="T18" fmla="*/ 0 w 920"/>
                <a:gd name="T19" fmla="*/ 193 h 257"/>
                <a:gd name="T20" fmla="*/ 430 w 920"/>
                <a:gd name="T21" fmla="*/ 8 h 257"/>
                <a:gd name="T22" fmla="*/ 920 w 920"/>
                <a:gd name="T23" fmla="*/ 193 h 2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20" h="257">
                  <a:moveTo>
                    <a:pt x="920" y="193"/>
                  </a:moveTo>
                  <a:cubicBezTo>
                    <a:pt x="901" y="213"/>
                    <a:pt x="883" y="231"/>
                    <a:pt x="865" y="249"/>
                  </a:cubicBezTo>
                  <a:cubicBezTo>
                    <a:pt x="858" y="257"/>
                    <a:pt x="852" y="251"/>
                    <a:pt x="847" y="246"/>
                  </a:cubicBezTo>
                  <a:cubicBezTo>
                    <a:pt x="806" y="208"/>
                    <a:pt x="760" y="176"/>
                    <a:pt x="710" y="152"/>
                  </a:cubicBezTo>
                  <a:cubicBezTo>
                    <a:pt x="650" y="122"/>
                    <a:pt x="586" y="104"/>
                    <a:pt x="518" y="97"/>
                  </a:cubicBezTo>
                  <a:cubicBezTo>
                    <a:pt x="439" y="89"/>
                    <a:pt x="361" y="97"/>
                    <a:pt x="286" y="121"/>
                  </a:cubicBezTo>
                  <a:cubicBezTo>
                    <a:pt x="226" y="139"/>
                    <a:pt x="171" y="168"/>
                    <a:pt x="121" y="206"/>
                  </a:cubicBezTo>
                  <a:cubicBezTo>
                    <a:pt x="104" y="219"/>
                    <a:pt x="88" y="233"/>
                    <a:pt x="71" y="247"/>
                  </a:cubicBezTo>
                  <a:cubicBezTo>
                    <a:pt x="66" y="251"/>
                    <a:pt x="61" y="256"/>
                    <a:pt x="53" y="249"/>
                  </a:cubicBezTo>
                  <a:cubicBezTo>
                    <a:pt x="36" y="231"/>
                    <a:pt x="19" y="213"/>
                    <a:pt x="0" y="193"/>
                  </a:cubicBezTo>
                  <a:cubicBezTo>
                    <a:pt x="120" y="78"/>
                    <a:pt x="264" y="14"/>
                    <a:pt x="430" y="8"/>
                  </a:cubicBezTo>
                  <a:cubicBezTo>
                    <a:pt x="619" y="0"/>
                    <a:pt x="782" y="63"/>
                    <a:pt x="920" y="1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13" name="Freeform 96"/>
            <p:cNvSpPr>
              <a:spLocks/>
            </p:cNvSpPr>
            <p:nvPr/>
          </p:nvSpPr>
          <p:spPr bwMode="auto">
            <a:xfrm>
              <a:off x="3051" y="91"/>
              <a:ext cx="1580" cy="464"/>
            </a:xfrm>
            <a:custGeom>
              <a:avLst/>
              <a:gdLst>
                <a:gd name="T0" fmla="*/ 332 w 667"/>
                <a:gd name="T1" fmla="*/ 0 h 196"/>
                <a:gd name="T2" fmla="*/ 650 w 667"/>
                <a:gd name="T3" fmla="*/ 121 h 196"/>
                <a:gd name="T4" fmla="*/ 651 w 667"/>
                <a:gd name="T5" fmla="*/ 152 h 196"/>
                <a:gd name="T6" fmla="*/ 613 w 667"/>
                <a:gd name="T7" fmla="*/ 189 h 196"/>
                <a:gd name="T8" fmla="*/ 595 w 667"/>
                <a:gd name="T9" fmla="*/ 189 h 196"/>
                <a:gd name="T10" fmla="*/ 326 w 667"/>
                <a:gd name="T11" fmla="*/ 87 h 196"/>
                <a:gd name="T12" fmla="*/ 72 w 667"/>
                <a:gd name="T13" fmla="*/ 188 h 196"/>
                <a:gd name="T14" fmla="*/ 51 w 667"/>
                <a:gd name="T15" fmla="*/ 188 h 196"/>
                <a:gd name="T16" fmla="*/ 7 w 667"/>
                <a:gd name="T17" fmla="*/ 145 h 196"/>
                <a:gd name="T18" fmla="*/ 7 w 667"/>
                <a:gd name="T19" fmla="*/ 128 h 196"/>
                <a:gd name="T20" fmla="*/ 174 w 667"/>
                <a:gd name="T21" fmla="*/ 27 h 196"/>
                <a:gd name="T22" fmla="*/ 332 w 667"/>
                <a:gd name="T23" fmla="*/ 0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67" h="196">
                  <a:moveTo>
                    <a:pt x="332" y="0"/>
                  </a:moveTo>
                  <a:cubicBezTo>
                    <a:pt x="453" y="2"/>
                    <a:pt x="559" y="40"/>
                    <a:pt x="650" y="121"/>
                  </a:cubicBezTo>
                  <a:cubicBezTo>
                    <a:pt x="667" y="136"/>
                    <a:pt x="667" y="136"/>
                    <a:pt x="651" y="152"/>
                  </a:cubicBezTo>
                  <a:cubicBezTo>
                    <a:pt x="639" y="164"/>
                    <a:pt x="626" y="176"/>
                    <a:pt x="613" y="189"/>
                  </a:cubicBezTo>
                  <a:cubicBezTo>
                    <a:pt x="607" y="196"/>
                    <a:pt x="603" y="196"/>
                    <a:pt x="595" y="189"/>
                  </a:cubicBezTo>
                  <a:cubicBezTo>
                    <a:pt x="518" y="120"/>
                    <a:pt x="428" y="86"/>
                    <a:pt x="326" y="87"/>
                  </a:cubicBezTo>
                  <a:cubicBezTo>
                    <a:pt x="229" y="89"/>
                    <a:pt x="143" y="123"/>
                    <a:pt x="72" y="188"/>
                  </a:cubicBezTo>
                  <a:cubicBezTo>
                    <a:pt x="63" y="196"/>
                    <a:pt x="58" y="196"/>
                    <a:pt x="51" y="188"/>
                  </a:cubicBezTo>
                  <a:cubicBezTo>
                    <a:pt x="37" y="173"/>
                    <a:pt x="22" y="159"/>
                    <a:pt x="7" y="145"/>
                  </a:cubicBezTo>
                  <a:cubicBezTo>
                    <a:pt x="1" y="139"/>
                    <a:pt x="0" y="134"/>
                    <a:pt x="7" y="128"/>
                  </a:cubicBezTo>
                  <a:cubicBezTo>
                    <a:pt x="56" y="83"/>
                    <a:pt x="111" y="48"/>
                    <a:pt x="174" y="27"/>
                  </a:cubicBezTo>
                  <a:cubicBezTo>
                    <a:pt x="225" y="10"/>
                    <a:pt x="278" y="0"/>
                    <a:pt x="33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14" name="Freeform 97"/>
            <p:cNvSpPr>
              <a:spLocks/>
            </p:cNvSpPr>
            <p:nvPr/>
          </p:nvSpPr>
          <p:spPr bwMode="auto">
            <a:xfrm>
              <a:off x="3352" y="513"/>
              <a:ext cx="971" cy="346"/>
            </a:xfrm>
            <a:custGeom>
              <a:avLst/>
              <a:gdLst>
                <a:gd name="T0" fmla="*/ 410 w 410"/>
                <a:gd name="T1" fmla="*/ 84 h 146"/>
                <a:gd name="T2" fmla="*/ 410 w 410"/>
                <a:gd name="T3" fmla="*/ 84 h 146"/>
                <a:gd name="T4" fmla="*/ 403 w 410"/>
                <a:gd name="T5" fmla="*/ 74 h 146"/>
                <a:gd name="T6" fmla="*/ 212 w 410"/>
                <a:gd name="T7" fmla="*/ 0 h 146"/>
                <a:gd name="T8" fmla="*/ 212 w 410"/>
                <a:gd name="T9" fmla="*/ 0 h 146"/>
                <a:gd name="T10" fmla="*/ 212 w 410"/>
                <a:gd name="T11" fmla="*/ 0 h 146"/>
                <a:gd name="T12" fmla="*/ 187 w 410"/>
                <a:gd name="T13" fmla="*/ 1 h 146"/>
                <a:gd name="T14" fmla="*/ 183 w 410"/>
                <a:gd name="T15" fmla="*/ 1 h 146"/>
                <a:gd name="T16" fmla="*/ 159 w 410"/>
                <a:gd name="T17" fmla="*/ 4 h 146"/>
                <a:gd name="T18" fmla="*/ 156 w 410"/>
                <a:gd name="T19" fmla="*/ 4 h 146"/>
                <a:gd name="T20" fmla="*/ 133 w 410"/>
                <a:gd name="T21" fmla="*/ 9 h 146"/>
                <a:gd name="T22" fmla="*/ 131 w 410"/>
                <a:gd name="T23" fmla="*/ 9 h 146"/>
                <a:gd name="T24" fmla="*/ 108 w 410"/>
                <a:gd name="T25" fmla="*/ 17 h 146"/>
                <a:gd name="T26" fmla="*/ 104 w 410"/>
                <a:gd name="T27" fmla="*/ 18 h 146"/>
                <a:gd name="T28" fmla="*/ 82 w 410"/>
                <a:gd name="T29" fmla="*/ 28 h 146"/>
                <a:gd name="T30" fmla="*/ 79 w 410"/>
                <a:gd name="T31" fmla="*/ 29 h 146"/>
                <a:gd name="T32" fmla="*/ 59 w 410"/>
                <a:gd name="T33" fmla="*/ 40 h 146"/>
                <a:gd name="T34" fmla="*/ 56 w 410"/>
                <a:gd name="T35" fmla="*/ 42 h 146"/>
                <a:gd name="T36" fmla="*/ 35 w 410"/>
                <a:gd name="T37" fmla="*/ 55 h 146"/>
                <a:gd name="T38" fmla="*/ 31 w 410"/>
                <a:gd name="T39" fmla="*/ 58 h 146"/>
                <a:gd name="T40" fmla="*/ 10 w 410"/>
                <a:gd name="T41" fmla="*/ 74 h 146"/>
                <a:gd name="T42" fmla="*/ 9 w 410"/>
                <a:gd name="T43" fmla="*/ 94 h 146"/>
                <a:gd name="T44" fmla="*/ 52 w 410"/>
                <a:gd name="T45" fmla="*/ 137 h 146"/>
                <a:gd name="T46" fmla="*/ 74 w 410"/>
                <a:gd name="T47" fmla="*/ 138 h 146"/>
                <a:gd name="T48" fmla="*/ 90 w 410"/>
                <a:gd name="T49" fmla="*/ 127 h 146"/>
                <a:gd name="T50" fmla="*/ 99 w 410"/>
                <a:gd name="T51" fmla="*/ 120 h 146"/>
                <a:gd name="T52" fmla="*/ 105 w 410"/>
                <a:gd name="T53" fmla="*/ 117 h 146"/>
                <a:gd name="T54" fmla="*/ 118 w 410"/>
                <a:gd name="T55" fmla="*/ 110 h 146"/>
                <a:gd name="T56" fmla="*/ 121 w 410"/>
                <a:gd name="T57" fmla="*/ 108 h 146"/>
                <a:gd name="T58" fmla="*/ 137 w 410"/>
                <a:gd name="T59" fmla="*/ 102 h 146"/>
                <a:gd name="T60" fmla="*/ 137 w 410"/>
                <a:gd name="T61" fmla="*/ 101 h 146"/>
                <a:gd name="T62" fmla="*/ 204 w 410"/>
                <a:gd name="T63" fmla="*/ 89 h 146"/>
                <a:gd name="T64" fmla="*/ 204 w 410"/>
                <a:gd name="T65" fmla="*/ 89 h 146"/>
                <a:gd name="T66" fmla="*/ 215 w 410"/>
                <a:gd name="T67" fmla="*/ 89 h 146"/>
                <a:gd name="T68" fmla="*/ 231 w 410"/>
                <a:gd name="T69" fmla="*/ 91 h 146"/>
                <a:gd name="T70" fmla="*/ 231 w 410"/>
                <a:gd name="T71" fmla="*/ 91 h 146"/>
                <a:gd name="T72" fmla="*/ 246 w 410"/>
                <a:gd name="T73" fmla="*/ 93 h 146"/>
                <a:gd name="T74" fmla="*/ 248 w 410"/>
                <a:gd name="T75" fmla="*/ 94 h 146"/>
                <a:gd name="T76" fmla="*/ 262 w 410"/>
                <a:gd name="T77" fmla="*/ 97 h 146"/>
                <a:gd name="T78" fmla="*/ 264 w 410"/>
                <a:gd name="T79" fmla="*/ 98 h 146"/>
                <a:gd name="T80" fmla="*/ 277 w 410"/>
                <a:gd name="T81" fmla="*/ 103 h 146"/>
                <a:gd name="T82" fmla="*/ 281 w 410"/>
                <a:gd name="T83" fmla="*/ 105 h 146"/>
                <a:gd name="T84" fmla="*/ 292 w 410"/>
                <a:gd name="T85" fmla="*/ 110 h 146"/>
                <a:gd name="T86" fmla="*/ 298 w 410"/>
                <a:gd name="T87" fmla="*/ 113 h 146"/>
                <a:gd name="T88" fmla="*/ 307 w 410"/>
                <a:gd name="T89" fmla="*/ 118 h 146"/>
                <a:gd name="T90" fmla="*/ 316 w 410"/>
                <a:gd name="T91" fmla="*/ 123 h 146"/>
                <a:gd name="T92" fmla="*/ 323 w 410"/>
                <a:gd name="T93" fmla="*/ 127 h 146"/>
                <a:gd name="T94" fmla="*/ 337 w 410"/>
                <a:gd name="T95" fmla="*/ 138 h 146"/>
                <a:gd name="T96" fmla="*/ 341 w 410"/>
                <a:gd name="T97" fmla="*/ 141 h 146"/>
                <a:gd name="T98" fmla="*/ 341 w 410"/>
                <a:gd name="T99" fmla="*/ 141 h 146"/>
                <a:gd name="T100" fmla="*/ 344 w 410"/>
                <a:gd name="T101" fmla="*/ 143 h 146"/>
                <a:gd name="T102" fmla="*/ 344 w 410"/>
                <a:gd name="T103" fmla="*/ 143 h 146"/>
                <a:gd name="T104" fmla="*/ 347 w 410"/>
                <a:gd name="T105" fmla="*/ 143 h 146"/>
                <a:gd name="T106" fmla="*/ 347 w 410"/>
                <a:gd name="T107" fmla="*/ 143 h 146"/>
                <a:gd name="T108" fmla="*/ 350 w 410"/>
                <a:gd name="T109" fmla="*/ 143 h 146"/>
                <a:gd name="T110" fmla="*/ 350 w 410"/>
                <a:gd name="T111" fmla="*/ 143 h 146"/>
                <a:gd name="T112" fmla="*/ 361 w 410"/>
                <a:gd name="T113" fmla="*/ 137 h 146"/>
                <a:gd name="T114" fmla="*/ 404 w 410"/>
                <a:gd name="T115" fmla="*/ 94 h 146"/>
                <a:gd name="T116" fmla="*/ 410 w 410"/>
                <a:gd name="T117" fmla="*/ 84 h 146"/>
                <a:gd name="T118" fmla="*/ 410 w 410"/>
                <a:gd name="T119" fmla="*/ 84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10" h="146">
                  <a:moveTo>
                    <a:pt x="410" y="84"/>
                  </a:moveTo>
                  <a:cubicBezTo>
                    <a:pt x="410" y="84"/>
                    <a:pt x="410" y="84"/>
                    <a:pt x="410" y="84"/>
                  </a:cubicBezTo>
                  <a:cubicBezTo>
                    <a:pt x="409" y="81"/>
                    <a:pt x="407" y="77"/>
                    <a:pt x="403" y="74"/>
                  </a:cubicBezTo>
                  <a:cubicBezTo>
                    <a:pt x="345" y="26"/>
                    <a:pt x="282" y="1"/>
                    <a:pt x="212" y="0"/>
                  </a:cubicBezTo>
                  <a:cubicBezTo>
                    <a:pt x="212" y="0"/>
                    <a:pt x="212" y="0"/>
                    <a:pt x="212" y="0"/>
                  </a:cubicBezTo>
                  <a:cubicBezTo>
                    <a:pt x="212" y="0"/>
                    <a:pt x="212" y="0"/>
                    <a:pt x="212" y="0"/>
                  </a:cubicBezTo>
                  <a:cubicBezTo>
                    <a:pt x="204" y="0"/>
                    <a:pt x="196" y="0"/>
                    <a:pt x="187" y="1"/>
                  </a:cubicBezTo>
                  <a:cubicBezTo>
                    <a:pt x="186" y="1"/>
                    <a:pt x="185" y="1"/>
                    <a:pt x="183" y="1"/>
                  </a:cubicBezTo>
                  <a:cubicBezTo>
                    <a:pt x="175" y="1"/>
                    <a:pt x="167" y="2"/>
                    <a:pt x="159" y="4"/>
                  </a:cubicBezTo>
                  <a:cubicBezTo>
                    <a:pt x="158" y="4"/>
                    <a:pt x="157" y="4"/>
                    <a:pt x="156" y="4"/>
                  </a:cubicBezTo>
                  <a:cubicBezTo>
                    <a:pt x="148" y="5"/>
                    <a:pt x="140" y="7"/>
                    <a:pt x="133" y="9"/>
                  </a:cubicBezTo>
                  <a:cubicBezTo>
                    <a:pt x="132" y="9"/>
                    <a:pt x="132" y="9"/>
                    <a:pt x="131" y="9"/>
                  </a:cubicBezTo>
                  <a:cubicBezTo>
                    <a:pt x="124" y="11"/>
                    <a:pt x="116" y="14"/>
                    <a:pt x="108" y="17"/>
                  </a:cubicBezTo>
                  <a:cubicBezTo>
                    <a:pt x="107" y="17"/>
                    <a:pt x="105" y="18"/>
                    <a:pt x="104" y="18"/>
                  </a:cubicBezTo>
                  <a:cubicBezTo>
                    <a:pt x="97" y="21"/>
                    <a:pt x="89" y="24"/>
                    <a:pt x="82" y="28"/>
                  </a:cubicBezTo>
                  <a:cubicBezTo>
                    <a:pt x="81" y="28"/>
                    <a:pt x="80" y="29"/>
                    <a:pt x="79" y="29"/>
                  </a:cubicBezTo>
                  <a:cubicBezTo>
                    <a:pt x="73" y="32"/>
                    <a:pt x="66" y="36"/>
                    <a:pt x="59" y="40"/>
                  </a:cubicBezTo>
                  <a:cubicBezTo>
                    <a:pt x="58" y="40"/>
                    <a:pt x="57" y="41"/>
                    <a:pt x="56" y="42"/>
                  </a:cubicBezTo>
                  <a:cubicBezTo>
                    <a:pt x="49" y="46"/>
                    <a:pt x="42" y="50"/>
                    <a:pt x="35" y="55"/>
                  </a:cubicBezTo>
                  <a:cubicBezTo>
                    <a:pt x="34" y="56"/>
                    <a:pt x="32" y="57"/>
                    <a:pt x="31" y="58"/>
                  </a:cubicBezTo>
                  <a:cubicBezTo>
                    <a:pt x="24" y="63"/>
                    <a:pt x="17" y="69"/>
                    <a:pt x="10" y="74"/>
                  </a:cubicBezTo>
                  <a:cubicBezTo>
                    <a:pt x="3" y="81"/>
                    <a:pt x="0" y="86"/>
                    <a:pt x="9" y="94"/>
                  </a:cubicBezTo>
                  <a:cubicBezTo>
                    <a:pt x="24" y="108"/>
                    <a:pt x="38" y="122"/>
                    <a:pt x="52" y="137"/>
                  </a:cubicBezTo>
                  <a:cubicBezTo>
                    <a:pt x="59" y="144"/>
                    <a:pt x="65" y="146"/>
                    <a:pt x="74" y="138"/>
                  </a:cubicBezTo>
                  <a:cubicBezTo>
                    <a:pt x="79" y="134"/>
                    <a:pt x="84" y="130"/>
                    <a:pt x="90" y="127"/>
                  </a:cubicBezTo>
                  <a:cubicBezTo>
                    <a:pt x="93" y="124"/>
                    <a:pt x="96" y="122"/>
                    <a:pt x="99" y="120"/>
                  </a:cubicBezTo>
                  <a:cubicBezTo>
                    <a:pt x="101" y="119"/>
                    <a:pt x="103" y="118"/>
                    <a:pt x="105" y="117"/>
                  </a:cubicBezTo>
                  <a:cubicBezTo>
                    <a:pt x="110" y="114"/>
                    <a:pt x="114" y="112"/>
                    <a:pt x="118" y="110"/>
                  </a:cubicBezTo>
                  <a:cubicBezTo>
                    <a:pt x="119" y="109"/>
                    <a:pt x="120" y="109"/>
                    <a:pt x="121" y="108"/>
                  </a:cubicBezTo>
                  <a:cubicBezTo>
                    <a:pt x="126" y="106"/>
                    <a:pt x="131" y="104"/>
                    <a:pt x="137" y="102"/>
                  </a:cubicBezTo>
                  <a:cubicBezTo>
                    <a:pt x="137" y="102"/>
                    <a:pt x="137" y="101"/>
                    <a:pt x="137" y="101"/>
                  </a:cubicBezTo>
                  <a:cubicBezTo>
                    <a:pt x="159" y="93"/>
                    <a:pt x="182" y="89"/>
                    <a:pt x="204" y="89"/>
                  </a:cubicBezTo>
                  <a:cubicBezTo>
                    <a:pt x="204" y="89"/>
                    <a:pt x="204" y="89"/>
                    <a:pt x="204" y="89"/>
                  </a:cubicBezTo>
                  <a:cubicBezTo>
                    <a:pt x="208" y="89"/>
                    <a:pt x="212" y="89"/>
                    <a:pt x="215" y="89"/>
                  </a:cubicBezTo>
                  <a:cubicBezTo>
                    <a:pt x="220" y="90"/>
                    <a:pt x="226" y="90"/>
                    <a:pt x="231" y="91"/>
                  </a:cubicBezTo>
                  <a:cubicBezTo>
                    <a:pt x="231" y="91"/>
                    <a:pt x="231" y="91"/>
                    <a:pt x="231" y="91"/>
                  </a:cubicBezTo>
                  <a:cubicBezTo>
                    <a:pt x="236" y="91"/>
                    <a:pt x="241" y="92"/>
                    <a:pt x="246" y="93"/>
                  </a:cubicBezTo>
                  <a:cubicBezTo>
                    <a:pt x="247" y="94"/>
                    <a:pt x="247" y="94"/>
                    <a:pt x="248" y="94"/>
                  </a:cubicBezTo>
                  <a:cubicBezTo>
                    <a:pt x="252" y="95"/>
                    <a:pt x="257" y="96"/>
                    <a:pt x="262" y="97"/>
                  </a:cubicBezTo>
                  <a:cubicBezTo>
                    <a:pt x="263" y="98"/>
                    <a:pt x="263" y="98"/>
                    <a:pt x="264" y="98"/>
                  </a:cubicBezTo>
                  <a:cubicBezTo>
                    <a:pt x="269" y="100"/>
                    <a:pt x="273" y="101"/>
                    <a:pt x="277" y="103"/>
                  </a:cubicBezTo>
                  <a:cubicBezTo>
                    <a:pt x="278" y="103"/>
                    <a:pt x="280" y="104"/>
                    <a:pt x="281" y="105"/>
                  </a:cubicBezTo>
                  <a:cubicBezTo>
                    <a:pt x="285" y="106"/>
                    <a:pt x="289" y="108"/>
                    <a:pt x="292" y="110"/>
                  </a:cubicBezTo>
                  <a:cubicBezTo>
                    <a:pt x="294" y="111"/>
                    <a:pt x="296" y="112"/>
                    <a:pt x="298" y="113"/>
                  </a:cubicBezTo>
                  <a:cubicBezTo>
                    <a:pt x="301" y="114"/>
                    <a:pt x="304" y="116"/>
                    <a:pt x="307" y="118"/>
                  </a:cubicBezTo>
                  <a:cubicBezTo>
                    <a:pt x="310" y="119"/>
                    <a:pt x="313" y="121"/>
                    <a:pt x="316" y="123"/>
                  </a:cubicBezTo>
                  <a:cubicBezTo>
                    <a:pt x="318" y="124"/>
                    <a:pt x="320" y="126"/>
                    <a:pt x="323" y="127"/>
                  </a:cubicBezTo>
                  <a:cubicBezTo>
                    <a:pt x="328" y="131"/>
                    <a:pt x="333" y="134"/>
                    <a:pt x="337" y="138"/>
                  </a:cubicBezTo>
                  <a:cubicBezTo>
                    <a:pt x="339" y="139"/>
                    <a:pt x="340" y="140"/>
                    <a:pt x="341" y="141"/>
                  </a:cubicBezTo>
                  <a:cubicBezTo>
                    <a:pt x="341" y="141"/>
                    <a:pt x="341" y="141"/>
                    <a:pt x="341" y="141"/>
                  </a:cubicBezTo>
                  <a:cubicBezTo>
                    <a:pt x="342" y="142"/>
                    <a:pt x="343" y="142"/>
                    <a:pt x="344" y="143"/>
                  </a:cubicBezTo>
                  <a:cubicBezTo>
                    <a:pt x="344" y="143"/>
                    <a:pt x="344" y="143"/>
                    <a:pt x="344" y="143"/>
                  </a:cubicBezTo>
                  <a:cubicBezTo>
                    <a:pt x="345" y="143"/>
                    <a:pt x="346" y="143"/>
                    <a:pt x="347" y="143"/>
                  </a:cubicBezTo>
                  <a:cubicBezTo>
                    <a:pt x="347" y="143"/>
                    <a:pt x="347" y="143"/>
                    <a:pt x="347" y="143"/>
                  </a:cubicBezTo>
                  <a:cubicBezTo>
                    <a:pt x="348" y="143"/>
                    <a:pt x="349" y="143"/>
                    <a:pt x="350" y="143"/>
                  </a:cubicBezTo>
                  <a:cubicBezTo>
                    <a:pt x="350" y="143"/>
                    <a:pt x="350" y="143"/>
                    <a:pt x="350" y="143"/>
                  </a:cubicBezTo>
                  <a:cubicBezTo>
                    <a:pt x="354" y="143"/>
                    <a:pt x="357" y="141"/>
                    <a:pt x="361" y="137"/>
                  </a:cubicBezTo>
                  <a:cubicBezTo>
                    <a:pt x="375" y="122"/>
                    <a:pt x="390" y="108"/>
                    <a:pt x="404" y="94"/>
                  </a:cubicBezTo>
                  <a:cubicBezTo>
                    <a:pt x="408" y="90"/>
                    <a:pt x="410" y="87"/>
                    <a:pt x="410" y="84"/>
                  </a:cubicBezTo>
                  <a:cubicBezTo>
                    <a:pt x="410" y="84"/>
                    <a:pt x="410" y="84"/>
                    <a:pt x="410" y="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grpSp>
      <p:sp>
        <p:nvSpPr>
          <p:cNvPr id="15" name="Freeform 28"/>
          <p:cNvSpPr>
            <a:spLocks/>
          </p:cNvSpPr>
          <p:nvPr/>
        </p:nvSpPr>
        <p:spPr bwMode="auto">
          <a:xfrm>
            <a:off x="2460720" y="2718803"/>
            <a:ext cx="813966" cy="850519"/>
          </a:xfrm>
          <a:custGeom>
            <a:avLst/>
            <a:gdLst>
              <a:gd name="T0" fmla="*/ 979 w 1081"/>
              <a:gd name="T1" fmla="*/ 274 h 1130"/>
              <a:gd name="T2" fmla="*/ 954 w 1081"/>
              <a:gd name="T3" fmla="*/ 378 h 1130"/>
              <a:gd name="T4" fmla="*/ 902 w 1081"/>
              <a:gd name="T5" fmla="*/ 420 h 1130"/>
              <a:gd name="T6" fmla="*/ 570 w 1081"/>
              <a:gd name="T7" fmla="*/ 518 h 1130"/>
              <a:gd name="T8" fmla="*/ 772 w 1081"/>
              <a:gd name="T9" fmla="*/ 196 h 1130"/>
              <a:gd name="T10" fmla="*/ 746 w 1081"/>
              <a:gd name="T11" fmla="*/ 123 h 1130"/>
              <a:gd name="T12" fmla="*/ 704 w 1081"/>
              <a:gd name="T13" fmla="*/ 82 h 1130"/>
              <a:gd name="T14" fmla="*/ 702 w 1081"/>
              <a:gd name="T15" fmla="*/ 129 h 1130"/>
              <a:gd name="T16" fmla="*/ 687 w 1081"/>
              <a:gd name="T17" fmla="*/ 175 h 1130"/>
              <a:gd name="T18" fmla="*/ 584 w 1081"/>
              <a:gd name="T19" fmla="*/ 427 h 1130"/>
              <a:gd name="T20" fmla="*/ 494 w 1081"/>
              <a:gd name="T21" fmla="*/ 418 h 1130"/>
              <a:gd name="T22" fmla="*/ 473 w 1081"/>
              <a:gd name="T23" fmla="*/ 210 h 1130"/>
              <a:gd name="T24" fmla="*/ 379 w 1081"/>
              <a:gd name="T25" fmla="*/ 1 h 1130"/>
              <a:gd name="T26" fmla="*/ 354 w 1081"/>
              <a:gd name="T27" fmla="*/ 106 h 1130"/>
              <a:gd name="T28" fmla="*/ 288 w 1081"/>
              <a:gd name="T29" fmla="*/ 224 h 1130"/>
              <a:gd name="T30" fmla="*/ 303 w 1081"/>
              <a:gd name="T31" fmla="*/ 232 h 1130"/>
              <a:gd name="T32" fmla="*/ 476 w 1081"/>
              <a:gd name="T33" fmla="*/ 445 h 1130"/>
              <a:gd name="T34" fmla="*/ 482 w 1081"/>
              <a:gd name="T35" fmla="*/ 527 h 1130"/>
              <a:gd name="T36" fmla="*/ 123 w 1081"/>
              <a:gd name="T37" fmla="*/ 325 h 1130"/>
              <a:gd name="T38" fmla="*/ 82 w 1081"/>
              <a:gd name="T39" fmla="*/ 284 h 1130"/>
              <a:gd name="T40" fmla="*/ 79 w 1081"/>
              <a:gd name="T41" fmla="*/ 330 h 1130"/>
              <a:gd name="T42" fmla="*/ 64 w 1081"/>
              <a:gd name="T43" fmla="*/ 377 h 1130"/>
              <a:gd name="T44" fmla="*/ 149 w 1081"/>
              <a:gd name="T45" fmla="*/ 398 h 1130"/>
              <a:gd name="T46" fmla="*/ 148 w 1081"/>
              <a:gd name="T47" fmla="*/ 689 h 1130"/>
              <a:gd name="T48" fmla="*/ 59 w 1081"/>
              <a:gd name="T49" fmla="*/ 617 h 1130"/>
              <a:gd name="T50" fmla="*/ 54 w 1081"/>
              <a:gd name="T51" fmla="*/ 703 h 1130"/>
              <a:gd name="T52" fmla="*/ 26 w 1081"/>
              <a:gd name="T53" fmla="*/ 790 h 1130"/>
              <a:gd name="T54" fmla="*/ 189 w 1081"/>
              <a:gd name="T55" fmla="*/ 828 h 1130"/>
              <a:gd name="T56" fmla="*/ 429 w 1081"/>
              <a:gd name="T57" fmla="*/ 617 h 1130"/>
              <a:gd name="T58" fmla="*/ 444 w 1081"/>
              <a:gd name="T59" fmla="*/ 627 h 1130"/>
              <a:gd name="T60" fmla="*/ 350 w 1081"/>
              <a:gd name="T61" fmla="*/ 922 h 1130"/>
              <a:gd name="T62" fmla="*/ 311 w 1081"/>
              <a:gd name="T63" fmla="*/ 936 h 1130"/>
              <a:gd name="T64" fmla="*/ 309 w 1081"/>
              <a:gd name="T65" fmla="*/ 982 h 1130"/>
              <a:gd name="T66" fmla="*/ 294 w 1081"/>
              <a:gd name="T67" fmla="*/ 1029 h 1130"/>
              <a:gd name="T68" fmla="*/ 379 w 1081"/>
              <a:gd name="T69" fmla="*/ 1049 h 1130"/>
              <a:gd name="T70" fmla="*/ 353 w 1081"/>
              <a:gd name="T71" fmla="*/ 977 h 1130"/>
              <a:gd name="T72" fmla="*/ 563 w 1081"/>
              <a:gd name="T73" fmla="*/ 687 h 1130"/>
              <a:gd name="T74" fmla="*/ 656 w 1081"/>
              <a:gd name="T75" fmla="*/ 966 h 1130"/>
              <a:gd name="T76" fmla="*/ 589 w 1081"/>
              <a:gd name="T77" fmla="*/ 1085 h 1130"/>
              <a:gd name="T78" fmla="*/ 605 w 1081"/>
              <a:gd name="T79" fmla="*/ 1093 h 1130"/>
              <a:gd name="T80" fmla="*/ 775 w 1081"/>
              <a:gd name="T81" fmla="*/ 1071 h 1130"/>
              <a:gd name="T82" fmla="*/ 681 w 1081"/>
              <a:gd name="T83" fmla="*/ 862 h 1130"/>
              <a:gd name="T84" fmla="*/ 589 w 1081"/>
              <a:gd name="T85" fmla="*/ 684 h 1130"/>
              <a:gd name="T86" fmla="*/ 630 w 1081"/>
              <a:gd name="T87" fmla="*/ 626 h 1130"/>
              <a:gd name="T88" fmla="*/ 908 w 1081"/>
              <a:gd name="T89" fmla="*/ 787 h 1130"/>
              <a:gd name="T90" fmla="*/ 921 w 1081"/>
              <a:gd name="T91" fmla="*/ 809 h 1130"/>
              <a:gd name="T92" fmla="*/ 968 w 1081"/>
              <a:gd name="T93" fmla="*/ 736 h 1130"/>
              <a:gd name="T94" fmla="*/ 943 w 1081"/>
              <a:gd name="T95" fmla="*/ 679 h 1130"/>
              <a:gd name="T96" fmla="*/ 937 w 1081"/>
              <a:gd name="T97" fmla="*/ 734 h 1130"/>
              <a:gd name="T98" fmla="*/ 608 w 1081"/>
              <a:gd name="T99" fmla="*/ 553 h 1130"/>
              <a:gd name="T100" fmla="*/ 898 w 1081"/>
              <a:gd name="T101" fmla="*/ 478 h 1130"/>
              <a:gd name="T102" fmla="*/ 923 w 1081"/>
              <a:gd name="T103" fmla="*/ 517 h 1130"/>
              <a:gd name="T104" fmla="*/ 1013 w 1081"/>
              <a:gd name="T105" fmla="*/ 382 h 1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81" h="1130">
                <a:moveTo>
                  <a:pt x="1013" y="382"/>
                </a:moveTo>
                <a:cubicBezTo>
                  <a:pt x="1013" y="382"/>
                  <a:pt x="1013" y="381"/>
                  <a:pt x="1013" y="381"/>
                </a:cubicBezTo>
                <a:cubicBezTo>
                  <a:pt x="1067" y="355"/>
                  <a:pt x="1049" y="273"/>
                  <a:pt x="979" y="274"/>
                </a:cubicBezTo>
                <a:cubicBezTo>
                  <a:pt x="974" y="275"/>
                  <a:pt x="969" y="276"/>
                  <a:pt x="965" y="277"/>
                </a:cubicBezTo>
                <a:cubicBezTo>
                  <a:pt x="951" y="282"/>
                  <a:pt x="939" y="292"/>
                  <a:pt x="933" y="304"/>
                </a:cubicBezTo>
                <a:cubicBezTo>
                  <a:pt x="917" y="330"/>
                  <a:pt x="932" y="370"/>
                  <a:pt x="954" y="378"/>
                </a:cubicBezTo>
                <a:cubicBezTo>
                  <a:pt x="954" y="378"/>
                  <a:pt x="954" y="379"/>
                  <a:pt x="954" y="379"/>
                </a:cubicBezTo>
                <a:cubicBezTo>
                  <a:pt x="945" y="384"/>
                  <a:pt x="935" y="385"/>
                  <a:pt x="927" y="390"/>
                </a:cubicBezTo>
                <a:cubicBezTo>
                  <a:pt x="919" y="396"/>
                  <a:pt x="910" y="407"/>
                  <a:pt x="902" y="420"/>
                </a:cubicBezTo>
                <a:cubicBezTo>
                  <a:pt x="588" y="532"/>
                  <a:pt x="588" y="532"/>
                  <a:pt x="588" y="532"/>
                </a:cubicBezTo>
                <a:cubicBezTo>
                  <a:pt x="581" y="528"/>
                  <a:pt x="575" y="525"/>
                  <a:pt x="568" y="523"/>
                </a:cubicBezTo>
                <a:cubicBezTo>
                  <a:pt x="570" y="518"/>
                  <a:pt x="570" y="518"/>
                  <a:pt x="570" y="518"/>
                </a:cubicBezTo>
                <a:cubicBezTo>
                  <a:pt x="592" y="505"/>
                  <a:pt x="601" y="482"/>
                  <a:pt x="598" y="459"/>
                </a:cubicBezTo>
                <a:cubicBezTo>
                  <a:pt x="720" y="203"/>
                  <a:pt x="720" y="203"/>
                  <a:pt x="720" y="203"/>
                </a:cubicBezTo>
                <a:cubicBezTo>
                  <a:pt x="739" y="206"/>
                  <a:pt x="764" y="206"/>
                  <a:pt x="772" y="196"/>
                </a:cubicBezTo>
                <a:cubicBezTo>
                  <a:pt x="775" y="191"/>
                  <a:pt x="776" y="186"/>
                  <a:pt x="777" y="178"/>
                </a:cubicBezTo>
                <a:cubicBezTo>
                  <a:pt x="782" y="154"/>
                  <a:pt x="764" y="128"/>
                  <a:pt x="746" y="124"/>
                </a:cubicBezTo>
                <a:cubicBezTo>
                  <a:pt x="746" y="124"/>
                  <a:pt x="746" y="124"/>
                  <a:pt x="746" y="123"/>
                </a:cubicBezTo>
                <a:cubicBezTo>
                  <a:pt x="774" y="110"/>
                  <a:pt x="765" y="65"/>
                  <a:pt x="728" y="66"/>
                </a:cubicBezTo>
                <a:cubicBezTo>
                  <a:pt x="726" y="66"/>
                  <a:pt x="723" y="67"/>
                  <a:pt x="721" y="67"/>
                </a:cubicBezTo>
                <a:cubicBezTo>
                  <a:pt x="714" y="70"/>
                  <a:pt x="708" y="76"/>
                  <a:pt x="704" y="82"/>
                </a:cubicBezTo>
                <a:cubicBezTo>
                  <a:pt x="697" y="96"/>
                  <a:pt x="704" y="117"/>
                  <a:pt x="715" y="122"/>
                </a:cubicBezTo>
                <a:cubicBezTo>
                  <a:pt x="715" y="122"/>
                  <a:pt x="715" y="122"/>
                  <a:pt x="715" y="122"/>
                </a:cubicBezTo>
                <a:cubicBezTo>
                  <a:pt x="711" y="125"/>
                  <a:pt x="706" y="126"/>
                  <a:pt x="702" y="129"/>
                </a:cubicBezTo>
                <a:cubicBezTo>
                  <a:pt x="691" y="136"/>
                  <a:pt x="673" y="167"/>
                  <a:pt x="681" y="186"/>
                </a:cubicBezTo>
                <a:cubicBezTo>
                  <a:pt x="684" y="184"/>
                  <a:pt x="685" y="178"/>
                  <a:pt x="687" y="176"/>
                </a:cubicBezTo>
                <a:cubicBezTo>
                  <a:pt x="687" y="175"/>
                  <a:pt x="687" y="175"/>
                  <a:pt x="687" y="175"/>
                </a:cubicBezTo>
                <a:cubicBezTo>
                  <a:pt x="688" y="180"/>
                  <a:pt x="688" y="185"/>
                  <a:pt x="689" y="190"/>
                </a:cubicBezTo>
                <a:cubicBezTo>
                  <a:pt x="690" y="192"/>
                  <a:pt x="692" y="194"/>
                  <a:pt x="695" y="195"/>
                </a:cubicBezTo>
                <a:cubicBezTo>
                  <a:pt x="584" y="427"/>
                  <a:pt x="584" y="427"/>
                  <a:pt x="584" y="427"/>
                </a:cubicBezTo>
                <a:cubicBezTo>
                  <a:pt x="573" y="413"/>
                  <a:pt x="554" y="403"/>
                  <a:pt x="529" y="403"/>
                </a:cubicBezTo>
                <a:cubicBezTo>
                  <a:pt x="524" y="404"/>
                  <a:pt x="519" y="405"/>
                  <a:pt x="514" y="407"/>
                </a:cubicBezTo>
                <a:cubicBezTo>
                  <a:pt x="507" y="409"/>
                  <a:pt x="500" y="413"/>
                  <a:pt x="494" y="418"/>
                </a:cubicBezTo>
                <a:cubicBezTo>
                  <a:pt x="437" y="256"/>
                  <a:pt x="437" y="256"/>
                  <a:pt x="437" y="256"/>
                </a:cubicBezTo>
                <a:cubicBezTo>
                  <a:pt x="448" y="253"/>
                  <a:pt x="457" y="249"/>
                  <a:pt x="462" y="242"/>
                </a:cubicBezTo>
                <a:cubicBezTo>
                  <a:pt x="469" y="233"/>
                  <a:pt x="471" y="224"/>
                  <a:pt x="473" y="210"/>
                </a:cubicBezTo>
                <a:cubicBezTo>
                  <a:pt x="481" y="165"/>
                  <a:pt x="448" y="116"/>
                  <a:pt x="413" y="109"/>
                </a:cubicBezTo>
                <a:cubicBezTo>
                  <a:pt x="413" y="109"/>
                  <a:pt x="413" y="109"/>
                  <a:pt x="413" y="108"/>
                </a:cubicBezTo>
                <a:cubicBezTo>
                  <a:pt x="467" y="82"/>
                  <a:pt x="449" y="0"/>
                  <a:pt x="379" y="1"/>
                </a:cubicBezTo>
                <a:cubicBezTo>
                  <a:pt x="374" y="2"/>
                  <a:pt x="369" y="3"/>
                  <a:pt x="365" y="4"/>
                </a:cubicBezTo>
                <a:cubicBezTo>
                  <a:pt x="351" y="9"/>
                  <a:pt x="339" y="19"/>
                  <a:pt x="333" y="31"/>
                </a:cubicBezTo>
                <a:cubicBezTo>
                  <a:pt x="317" y="58"/>
                  <a:pt x="332" y="97"/>
                  <a:pt x="354" y="106"/>
                </a:cubicBezTo>
                <a:cubicBezTo>
                  <a:pt x="354" y="106"/>
                  <a:pt x="354" y="106"/>
                  <a:pt x="354" y="106"/>
                </a:cubicBezTo>
                <a:cubicBezTo>
                  <a:pt x="345" y="111"/>
                  <a:pt x="335" y="112"/>
                  <a:pt x="327" y="118"/>
                </a:cubicBezTo>
                <a:cubicBezTo>
                  <a:pt x="306" y="132"/>
                  <a:pt x="273" y="189"/>
                  <a:pt x="288" y="224"/>
                </a:cubicBezTo>
                <a:cubicBezTo>
                  <a:pt x="293" y="221"/>
                  <a:pt x="295" y="210"/>
                  <a:pt x="298" y="205"/>
                </a:cubicBezTo>
                <a:cubicBezTo>
                  <a:pt x="299" y="205"/>
                  <a:pt x="299" y="204"/>
                  <a:pt x="299" y="204"/>
                </a:cubicBezTo>
                <a:cubicBezTo>
                  <a:pt x="300" y="213"/>
                  <a:pt x="301" y="223"/>
                  <a:pt x="303" y="232"/>
                </a:cubicBezTo>
                <a:cubicBezTo>
                  <a:pt x="306" y="238"/>
                  <a:pt x="317" y="242"/>
                  <a:pt x="323" y="245"/>
                </a:cubicBezTo>
                <a:cubicBezTo>
                  <a:pt x="341" y="253"/>
                  <a:pt x="378" y="260"/>
                  <a:pt x="410" y="259"/>
                </a:cubicBezTo>
                <a:cubicBezTo>
                  <a:pt x="476" y="445"/>
                  <a:pt x="476" y="445"/>
                  <a:pt x="476" y="445"/>
                </a:cubicBezTo>
                <a:cubicBezTo>
                  <a:pt x="467" y="473"/>
                  <a:pt x="481" y="510"/>
                  <a:pt x="502" y="518"/>
                </a:cubicBezTo>
                <a:cubicBezTo>
                  <a:pt x="502" y="518"/>
                  <a:pt x="502" y="519"/>
                  <a:pt x="502" y="519"/>
                </a:cubicBezTo>
                <a:cubicBezTo>
                  <a:pt x="496" y="523"/>
                  <a:pt x="489" y="524"/>
                  <a:pt x="482" y="527"/>
                </a:cubicBezTo>
                <a:cubicBezTo>
                  <a:pt x="155" y="372"/>
                  <a:pt x="155" y="372"/>
                  <a:pt x="155" y="372"/>
                </a:cubicBezTo>
                <a:cubicBezTo>
                  <a:pt x="155" y="350"/>
                  <a:pt x="139" y="329"/>
                  <a:pt x="124" y="326"/>
                </a:cubicBezTo>
                <a:cubicBezTo>
                  <a:pt x="124" y="326"/>
                  <a:pt x="124" y="325"/>
                  <a:pt x="123" y="325"/>
                </a:cubicBezTo>
                <a:cubicBezTo>
                  <a:pt x="152" y="311"/>
                  <a:pt x="142" y="267"/>
                  <a:pt x="106" y="267"/>
                </a:cubicBezTo>
                <a:cubicBezTo>
                  <a:pt x="103" y="268"/>
                  <a:pt x="101" y="269"/>
                  <a:pt x="98" y="269"/>
                </a:cubicBezTo>
                <a:cubicBezTo>
                  <a:pt x="91" y="272"/>
                  <a:pt x="85" y="277"/>
                  <a:pt x="82" y="284"/>
                </a:cubicBezTo>
                <a:cubicBezTo>
                  <a:pt x="74" y="298"/>
                  <a:pt x="81" y="319"/>
                  <a:pt x="93" y="324"/>
                </a:cubicBezTo>
                <a:cubicBezTo>
                  <a:pt x="93" y="324"/>
                  <a:pt x="93" y="324"/>
                  <a:pt x="93" y="324"/>
                </a:cubicBezTo>
                <a:cubicBezTo>
                  <a:pt x="88" y="327"/>
                  <a:pt x="83" y="327"/>
                  <a:pt x="79" y="330"/>
                </a:cubicBezTo>
                <a:cubicBezTo>
                  <a:pt x="68" y="338"/>
                  <a:pt x="51" y="369"/>
                  <a:pt x="58" y="388"/>
                </a:cubicBezTo>
                <a:cubicBezTo>
                  <a:pt x="61" y="386"/>
                  <a:pt x="62" y="380"/>
                  <a:pt x="64" y="377"/>
                </a:cubicBezTo>
                <a:cubicBezTo>
                  <a:pt x="64" y="377"/>
                  <a:pt x="64" y="377"/>
                  <a:pt x="64" y="377"/>
                </a:cubicBezTo>
                <a:cubicBezTo>
                  <a:pt x="65" y="382"/>
                  <a:pt x="66" y="387"/>
                  <a:pt x="66" y="392"/>
                </a:cubicBezTo>
                <a:cubicBezTo>
                  <a:pt x="68" y="395"/>
                  <a:pt x="74" y="397"/>
                  <a:pt x="77" y="399"/>
                </a:cubicBezTo>
                <a:cubicBezTo>
                  <a:pt x="92" y="406"/>
                  <a:pt x="137" y="412"/>
                  <a:pt x="149" y="398"/>
                </a:cubicBezTo>
                <a:cubicBezTo>
                  <a:pt x="460" y="545"/>
                  <a:pt x="460" y="545"/>
                  <a:pt x="460" y="545"/>
                </a:cubicBezTo>
                <a:cubicBezTo>
                  <a:pt x="452" y="556"/>
                  <a:pt x="443" y="571"/>
                  <a:pt x="437" y="586"/>
                </a:cubicBezTo>
                <a:cubicBezTo>
                  <a:pt x="148" y="689"/>
                  <a:pt x="148" y="689"/>
                  <a:pt x="148" y="689"/>
                </a:cubicBezTo>
                <a:cubicBezTo>
                  <a:pt x="192" y="659"/>
                  <a:pt x="172" y="585"/>
                  <a:pt x="106" y="587"/>
                </a:cubicBezTo>
                <a:cubicBezTo>
                  <a:pt x="101" y="588"/>
                  <a:pt x="96" y="589"/>
                  <a:pt x="91" y="590"/>
                </a:cubicBezTo>
                <a:cubicBezTo>
                  <a:pt x="78" y="595"/>
                  <a:pt x="66" y="605"/>
                  <a:pt x="59" y="617"/>
                </a:cubicBezTo>
                <a:cubicBezTo>
                  <a:pt x="44" y="643"/>
                  <a:pt x="59" y="683"/>
                  <a:pt x="81" y="691"/>
                </a:cubicBezTo>
                <a:cubicBezTo>
                  <a:pt x="81" y="691"/>
                  <a:pt x="81" y="692"/>
                  <a:pt x="81" y="692"/>
                </a:cubicBezTo>
                <a:cubicBezTo>
                  <a:pt x="72" y="697"/>
                  <a:pt x="62" y="698"/>
                  <a:pt x="54" y="703"/>
                </a:cubicBezTo>
                <a:cubicBezTo>
                  <a:pt x="33" y="718"/>
                  <a:pt x="0" y="775"/>
                  <a:pt x="14" y="809"/>
                </a:cubicBezTo>
                <a:cubicBezTo>
                  <a:pt x="20" y="807"/>
                  <a:pt x="22" y="795"/>
                  <a:pt x="25" y="791"/>
                </a:cubicBezTo>
                <a:cubicBezTo>
                  <a:pt x="25" y="790"/>
                  <a:pt x="26" y="790"/>
                  <a:pt x="26" y="790"/>
                </a:cubicBezTo>
                <a:cubicBezTo>
                  <a:pt x="27" y="799"/>
                  <a:pt x="28" y="808"/>
                  <a:pt x="30" y="818"/>
                </a:cubicBezTo>
                <a:cubicBezTo>
                  <a:pt x="33" y="824"/>
                  <a:pt x="44" y="827"/>
                  <a:pt x="50" y="830"/>
                </a:cubicBezTo>
                <a:cubicBezTo>
                  <a:pt x="80" y="844"/>
                  <a:pt x="167" y="855"/>
                  <a:pt x="189" y="828"/>
                </a:cubicBezTo>
                <a:cubicBezTo>
                  <a:pt x="196" y="819"/>
                  <a:pt x="198" y="810"/>
                  <a:pt x="200" y="796"/>
                </a:cubicBezTo>
                <a:cubicBezTo>
                  <a:pt x="206" y="763"/>
                  <a:pt x="190" y="729"/>
                  <a:pt x="168" y="709"/>
                </a:cubicBezTo>
                <a:cubicBezTo>
                  <a:pt x="429" y="617"/>
                  <a:pt x="429" y="617"/>
                  <a:pt x="429" y="617"/>
                </a:cubicBezTo>
                <a:cubicBezTo>
                  <a:pt x="427" y="628"/>
                  <a:pt x="428" y="639"/>
                  <a:pt x="432" y="648"/>
                </a:cubicBezTo>
                <a:cubicBezTo>
                  <a:pt x="438" y="646"/>
                  <a:pt x="440" y="633"/>
                  <a:pt x="443" y="628"/>
                </a:cubicBezTo>
                <a:cubicBezTo>
                  <a:pt x="444" y="627"/>
                  <a:pt x="444" y="627"/>
                  <a:pt x="444" y="627"/>
                </a:cubicBezTo>
                <a:cubicBezTo>
                  <a:pt x="445" y="637"/>
                  <a:pt x="447" y="647"/>
                  <a:pt x="448" y="658"/>
                </a:cubicBezTo>
                <a:cubicBezTo>
                  <a:pt x="452" y="664"/>
                  <a:pt x="462" y="668"/>
                  <a:pt x="469" y="671"/>
                </a:cubicBezTo>
                <a:cubicBezTo>
                  <a:pt x="350" y="922"/>
                  <a:pt x="350" y="922"/>
                  <a:pt x="350" y="922"/>
                </a:cubicBezTo>
                <a:cubicBezTo>
                  <a:pt x="345" y="920"/>
                  <a:pt x="341" y="919"/>
                  <a:pt x="335" y="919"/>
                </a:cubicBezTo>
                <a:cubicBezTo>
                  <a:pt x="333" y="920"/>
                  <a:pt x="330" y="920"/>
                  <a:pt x="328" y="921"/>
                </a:cubicBezTo>
                <a:cubicBezTo>
                  <a:pt x="321" y="924"/>
                  <a:pt x="315" y="929"/>
                  <a:pt x="311" y="936"/>
                </a:cubicBezTo>
                <a:cubicBezTo>
                  <a:pt x="304" y="950"/>
                  <a:pt x="311" y="971"/>
                  <a:pt x="322" y="976"/>
                </a:cubicBezTo>
                <a:cubicBezTo>
                  <a:pt x="322" y="976"/>
                  <a:pt x="322" y="976"/>
                  <a:pt x="322" y="976"/>
                </a:cubicBezTo>
                <a:cubicBezTo>
                  <a:pt x="318" y="979"/>
                  <a:pt x="313" y="979"/>
                  <a:pt x="309" y="982"/>
                </a:cubicBezTo>
                <a:cubicBezTo>
                  <a:pt x="298" y="990"/>
                  <a:pt x="280" y="1021"/>
                  <a:pt x="288" y="1039"/>
                </a:cubicBezTo>
                <a:cubicBezTo>
                  <a:pt x="291" y="1038"/>
                  <a:pt x="292" y="1032"/>
                  <a:pt x="294" y="1029"/>
                </a:cubicBezTo>
                <a:cubicBezTo>
                  <a:pt x="294" y="1029"/>
                  <a:pt x="294" y="1029"/>
                  <a:pt x="294" y="1029"/>
                </a:cubicBezTo>
                <a:cubicBezTo>
                  <a:pt x="295" y="1034"/>
                  <a:pt x="295" y="1039"/>
                  <a:pt x="296" y="1044"/>
                </a:cubicBezTo>
                <a:cubicBezTo>
                  <a:pt x="298" y="1047"/>
                  <a:pt x="303" y="1049"/>
                  <a:pt x="307" y="1051"/>
                </a:cubicBezTo>
                <a:cubicBezTo>
                  <a:pt x="322" y="1058"/>
                  <a:pt x="367" y="1064"/>
                  <a:pt x="379" y="1049"/>
                </a:cubicBezTo>
                <a:cubicBezTo>
                  <a:pt x="382" y="1045"/>
                  <a:pt x="383" y="1040"/>
                  <a:pt x="384" y="1032"/>
                </a:cubicBezTo>
                <a:cubicBezTo>
                  <a:pt x="388" y="1007"/>
                  <a:pt x="371" y="981"/>
                  <a:pt x="353" y="978"/>
                </a:cubicBezTo>
                <a:cubicBezTo>
                  <a:pt x="353" y="978"/>
                  <a:pt x="353" y="977"/>
                  <a:pt x="353" y="977"/>
                </a:cubicBezTo>
                <a:cubicBezTo>
                  <a:pt x="367" y="970"/>
                  <a:pt x="372" y="956"/>
                  <a:pt x="368" y="943"/>
                </a:cubicBezTo>
                <a:cubicBezTo>
                  <a:pt x="493" y="679"/>
                  <a:pt x="493" y="679"/>
                  <a:pt x="493" y="679"/>
                </a:cubicBezTo>
                <a:cubicBezTo>
                  <a:pt x="513" y="684"/>
                  <a:pt x="539" y="688"/>
                  <a:pt x="563" y="687"/>
                </a:cubicBezTo>
                <a:cubicBezTo>
                  <a:pt x="635" y="891"/>
                  <a:pt x="635" y="891"/>
                  <a:pt x="635" y="891"/>
                </a:cubicBezTo>
                <a:cubicBezTo>
                  <a:pt x="635" y="891"/>
                  <a:pt x="635" y="892"/>
                  <a:pt x="634" y="892"/>
                </a:cubicBezTo>
                <a:cubicBezTo>
                  <a:pt x="619" y="918"/>
                  <a:pt x="634" y="958"/>
                  <a:pt x="656" y="966"/>
                </a:cubicBezTo>
                <a:cubicBezTo>
                  <a:pt x="656" y="967"/>
                  <a:pt x="656" y="967"/>
                  <a:pt x="656" y="967"/>
                </a:cubicBezTo>
                <a:cubicBezTo>
                  <a:pt x="647" y="972"/>
                  <a:pt x="637" y="973"/>
                  <a:pt x="629" y="978"/>
                </a:cubicBezTo>
                <a:cubicBezTo>
                  <a:pt x="608" y="993"/>
                  <a:pt x="575" y="1050"/>
                  <a:pt x="589" y="1085"/>
                </a:cubicBezTo>
                <a:cubicBezTo>
                  <a:pt x="595" y="1082"/>
                  <a:pt x="597" y="1071"/>
                  <a:pt x="600" y="1066"/>
                </a:cubicBezTo>
                <a:cubicBezTo>
                  <a:pt x="600" y="1065"/>
                  <a:pt x="601" y="1065"/>
                  <a:pt x="601" y="1065"/>
                </a:cubicBezTo>
                <a:cubicBezTo>
                  <a:pt x="602" y="1074"/>
                  <a:pt x="603" y="1084"/>
                  <a:pt x="605" y="1093"/>
                </a:cubicBezTo>
                <a:cubicBezTo>
                  <a:pt x="608" y="1099"/>
                  <a:pt x="619" y="1102"/>
                  <a:pt x="625" y="1106"/>
                </a:cubicBezTo>
                <a:cubicBezTo>
                  <a:pt x="655" y="1119"/>
                  <a:pt x="742" y="1130"/>
                  <a:pt x="764" y="1103"/>
                </a:cubicBezTo>
                <a:cubicBezTo>
                  <a:pt x="771" y="1094"/>
                  <a:pt x="773" y="1085"/>
                  <a:pt x="775" y="1071"/>
                </a:cubicBezTo>
                <a:cubicBezTo>
                  <a:pt x="783" y="1025"/>
                  <a:pt x="749" y="977"/>
                  <a:pt x="715" y="970"/>
                </a:cubicBezTo>
                <a:cubicBezTo>
                  <a:pt x="715" y="970"/>
                  <a:pt x="715" y="969"/>
                  <a:pt x="715" y="969"/>
                </a:cubicBezTo>
                <a:cubicBezTo>
                  <a:pt x="769" y="943"/>
                  <a:pt x="751" y="861"/>
                  <a:pt x="681" y="862"/>
                </a:cubicBezTo>
                <a:cubicBezTo>
                  <a:pt x="676" y="863"/>
                  <a:pt x="671" y="864"/>
                  <a:pt x="666" y="865"/>
                </a:cubicBezTo>
                <a:cubicBezTo>
                  <a:pt x="663" y="866"/>
                  <a:pt x="659" y="868"/>
                  <a:pt x="655" y="870"/>
                </a:cubicBezTo>
                <a:cubicBezTo>
                  <a:pt x="589" y="684"/>
                  <a:pt x="589" y="684"/>
                  <a:pt x="589" y="684"/>
                </a:cubicBezTo>
                <a:cubicBezTo>
                  <a:pt x="601" y="681"/>
                  <a:pt x="612" y="676"/>
                  <a:pt x="617" y="669"/>
                </a:cubicBezTo>
                <a:cubicBezTo>
                  <a:pt x="625" y="659"/>
                  <a:pt x="626" y="649"/>
                  <a:pt x="629" y="633"/>
                </a:cubicBezTo>
                <a:cubicBezTo>
                  <a:pt x="629" y="631"/>
                  <a:pt x="630" y="628"/>
                  <a:pt x="630" y="626"/>
                </a:cubicBezTo>
                <a:cubicBezTo>
                  <a:pt x="909" y="758"/>
                  <a:pt x="909" y="758"/>
                  <a:pt x="909" y="758"/>
                </a:cubicBezTo>
                <a:cubicBezTo>
                  <a:pt x="903" y="771"/>
                  <a:pt x="898" y="786"/>
                  <a:pt x="903" y="797"/>
                </a:cubicBezTo>
                <a:cubicBezTo>
                  <a:pt x="906" y="796"/>
                  <a:pt x="907" y="790"/>
                  <a:pt x="908" y="787"/>
                </a:cubicBezTo>
                <a:cubicBezTo>
                  <a:pt x="909" y="787"/>
                  <a:pt x="909" y="787"/>
                  <a:pt x="909" y="787"/>
                </a:cubicBezTo>
                <a:cubicBezTo>
                  <a:pt x="909" y="792"/>
                  <a:pt x="910" y="797"/>
                  <a:pt x="911" y="802"/>
                </a:cubicBezTo>
                <a:cubicBezTo>
                  <a:pt x="913" y="805"/>
                  <a:pt x="918" y="807"/>
                  <a:pt x="921" y="809"/>
                </a:cubicBezTo>
                <a:cubicBezTo>
                  <a:pt x="937" y="816"/>
                  <a:pt x="982" y="822"/>
                  <a:pt x="994" y="807"/>
                </a:cubicBezTo>
                <a:cubicBezTo>
                  <a:pt x="997" y="802"/>
                  <a:pt x="998" y="797"/>
                  <a:pt x="999" y="790"/>
                </a:cubicBezTo>
                <a:cubicBezTo>
                  <a:pt x="1003" y="765"/>
                  <a:pt x="986" y="739"/>
                  <a:pt x="968" y="736"/>
                </a:cubicBezTo>
                <a:cubicBezTo>
                  <a:pt x="968" y="735"/>
                  <a:pt x="968" y="735"/>
                  <a:pt x="968" y="735"/>
                </a:cubicBezTo>
                <a:cubicBezTo>
                  <a:pt x="996" y="721"/>
                  <a:pt x="987" y="677"/>
                  <a:pt x="950" y="677"/>
                </a:cubicBezTo>
                <a:cubicBezTo>
                  <a:pt x="948" y="678"/>
                  <a:pt x="945" y="678"/>
                  <a:pt x="943" y="679"/>
                </a:cubicBezTo>
                <a:cubicBezTo>
                  <a:pt x="936" y="682"/>
                  <a:pt x="930" y="687"/>
                  <a:pt x="926" y="694"/>
                </a:cubicBezTo>
                <a:cubicBezTo>
                  <a:pt x="918" y="708"/>
                  <a:pt x="926" y="729"/>
                  <a:pt x="937" y="734"/>
                </a:cubicBezTo>
                <a:cubicBezTo>
                  <a:pt x="937" y="734"/>
                  <a:pt x="937" y="734"/>
                  <a:pt x="937" y="734"/>
                </a:cubicBezTo>
                <a:cubicBezTo>
                  <a:pt x="934" y="736"/>
                  <a:pt x="930" y="737"/>
                  <a:pt x="927" y="738"/>
                </a:cubicBezTo>
                <a:cubicBezTo>
                  <a:pt x="628" y="596"/>
                  <a:pt x="628" y="596"/>
                  <a:pt x="628" y="596"/>
                </a:cubicBezTo>
                <a:cubicBezTo>
                  <a:pt x="624" y="580"/>
                  <a:pt x="617" y="565"/>
                  <a:pt x="608" y="553"/>
                </a:cubicBezTo>
                <a:cubicBezTo>
                  <a:pt x="888" y="453"/>
                  <a:pt x="888" y="453"/>
                  <a:pt x="888" y="453"/>
                </a:cubicBezTo>
                <a:cubicBezTo>
                  <a:pt x="883" y="468"/>
                  <a:pt x="882" y="484"/>
                  <a:pt x="888" y="497"/>
                </a:cubicBezTo>
                <a:cubicBezTo>
                  <a:pt x="893" y="494"/>
                  <a:pt x="895" y="483"/>
                  <a:pt x="898" y="478"/>
                </a:cubicBezTo>
                <a:cubicBezTo>
                  <a:pt x="899" y="477"/>
                  <a:pt x="899" y="477"/>
                  <a:pt x="899" y="477"/>
                </a:cubicBezTo>
                <a:cubicBezTo>
                  <a:pt x="900" y="486"/>
                  <a:pt x="901" y="495"/>
                  <a:pt x="903" y="505"/>
                </a:cubicBezTo>
                <a:cubicBezTo>
                  <a:pt x="906" y="511"/>
                  <a:pt x="917" y="514"/>
                  <a:pt x="923" y="517"/>
                </a:cubicBezTo>
                <a:cubicBezTo>
                  <a:pt x="953" y="531"/>
                  <a:pt x="1040" y="542"/>
                  <a:pt x="1062" y="515"/>
                </a:cubicBezTo>
                <a:cubicBezTo>
                  <a:pt x="1069" y="506"/>
                  <a:pt x="1071" y="497"/>
                  <a:pt x="1073" y="483"/>
                </a:cubicBezTo>
                <a:cubicBezTo>
                  <a:pt x="1081" y="437"/>
                  <a:pt x="1048" y="389"/>
                  <a:pt x="1013" y="382"/>
                </a:cubicBezTo>
                <a:close/>
              </a:path>
            </a:pathLst>
          </a:custGeom>
          <a:solidFill>
            <a:srgbClr val="FFFFFF"/>
          </a:solidFill>
          <a:ln>
            <a:noFill/>
          </a:ln>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grpSp>
        <p:nvGrpSpPr>
          <p:cNvPr id="16" name="Group 15"/>
          <p:cNvGrpSpPr/>
          <p:nvPr/>
        </p:nvGrpSpPr>
        <p:grpSpPr>
          <a:xfrm>
            <a:off x="626905" y="5006569"/>
            <a:ext cx="1124938" cy="664943"/>
            <a:chOff x="3540126" y="1920875"/>
            <a:chExt cx="5097463" cy="3013085"/>
          </a:xfrm>
        </p:grpSpPr>
        <p:sp>
          <p:nvSpPr>
            <p:cNvPr id="17" name="Freeform 5"/>
            <p:cNvSpPr>
              <a:spLocks/>
            </p:cNvSpPr>
            <p:nvPr/>
          </p:nvSpPr>
          <p:spPr bwMode="auto">
            <a:xfrm>
              <a:off x="7381876" y="3367088"/>
              <a:ext cx="71438" cy="266700"/>
            </a:xfrm>
            <a:custGeom>
              <a:avLst/>
              <a:gdLst>
                <a:gd name="T0" fmla="*/ 14 w 19"/>
                <a:gd name="T1" fmla="*/ 2 h 71"/>
                <a:gd name="T2" fmla="*/ 1 w 19"/>
                <a:gd name="T3" fmla="*/ 24 h 71"/>
                <a:gd name="T4" fmla="*/ 0 w 19"/>
                <a:gd name="T5" fmla="*/ 47 h 71"/>
                <a:gd name="T6" fmla="*/ 9 w 19"/>
                <a:gd name="T7" fmla="*/ 64 h 71"/>
                <a:gd name="T8" fmla="*/ 16 w 19"/>
                <a:gd name="T9" fmla="*/ 7 h 71"/>
                <a:gd name="T10" fmla="*/ 14 w 19"/>
                <a:gd name="T11" fmla="*/ 2 h 71"/>
              </a:gdLst>
              <a:ahLst/>
              <a:cxnLst>
                <a:cxn ang="0">
                  <a:pos x="T0" y="T1"/>
                </a:cxn>
                <a:cxn ang="0">
                  <a:pos x="T2" y="T3"/>
                </a:cxn>
                <a:cxn ang="0">
                  <a:pos x="T4" y="T5"/>
                </a:cxn>
                <a:cxn ang="0">
                  <a:pos x="T6" y="T7"/>
                </a:cxn>
                <a:cxn ang="0">
                  <a:pos x="T8" y="T9"/>
                </a:cxn>
                <a:cxn ang="0">
                  <a:pos x="T10" y="T11"/>
                </a:cxn>
              </a:cxnLst>
              <a:rect l="0" t="0" r="r" b="b"/>
              <a:pathLst>
                <a:path w="19" h="71">
                  <a:moveTo>
                    <a:pt x="14" y="2"/>
                  </a:moveTo>
                  <a:cubicBezTo>
                    <a:pt x="12" y="0"/>
                    <a:pt x="4" y="5"/>
                    <a:pt x="1" y="24"/>
                  </a:cubicBezTo>
                  <a:cubicBezTo>
                    <a:pt x="0" y="30"/>
                    <a:pt x="0" y="38"/>
                    <a:pt x="0" y="47"/>
                  </a:cubicBezTo>
                  <a:cubicBezTo>
                    <a:pt x="0" y="57"/>
                    <a:pt x="2" y="71"/>
                    <a:pt x="9" y="64"/>
                  </a:cubicBezTo>
                  <a:cubicBezTo>
                    <a:pt x="18" y="54"/>
                    <a:pt x="19" y="20"/>
                    <a:pt x="16" y="7"/>
                  </a:cubicBezTo>
                  <a:cubicBezTo>
                    <a:pt x="16" y="4"/>
                    <a:pt x="15" y="2"/>
                    <a:pt x="14"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18" name="Freeform 6"/>
            <p:cNvSpPr>
              <a:spLocks noEditPoints="1"/>
            </p:cNvSpPr>
            <p:nvPr/>
          </p:nvSpPr>
          <p:spPr bwMode="auto">
            <a:xfrm>
              <a:off x="5273676" y="1920875"/>
              <a:ext cx="2146300" cy="1577977"/>
            </a:xfrm>
            <a:custGeom>
              <a:avLst/>
              <a:gdLst>
                <a:gd name="T0" fmla="*/ 485 w 571"/>
                <a:gd name="T1" fmla="*/ 95 h 419"/>
                <a:gd name="T2" fmla="*/ 51 w 571"/>
                <a:gd name="T3" fmla="*/ 79 h 419"/>
                <a:gd name="T4" fmla="*/ 76 w 571"/>
                <a:gd name="T5" fmla="*/ 162 h 419"/>
                <a:gd name="T6" fmla="*/ 99 w 571"/>
                <a:gd name="T7" fmla="*/ 116 h 419"/>
                <a:gd name="T8" fmla="*/ 117 w 571"/>
                <a:gd name="T9" fmla="*/ 141 h 419"/>
                <a:gd name="T10" fmla="*/ 88 w 571"/>
                <a:gd name="T11" fmla="*/ 168 h 419"/>
                <a:gd name="T12" fmla="*/ 116 w 571"/>
                <a:gd name="T13" fmla="*/ 168 h 419"/>
                <a:gd name="T14" fmla="*/ 126 w 571"/>
                <a:gd name="T15" fmla="*/ 193 h 419"/>
                <a:gd name="T16" fmla="*/ 249 w 571"/>
                <a:gd name="T17" fmla="*/ 244 h 419"/>
                <a:gd name="T18" fmla="*/ 226 w 571"/>
                <a:gd name="T19" fmla="*/ 399 h 419"/>
                <a:gd name="T20" fmla="*/ 337 w 571"/>
                <a:gd name="T21" fmla="*/ 414 h 419"/>
                <a:gd name="T22" fmla="*/ 418 w 571"/>
                <a:gd name="T23" fmla="*/ 395 h 419"/>
                <a:gd name="T24" fmla="*/ 560 w 571"/>
                <a:gd name="T25" fmla="*/ 294 h 419"/>
                <a:gd name="T26" fmla="*/ 571 w 571"/>
                <a:gd name="T27" fmla="*/ 266 h 419"/>
                <a:gd name="T28" fmla="*/ 104 w 571"/>
                <a:gd name="T29" fmla="*/ 92 h 419"/>
                <a:gd name="T30" fmla="*/ 111 w 571"/>
                <a:gd name="T31" fmla="*/ 72 h 419"/>
                <a:gd name="T32" fmla="*/ 194 w 571"/>
                <a:gd name="T33" fmla="*/ 65 h 419"/>
                <a:gd name="T34" fmla="*/ 154 w 571"/>
                <a:gd name="T35" fmla="*/ 45 h 419"/>
                <a:gd name="T36" fmla="*/ 220 w 571"/>
                <a:gd name="T37" fmla="*/ 48 h 419"/>
                <a:gd name="T38" fmla="*/ 178 w 571"/>
                <a:gd name="T39" fmla="*/ 210 h 419"/>
                <a:gd name="T40" fmla="*/ 249 w 571"/>
                <a:gd name="T41" fmla="*/ 220 h 419"/>
                <a:gd name="T42" fmla="*/ 251 w 571"/>
                <a:gd name="T43" fmla="*/ 19 h 419"/>
                <a:gd name="T44" fmla="*/ 452 w 571"/>
                <a:gd name="T45" fmla="*/ 93 h 419"/>
                <a:gd name="T46" fmla="*/ 391 w 571"/>
                <a:gd name="T47" fmla="*/ 82 h 419"/>
                <a:gd name="T48" fmla="*/ 384 w 571"/>
                <a:gd name="T49" fmla="*/ 66 h 419"/>
                <a:gd name="T50" fmla="*/ 403 w 571"/>
                <a:gd name="T51" fmla="*/ 168 h 419"/>
                <a:gd name="T52" fmla="*/ 361 w 571"/>
                <a:gd name="T53" fmla="*/ 205 h 419"/>
                <a:gd name="T54" fmla="*/ 270 w 571"/>
                <a:gd name="T55" fmla="*/ 220 h 419"/>
                <a:gd name="T56" fmla="*/ 341 w 571"/>
                <a:gd name="T57" fmla="*/ 210 h 419"/>
                <a:gd name="T58" fmla="*/ 398 w 571"/>
                <a:gd name="T59" fmla="*/ 106 h 419"/>
                <a:gd name="T60" fmla="*/ 455 w 571"/>
                <a:gd name="T61" fmla="*/ 146 h 419"/>
                <a:gd name="T62" fmla="*/ 421 w 571"/>
                <a:gd name="T63" fmla="*/ 157 h 419"/>
                <a:gd name="T64" fmla="*/ 366 w 571"/>
                <a:gd name="T65" fmla="*/ 45 h 419"/>
                <a:gd name="T66" fmla="*/ 339 w 571"/>
                <a:gd name="T67" fmla="*/ 36 h 419"/>
                <a:gd name="T68" fmla="*/ 306 w 571"/>
                <a:gd name="T69" fmla="*/ 23 h 419"/>
                <a:gd name="T70" fmla="*/ 270 w 571"/>
                <a:gd name="T71" fmla="*/ 397 h 419"/>
                <a:gd name="T72" fmla="*/ 369 w 571"/>
                <a:gd name="T73" fmla="*/ 279 h 419"/>
                <a:gd name="T74" fmla="*/ 395 w 571"/>
                <a:gd name="T75" fmla="*/ 377 h 419"/>
                <a:gd name="T76" fmla="*/ 401 w 571"/>
                <a:gd name="T77" fmla="*/ 315 h 419"/>
                <a:gd name="T78" fmla="*/ 370 w 571"/>
                <a:gd name="T79" fmla="*/ 226 h 419"/>
                <a:gd name="T80" fmla="*/ 505 w 571"/>
                <a:gd name="T81" fmla="*/ 326 h 419"/>
                <a:gd name="T82" fmla="*/ 510 w 571"/>
                <a:gd name="T83" fmla="*/ 284 h 419"/>
                <a:gd name="T84" fmla="*/ 478 w 571"/>
                <a:gd name="T85" fmla="*/ 154 h 419"/>
                <a:gd name="T86" fmla="*/ 549 w 571"/>
                <a:gd name="T87" fmla="*/ 255 h 4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71" h="419">
                  <a:moveTo>
                    <a:pt x="568" y="250"/>
                  </a:moveTo>
                  <a:cubicBezTo>
                    <a:pt x="558" y="197"/>
                    <a:pt x="533" y="149"/>
                    <a:pt x="499" y="110"/>
                  </a:cubicBezTo>
                  <a:cubicBezTo>
                    <a:pt x="494" y="104"/>
                    <a:pt x="490" y="99"/>
                    <a:pt x="485" y="95"/>
                  </a:cubicBezTo>
                  <a:cubicBezTo>
                    <a:pt x="483" y="93"/>
                    <a:pt x="468" y="79"/>
                    <a:pt x="468" y="79"/>
                  </a:cubicBezTo>
                  <a:cubicBezTo>
                    <a:pt x="413" y="31"/>
                    <a:pt x="340" y="1"/>
                    <a:pt x="260" y="0"/>
                  </a:cubicBezTo>
                  <a:cubicBezTo>
                    <a:pt x="180" y="1"/>
                    <a:pt x="107" y="31"/>
                    <a:pt x="51" y="79"/>
                  </a:cubicBezTo>
                  <a:cubicBezTo>
                    <a:pt x="51" y="79"/>
                    <a:pt x="34" y="93"/>
                    <a:pt x="21" y="110"/>
                  </a:cubicBezTo>
                  <a:cubicBezTo>
                    <a:pt x="14" y="118"/>
                    <a:pt x="7" y="127"/>
                    <a:pt x="0" y="137"/>
                  </a:cubicBezTo>
                  <a:cubicBezTo>
                    <a:pt x="27" y="141"/>
                    <a:pt x="53" y="150"/>
                    <a:pt x="76" y="162"/>
                  </a:cubicBezTo>
                  <a:cubicBezTo>
                    <a:pt x="71" y="157"/>
                    <a:pt x="67" y="152"/>
                    <a:pt x="64" y="146"/>
                  </a:cubicBezTo>
                  <a:cubicBezTo>
                    <a:pt x="63" y="144"/>
                    <a:pt x="62" y="141"/>
                    <a:pt x="61" y="139"/>
                  </a:cubicBezTo>
                  <a:cubicBezTo>
                    <a:pt x="73" y="130"/>
                    <a:pt x="86" y="123"/>
                    <a:pt x="99" y="116"/>
                  </a:cubicBezTo>
                  <a:cubicBezTo>
                    <a:pt x="106" y="112"/>
                    <a:pt x="114" y="109"/>
                    <a:pt x="121" y="106"/>
                  </a:cubicBezTo>
                  <a:cubicBezTo>
                    <a:pt x="146" y="95"/>
                    <a:pt x="173" y="87"/>
                    <a:pt x="202" y="83"/>
                  </a:cubicBezTo>
                  <a:cubicBezTo>
                    <a:pt x="172" y="98"/>
                    <a:pt x="143" y="118"/>
                    <a:pt x="117" y="141"/>
                  </a:cubicBezTo>
                  <a:cubicBezTo>
                    <a:pt x="111" y="146"/>
                    <a:pt x="105" y="152"/>
                    <a:pt x="99" y="157"/>
                  </a:cubicBezTo>
                  <a:cubicBezTo>
                    <a:pt x="98" y="158"/>
                    <a:pt x="97" y="159"/>
                    <a:pt x="96" y="160"/>
                  </a:cubicBezTo>
                  <a:cubicBezTo>
                    <a:pt x="93" y="163"/>
                    <a:pt x="91" y="165"/>
                    <a:pt x="88" y="168"/>
                  </a:cubicBezTo>
                  <a:cubicBezTo>
                    <a:pt x="94" y="171"/>
                    <a:pt x="100" y="175"/>
                    <a:pt x="106" y="178"/>
                  </a:cubicBezTo>
                  <a:cubicBezTo>
                    <a:pt x="108" y="176"/>
                    <a:pt x="111" y="173"/>
                    <a:pt x="113" y="171"/>
                  </a:cubicBezTo>
                  <a:cubicBezTo>
                    <a:pt x="114" y="170"/>
                    <a:pt x="115" y="169"/>
                    <a:pt x="116" y="168"/>
                  </a:cubicBezTo>
                  <a:cubicBezTo>
                    <a:pt x="149" y="137"/>
                    <a:pt x="187" y="111"/>
                    <a:pt x="226" y="93"/>
                  </a:cubicBezTo>
                  <a:cubicBezTo>
                    <a:pt x="202" y="123"/>
                    <a:pt x="179" y="161"/>
                    <a:pt x="159" y="205"/>
                  </a:cubicBezTo>
                  <a:cubicBezTo>
                    <a:pt x="147" y="202"/>
                    <a:pt x="136" y="198"/>
                    <a:pt x="126" y="193"/>
                  </a:cubicBezTo>
                  <a:cubicBezTo>
                    <a:pt x="141" y="206"/>
                    <a:pt x="155" y="219"/>
                    <a:pt x="167" y="235"/>
                  </a:cubicBezTo>
                  <a:cubicBezTo>
                    <a:pt x="168" y="234"/>
                    <a:pt x="168" y="233"/>
                    <a:pt x="169" y="232"/>
                  </a:cubicBezTo>
                  <a:cubicBezTo>
                    <a:pt x="198" y="239"/>
                    <a:pt x="225" y="243"/>
                    <a:pt x="249" y="244"/>
                  </a:cubicBezTo>
                  <a:cubicBezTo>
                    <a:pt x="249" y="397"/>
                    <a:pt x="249" y="397"/>
                    <a:pt x="249" y="397"/>
                  </a:cubicBezTo>
                  <a:cubicBezTo>
                    <a:pt x="242" y="396"/>
                    <a:pt x="234" y="396"/>
                    <a:pt x="226" y="395"/>
                  </a:cubicBezTo>
                  <a:cubicBezTo>
                    <a:pt x="226" y="397"/>
                    <a:pt x="226" y="398"/>
                    <a:pt x="226" y="399"/>
                  </a:cubicBezTo>
                  <a:cubicBezTo>
                    <a:pt x="226" y="405"/>
                    <a:pt x="226" y="412"/>
                    <a:pt x="225" y="418"/>
                  </a:cubicBezTo>
                  <a:cubicBezTo>
                    <a:pt x="237" y="418"/>
                    <a:pt x="248" y="419"/>
                    <a:pt x="260" y="419"/>
                  </a:cubicBezTo>
                  <a:cubicBezTo>
                    <a:pt x="286" y="419"/>
                    <a:pt x="312" y="417"/>
                    <a:pt x="337" y="414"/>
                  </a:cubicBezTo>
                  <a:cubicBezTo>
                    <a:pt x="358" y="410"/>
                    <a:pt x="378" y="406"/>
                    <a:pt x="399" y="400"/>
                  </a:cubicBezTo>
                  <a:cubicBezTo>
                    <a:pt x="399" y="401"/>
                    <a:pt x="399" y="401"/>
                    <a:pt x="399" y="401"/>
                  </a:cubicBezTo>
                  <a:cubicBezTo>
                    <a:pt x="405" y="399"/>
                    <a:pt x="412" y="397"/>
                    <a:pt x="418" y="395"/>
                  </a:cubicBezTo>
                  <a:cubicBezTo>
                    <a:pt x="418" y="395"/>
                    <a:pt x="418" y="395"/>
                    <a:pt x="418" y="394"/>
                  </a:cubicBezTo>
                  <a:cubicBezTo>
                    <a:pt x="428" y="391"/>
                    <a:pt x="437" y="388"/>
                    <a:pt x="446" y="385"/>
                  </a:cubicBezTo>
                  <a:cubicBezTo>
                    <a:pt x="492" y="364"/>
                    <a:pt x="532" y="334"/>
                    <a:pt x="560" y="294"/>
                  </a:cubicBezTo>
                  <a:cubicBezTo>
                    <a:pt x="560" y="294"/>
                    <a:pt x="561" y="293"/>
                    <a:pt x="561" y="292"/>
                  </a:cubicBezTo>
                  <a:cubicBezTo>
                    <a:pt x="562" y="289"/>
                    <a:pt x="564" y="286"/>
                    <a:pt x="565" y="282"/>
                  </a:cubicBezTo>
                  <a:cubicBezTo>
                    <a:pt x="571" y="266"/>
                    <a:pt x="571" y="266"/>
                    <a:pt x="571" y="266"/>
                  </a:cubicBezTo>
                  <a:cubicBezTo>
                    <a:pt x="570" y="261"/>
                    <a:pt x="569" y="253"/>
                    <a:pt x="568" y="250"/>
                  </a:cubicBezTo>
                  <a:close/>
                  <a:moveTo>
                    <a:pt x="128" y="82"/>
                  </a:moveTo>
                  <a:cubicBezTo>
                    <a:pt x="120" y="85"/>
                    <a:pt x="112" y="88"/>
                    <a:pt x="104" y="92"/>
                  </a:cubicBezTo>
                  <a:cubicBezTo>
                    <a:pt x="88" y="99"/>
                    <a:pt x="73" y="108"/>
                    <a:pt x="58" y="117"/>
                  </a:cubicBezTo>
                  <a:cubicBezTo>
                    <a:pt x="59" y="109"/>
                    <a:pt x="62" y="102"/>
                    <a:pt x="67" y="93"/>
                  </a:cubicBezTo>
                  <a:cubicBezTo>
                    <a:pt x="80" y="84"/>
                    <a:pt x="94" y="77"/>
                    <a:pt x="111" y="72"/>
                  </a:cubicBezTo>
                  <a:cubicBezTo>
                    <a:pt x="119" y="70"/>
                    <a:pt x="127" y="68"/>
                    <a:pt x="135" y="66"/>
                  </a:cubicBezTo>
                  <a:cubicBezTo>
                    <a:pt x="147" y="64"/>
                    <a:pt x="159" y="63"/>
                    <a:pt x="171" y="63"/>
                  </a:cubicBezTo>
                  <a:cubicBezTo>
                    <a:pt x="179" y="63"/>
                    <a:pt x="187" y="64"/>
                    <a:pt x="194" y="65"/>
                  </a:cubicBezTo>
                  <a:cubicBezTo>
                    <a:pt x="171" y="69"/>
                    <a:pt x="149" y="74"/>
                    <a:pt x="128" y="82"/>
                  </a:cubicBezTo>
                  <a:close/>
                  <a:moveTo>
                    <a:pt x="171" y="44"/>
                  </a:moveTo>
                  <a:cubicBezTo>
                    <a:pt x="165" y="44"/>
                    <a:pt x="159" y="44"/>
                    <a:pt x="154" y="45"/>
                  </a:cubicBezTo>
                  <a:cubicBezTo>
                    <a:pt x="158" y="42"/>
                    <a:pt x="162" y="39"/>
                    <a:pt x="166" y="38"/>
                  </a:cubicBezTo>
                  <a:cubicBezTo>
                    <a:pt x="171" y="36"/>
                    <a:pt x="175" y="36"/>
                    <a:pt x="180" y="36"/>
                  </a:cubicBezTo>
                  <a:cubicBezTo>
                    <a:pt x="192" y="36"/>
                    <a:pt x="206" y="40"/>
                    <a:pt x="220" y="48"/>
                  </a:cubicBezTo>
                  <a:cubicBezTo>
                    <a:pt x="203" y="45"/>
                    <a:pt x="187" y="44"/>
                    <a:pt x="171" y="44"/>
                  </a:cubicBezTo>
                  <a:close/>
                  <a:moveTo>
                    <a:pt x="249" y="220"/>
                  </a:moveTo>
                  <a:cubicBezTo>
                    <a:pt x="226" y="220"/>
                    <a:pt x="203" y="216"/>
                    <a:pt x="178" y="210"/>
                  </a:cubicBezTo>
                  <a:cubicBezTo>
                    <a:pt x="197" y="169"/>
                    <a:pt x="220" y="132"/>
                    <a:pt x="244" y="103"/>
                  </a:cubicBezTo>
                  <a:cubicBezTo>
                    <a:pt x="246" y="100"/>
                    <a:pt x="247" y="96"/>
                    <a:pt x="249" y="94"/>
                  </a:cubicBezTo>
                  <a:lnTo>
                    <a:pt x="249" y="220"/>
                  </a:lnTo>
                  <a:close/>
                  <a:moveTo>
                    <a:pt x="251" y="47"/>
                  </a:moveTo>
                  <a:cubicBezTo>
                    <a:pt x="238" y="36"/>
                    <a:pt x="226" y="28"/>
                    <a:pt x="213" y="23"/>
                  </a:cubicBezTo>
                  <a:cubicBezTo>
                    <a:pt x="226" y="21"/>
                    <a:pt x="238" y="20"/>
                    <a:pt x="251" y="19"/>
                  </a:cubicBezTo>
                  <a:cubicBezTo>
                    <a:pt x="251" y="47"/>
                    <a:pt x="251" y="47"/>
                    <a:pt x="251" y="47"/>
                  </a:cubicBezTo>
                  <a:close/>
                  <a:moveTo>
                    <a:pt x="409" y="72"/>
                  </a:moveTo>
                  <a:cubicBezTo>
                    <a:pt x="425" y="77"/>
                    <a:pt x="439" y="84"/>
                    <a:pt x="452" y="93"/>
                  </a:cubicBezTo>
                  <a:cubicBezTo>
                    <a:pt x="457" y="101"/>
                    <a:pt x="460" y="109"/>
                    <a:pt x="461" y="117"/>
                  </a:cubicBezTo>
                  <a:cubicBezTo>
                    <a:pt x="447" y="107"/>
                    <a:pt x="431" y="99"/>
                    <a:pt x="415" y="92"/>
                  </a:cubicBezTo>
                  <a:cubicBezTo>
                    <a:pt x="407" y="88"/>
                    <a:pt x="400" y="85"/>
                    <a:pt x="391" y="82"/>
                  </a:cubicBezTo>
                  <a:cubicBezTo>
                    <a:pt x="370" y="74"/>
                    <a:pt x="348" y="69"/>
                    <a:pt x="325" y="65"/>
                  </a:cubicBezTo>
                  <a:cubicBezTo>
                    <a:pt x="333" y="64"/>
                    <a:pt x="341" y="63"/>
                    <a:pt x="348" y="63"/>
                  </a:cubicBezTo>
                  <a:cubicBezTo>
                    <a:pt x="361" y="63"/>
                    <a:pt x="373" y="64"/>
                    <a:pt x="384" y="66"/>
                  </a:cubicBezTo>
                  <a:cubicBezTo>
                    <a:pt x="393" y="68"/>
                    <a:pt x="401" y="70"/>
                    <a:pt x="409" y="72"/>
                  </a:cubicBezTo>
                  <a:close/>
                  <a:moveTo>
                    <a:pt x="293" y="93"/>
                  </a:moveTo>
                  <a:cubicBezTo>
                    <a:pt x="332" y="111"/>
                    <a:pt x="370" y="137"/>
                    <a:pt x="403" y="168"/>
                  </a:cubicBezTo>
                  <a:cubicBezTo>
                    <a:pt x="404" y="169"/>
                    <a:pt x="405" y="170"/>
                    <a:pt x="406" y="171"/>
                  </a:cubicBezTo>
                  <a:cubicBezTo>
                    <a:pt x="410" y="174"/>
                    <a:pt x="413" y="178"/>
                    <a:pt x="417" y="181"/>
                  </a:cubicBezTo>
                  <a:cubicBezTo>
                    <a:pt x="401" y="191"/>
                    <a:pt x="381" y="199"/>
                    <a:pt x="361" y="205"/>
                  </a:cubicBezTo>
                  <a:cubicBezTo>
                    <a:pt x="341" y="161"/>
                    <a:pt x="318" y="123"/>
                    <a:pt x="293" y="93"/>
                  </a:cubicBezTo>
                  <a:close/>
                  <a:moveTo>
                    <a:pt x="341" y="210"/>
                  </a:moveTo>
                  <a:cubicBezTo>
                    <a:pt x="317" y="216"/>
                    <a:pt x="293" y="220"/>
                    <a:pt x="270" y="220"/>
                  </a:cubicBezTo>
                  <a:cubicBezTo>
                    <a:pt x="270" y="94"/>
                    <a:pt x="270" y="94"/>
                    <a:pt x="270" y="94"/>
                  </a:cubicBezTo>
                  <a:cubicBezTo>
                    <a:pt x="273" y="96"/>
                    <a:pt x="273" y="100"/>
                    <a:pt x="276" y="103"/>
                  </a:cubicBezTo>
                  <a:cubicBezTo>
                    <a:pt x="300" y="132"/>
                    <a:pt x="322" y="169"/>
                    <a:pt x="341" y="210"/>
                  </a:cubicBezTo>
                  <a:close/>
                  <a:moveTo>
                    <a:pt x="403" y="141"/>
                  </a:moveTo>
                  <a:cubicBezTo>
                    <a:pt x="376" y="118"/>
                    <a:pt x="347" y="98"/>
                    <a:pt x="318" y="83"/>
                  </a:cubicBezTo>
                  <a:cubicBezTo>
                    <a:pt x="346" y="87"/>
                    <a:pt x="373" y="95"/>
                    <a:pt x="398" y="106"/>
                  </a:cubicBezTo>
                  <a:cubicBezTo>
                    <a:pt x="406" y="109"/>
                    <a:pt x="413" y="112"/>
                    <a:pt x="420" y="116"/>
                  </a:cubicBezTo>
                  <a:cubicBezTo>
                    <a:pt x="434" y="123"/>
                    <a:pt x="447" y="130"/>
                    <a:pt x="459" y="139"/>
                  </a:cubicBezTo>
                  <a:cubicBezTo>
                    <a:pt x="458" y="141"/>
                    <a:pt x="457" y="144"/>
                    <a:pt x="455" y="146"/>
                  </a:cubicBezTo>
                  <a:cubicBezTo>
                    <a:pt x="450" y="155"/>
                    <a:pt x="443" y="163"/>
                    <a:pt x="433" y="170"/>
                  </a:cubicBezTo>
                  <a:cubicBezTo>
                    <a:pt x="430" y="167"/>
                    <a:pt x="427" y="163"/>
                    <a:pt x="423" y="160"/>
                  </a:cubicBezTo>
                  <a:cubicBezTo>
                    <a:pt x="422" y="159"/>
                    <a:pt x="422" y="158"/>
                    <a:pt x="421" y="157"/>
                  </a:cubicBezTo>
                  <a:cubicBezTo>
                    <a:pt x="415" y="152"/>
                    <a:pt x="409" y="146"/>
                    <a:pt x="403" y="141"/>
                  </a:cubicBezTo>
                  <a:close/>
                  <a:moveTo>
                    <a:pt x="353" y="38"/>
                  </a:moveTo>
                  <a:cubicBezTo>
                    <a:pt x="358" y="39"/>
                    <a:pt x="362" y="42"/>
                    <a:pt x="366" y="45"/>
                  </a:cubicBezTo>
                  <a:cubicBezTo>
                    <a:pt x="360" y="44"/>
                    <a:pt x="354" y="44"/>
                    <a:pt x="348" y="44"/>
                  </a:cubicBezTo>
                  <a:cubicBezTo>
                    <a:pt x="332" y="44"/>
                    <a:pt x="316" y="45"/>
                    <a:pt x="300" y="48"/>
                  </a:cubicBezTo>
                  <a:cubicBezTo>
                    <a:pt x="314" y="40"/>
                    <a:pt x="327" y="36"/>
                    <a:pt x="339" y="36"/>
                  </a:cubicBezTo>
                  <a:cubicBezTo>
                    <a:pt x="344" y="36"/>
                    <a:pt x="349" y="36"/>
                    <a:pt x="353" y="38"/>
                  </a:cubicBezTo>
                  <a:close/>
                  <a:moveTo>
                    <a:pt x="268" y="19"/>
                  </a:moveTo>
                  <a:cubicBezTo>
                    <a:pt x="281" y="20"/>
                    <a:pt x="294" y="21"/>
                    <a:pt x="306" y="23"/>
                  </a:cubicBezTo>
                  <a:cubicBezTo>
                    <a:pt x="294" y="28"/>
                    <a:pt x="281" y="36"/>
                    <a:pt x="268" y="47"/>
                  </a:cubicBezTo>
                  <a:lnTo>
                    <a:pt x="268" y="19"/>
                  </a:lnTo>
                  <a:close/>
                  <a:moveTo>
                    <a:pt x="270" y="397"/>
                  </a:moveTo>
                  <a:cubicBezTo>
                    <a:pt x="270" y="244"/>
                    <a:pt x="270" y="244"/>
                    <a:pt x="270" y="244"/>
                  </a:cubicBezTo>
                  <a:cubicBezTo>
                    <a:pt x="294" y="243"/>
                    <a:pt x="322" y="239"/>
                    <a:pt x="351" y="232"/>
                  </a:cubicBezTo>
                  <a:cubicBezTo>
                    <a:pt x="357" y="247"/>
                    <a:pt x="363" y="263"/>
                    <a:pt x="369" y="279"/>
                  </a:cubicBezTo>
                  <a:cubicBezTo>
                    <a:pt x="373" y="291"/>
                    <a:pt x="377" y="303"/>
                    <a:pt x="380" y="315"/>
                  </a:cubicBezTo>
                  <a:cubicBezTo>
                    <a:pt x="384" y="328"/>
                    <a:pt x="387" y="340"/>
                    <a:pt x="390" y="352"/>
                  </a:cubicBezTo>
                  <a:cubicBezTo>
                    <a:pt x="392" y="360"/>
                    <a:pt x="393" y="369"/>
                    <a:pt x="395" y="377"/>
                  </a:cubicBezTo>
                  <a:cubicBezTo>
                    <a:pt x="352" y="389"/>
                    <a:pt x="309" y="396"/>
                    <a:pt x="270" y="397"/>
                  </a:cubicBezTo>
                  <a:close/>
                  <a:moveTo>
                    <a:pt x="414" y="371"/>
                  </a:moveTo>
                  <a:cubicBezTo>
                    <a:pt x="411" y="353"/>
                    <a:pt x="406" y="334"/>
                    <a:pt x="401" y="315"/>
                  </a:cubicBezTo>
                  <a:cubicBezTo>
                    <a:pt x="397" y="303"/>
                    <a:pt x="394" y="291"/>
                    <a:pt x="390" y="278"/>
                  </a:cubicBezTo>
                  <a:cubicBezTo>
                    <a:pt x="389" y="276"/>
                    <a:pt x="389" y="275"/>
                    <a:pt x="388" y="273"/>
                  </a:cubicBezTo>
                  <a:cubicBezTo>
                    <a:pt x="382" y="257"/>
                    <a:pt x="376" y="241"/>
                    <a:pt x="370" y="226"/>
                  </a:cubicBezTo>
                  <a:cubicBezTo>
                    <a:pt x="393" y="219"/>
                    <a:pt x="414" y="210"/>
                    <a:pt x="433" y="199"/>
                  </a:cubicBezTo>
                  <a:cubicBezTo>
                    <a:pt x="464" y="235"/>
                    <a:pt x="487" y="274"/>
                    <a:pt x="501" y="315"/>
                  </a:cubicBezTo>
                  <a:cubicBezTo>
                    <a:pt x="503" y="319"/>
                    <a:pt x="504" y="323"/>
                    <a:pt x="505" y="326"/>
                  </a:cubicBezTo>
                  <a:cubicBezTo>
                    <a:pt x="481" y="344"/>
                    <a:pt x="449" y="360"/>
                    <a:pt x="414" y="371"/>
                  </a:cubicBezTo>
                  <a:close/>
                  <a:moveTo>
                    <a:pt x="521" y="312"/>
                  </a:moveTo>
                  <a:cubicBezTo>
                    <a:pt x="518" y="303"/>
                    <a:pt x="515" y="293"/>
                    <a:pt x="510" y="284"/>
                  </a:cubicBezTo>
                  <a:cubicBezTo>
                    <a:pt x="495" y="251"/>
                    <a:pt x="475" y="218"/>
                    <a:pt x="449" y="188"/>
                  </a:cubicBezTo>
                  <a:cubicBezTo>
                    <a:pt x="460" y="179"/>
                    <a:pt x="470" y="169"/>
                    <a:pt x="476" y="158"/>
                  </a:cubicBezTo>
                  <a:cubicBezTo>
                    <a:pt x="477" y="156"/>
                    <a:pt x="477" y="155"/>
                    <a:pt x="478" y="154"/>
                  </a:cubicBezTo>
                  <a:cubicBezTo>
                    <a:pt x="491" y="165"/>
                    <a:pt x="503" y="178"/>
                    <a:pt x="514" y="191"/>
                  </a:cubicBezTo>
                  <a:cubicBezTo>
                    <a:pt x="523" y="202"/>
                    <a:pt x="531" y="214"/>
                    <a:pt x="537" y="227"/>
                  </a:cubicBezTo>
                  <a:cubicBezTo>
                    <a:pt x="542" y="236"/>
                    <a:pt x="546" y="245"/>
                    <a:pt x="549" y="255"/>
                  </a:cubicBezTo>
                  <a:cubicBezTo>
                    <a:pt x="549" y="256"/>
                    <a:pt x="556" y="278"/>
                    <a:pt x="521" y="3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19" name="Freeform 7"/>
            <p:cNvSpPr>
              <a:spLocks noEditPoints="1"/>
            </p:cNvSpPr>
            <p:nvPr/>
          </p:nvSpPr>
          <p:spPr bwMode="auto">
            <a:xfrm>
              <a:off x="5551487" y="4048132"/>
              <a:ext cx="1684340" cy="504828"/>
            </a:xfrm>
            <a:custGeom>
              <a:avLst/>
              <a:gdLst>
                <a:gd name="T0" fmla="*/ 186 w 448"/>
                <a:gd name="T1" fmla="*/ 65 h 134"/>
                <a:gd name="T2" fmla="*/ 42 w 448"/>
                <a:gd name="T3" fmla="*/ 48 h 134"/>
                <a:gd name="T4" fmla="*/ 0 w 448"/>
                <a:gd name="T5" fmla="*/ 73 h 134"/>
                <a:gd name="T6" fmla="*/ 12 w 448"/>
                <a:gd name="T7" fmla="*/ 82 h 134"/>
                <a:gd name="T8" fmla="*/ 58 w 448"/>
                <a:gd name="T9" fmla="*/ 106 h 134"/>
                <a:gd name="T10" fmla="*/ 114 w 448"/>
                <a:gd name="T11" fmla="*/ 125 h 134"/>
                <a:gd name="T12" fmla="*/ 187 w 448"/>
                <a:gd name="T13" fmla="*/ 134 h 134"/>
                <a:gd name="T14" fmla="*/ 260 w 448"/>
                <a:gd name="T15" fmla="*/ 125 h 134"/>
                <a:gd name="T16" fmla="*/ 315 w 448"/>
                <a:gd name="T17" fmla="*/ 106 h 134"/>
                <a:gd name="T18" fmla="*/ 361 w 448"/>
                <a:gd name="T19" fmla="*/ 82 h 134"/>
                <a:gd name="T20" fmla="*/ 448 w 448"/>
                <a:gd name="T21" fmla="*/ 0 h 134"/>
                <a:gd name="T22" fmla="*/ 343 w 448"/>
                <a:gd name="T23" fmla="*/ 44 h 134"/>
                <a:gd name="T24" fmla="*/ 186 w 448"/>
                <a:gd name="T25" fmla="*/ 65 h 134"/>
                <a:gd name="T26" fmla="*/ 176 w 448"/>
                <a:gd name="T27" fmla="*/ 114 h 134"/>
                <a:gd name="T28" fmla="*/ 153 w 448"/>
                <a:gd name="T29" fmla="*/ 112 h 134"/>
                <a:gd name="T30" fmla="*/ 115 w 448"/>
                <a:gd name="T31" fmla="*/ 105 h 134"/>
                <a:gd name="T32" fmla="*/ 90 w 448"/>
                <a:gd name="T33" fmla="*/ 97 h 134"/>
                <a:gd name="T34" fmla="*/ 70 w 448"/>
                <a:gd name="T35" fmla="*/ 90 h 134"/>
                <a:gd name="T36" fmla="*/ 59 w 448"/>
                <a:gd name="T37" fmla="*/ 74 h 134"/>
                <a:gd name="T38" fmla="*/ 57 w 448"/>
                <a:gd name="T39" fmla="*/ 70 h 134"/>
                <a:gd name="T40" fmla="*/ 176 w 448"/>
                <a:gd name="T41" fmla="*/ 89 h 134"/>
                <a:gd name="T42" fmla="*/ 176 w 448"/>
                <a:gd name="T43" fmla="*/ 114 h 134"/>
                <a:gd name="T44" fmla="*/ 314 w 448"/>
                <a:gd name="T45" fmla="*/ 74 h 134"/>
                <a:gd name="T46" fmla="*/ 303 w 448"/>
                <a:gd name="T47" fmla="*/ 90 h 134"/>
                <a:gd name="T48" fmla="*/ 284 w 448"/>
                <a:gd name="T49" fmla="*/ 97 h 134"/>
                <a:gd name="T50" fmla="*/ 259 w 448"/>
                <a:gd name="T51" fmla="*/ 105 h 134"/>
                <a:gd name="T52" fmla="*/ 221 w 448"/>
                <a:gd name="T53" fmla="*/ 112 h 134"/>
                <a:gd name="T54" fmla="*/ 198 w 448"/>
                <a:gd name="T55" fmla="*/ 114 h 134"/>
                <a:gd name="T56" fmla="*/ 198 w 448"/>
                <a:gd name="T57" fmla="*/ 89 h 134"/>
                <a:gd name="T58" fmla="*/ 316 w 448"/>
                <a:gd name="T59" fmla="*/ 70 h 134"/>
                <a:gd name="T60" fmla="*/ 314 w 448"/>
                <a:gd name="T61" fmla="*/ 7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448" h="134">
                  <a:moveTo>
                    <a:pt x="186" y="65"/>
                  </a:moveTo>
                  <a:cubicBezTo>
                    <a:pt x="136" y="65"/>
                    <a:pt x="87" y="59"/>
                    <a:pt x="42" y="48"/>
                  </a:cubicBezTo>
                  <a:cubicBezTo>
                    <a:pt x="29" y="57"/>
                    <a:pt x="15" y="66"/>
                    <a:pt x="0" y="73"/>
                  </a:cubicBezTo>
                  <a:cubicBezTo>
                    <a:pt x="4" y="76"/>
                    <a:pt x="8" y="79"/>
                    <a:pt x="12" y="82"/>
                  </a:cubicBezTo>
                  <a:cubicBezTo>
                    <a:pt x="27" y="91"/>
                    <a:pt x="42" y="99"/>
                    <a:pt x="58" y="106"/>
                  </a:cubicBezTo>
                  <a:cubicBezTo>
                    <a:pt x="76" y="114"/>
                    <a:pt x="95" y="120"/>
                    <a:pt x="114" y="125"/>
                  </a:cubicBezTo>
                  <a:cubicBezTo>
                    <a:pt x="137" y="131"/>
                    <a:pt x="162" y="134"/>
                    <a:pt x="187" y="134"/>
                  </a:cubicBezTo>
                  <a:cubicBezTo>
                    <a:pt x="212" y="134"/>
                    <a:pt x="236" y="131"/>
                    <a:pt x="260" y="125"/>
                  </a:cubicBezTo>
                  <a:cubicBezTo>
                    <a:pt x="279" y="120"/>
                    <a:pt x="298" y="114"/>
                    <a:pt x="315" y="106"/>
                  </a:cubicBezTo>
                  <a:cubicBezTo>
                    <a:pt x="331" y="99"/>
                    <a:pt x="347" y="91"/>
                    <a:pt x="361" y="82"/>
                  </a:cubicBezTo>
                  <a:cubicBezTo>
                    <a:pt x="395" y="60"/>
                    <a:pt x="425" y="32"/>
                    <a:pt x="448" y="0"/>
                  </a:cubicBezTo>
                  <a:cubicBezTo>
                    <a:pt x="417" y="19"/>
                    <a:pt x="381" y="33"/>
                    <a:pt x="343" y="44"/>
                  </a:cubicBezTo>
                  <a:cubicBezTo>
                    <a:pt x="293" y="58"/>
                    <a:pt x="240" y="65"/>
                    <a:pt x="186" y="65"/>
                  </a:cubicBezTo>
                  <a:close/>
                  <a:moveTo>
                    <a:pt x="176" y="114"/>
                  </a:moveTo>
                  <a:cubicBezTo>
                    <a:pt x="168" y="114"/>
                    <a:pt x="161" y="113"/>
                    <a:pt x="153" y="112"/>
                  </a:cubicBezTo>
                  <a:cubicBezTo>
                    <a:pt x="140" y="110"/>
                    <a:pt x="127" y="108"/>
                    <a:pt x="115" y="105"/>
                  </a:cubicBezTo>
                  <a:cubicBezTo>
                    <a:pt x="106" y="102"/>
                    <a:pt x="98" y="100"/>
                    <a:pt x="90" y="97"/>
                  </a:cubicBezTo>
                  <a:cubicBezTo>
                    <a:pt x="83" y="95"/>
                    <a:pt x="76" y="92"/>
                    <a:pt x="70" y="90"/>
                  </a:cubicBezTo>
                  <a:cubicBezTo>
                    <a:pt x="66" y="85"/>
                    <a:pt x="62" y="80"/>
                    <a:pt x="59" y="74"/>
                  </a:cubicBezTo>
                  <a:cubicBezTo>
                    <a:pt x="59" y="73"/>
                    <a:pt x="58" y="72"/>
                    <a:pt x="57" y="70"/>
                  </a:cubicBezTo>
                  <a:cubicBezTo>
                    <a:pt x="98" y="82"/>
                    <a:pt x="139" y="88"/>
                    <a:pt x="176" y="89"/>
                  </a:cubicBezTo>
                  <a:lnTo>
                    <a:pt x="176" y="114"/>
                  </a:lnTo>
                  <a:close/>
                  <a:moveTo>
                    <a:pt x="314" y="74"/>
                  </a:moveTo>
                  <a:cubicBezTo>
                    <a:pt x="311" y="80"/>
                    <a:pt x="307" y="85"/>
                    <a:pt x="303" y="90"/>
                  </a:cubicBezTo>
                  <a:cubicBezTo>
                    <a:pt x="297" y="92"/>
                    <a:pt x="290" y="95"/>
                    <a:pt x="284" y="97"/>
                  </a:cubicBezTo>
                  <a:cubicBezTo>
                    <a:pt x="276" y="100"/>
                    <a:pt x="267" y="102"/>
                    <a:pt x="259" y="105"/>
                  </a:cubicBezTo>
                  <a:cubicBezTo>
                    <a:pt x="246" y="108"/>
                    <a:pt x="234" y="110"/>
                    <a:pt x="221" y="112"/>
                  </a:cubicBezTo>
                  <a:cubicBezTo>
                    <a:pt x="213" y="113"/>
                    <a:pt x="206" y="114"/>
                    <a:pt x="198" y="114"/>
                  </a:cubicBezTo>
                  <a:cubicBezTo>
                    <a:pt x="198" y="89"/>
                    <a:pt x="198" y="89"/>
                    <a:pt x="198" y="89"/>
                  </a:cubicBezTo>
                  <a:cubicBezTo>
                    <a:pt x="234" y="88"/>
                    <a:pt x="275" y="82"/>
                    <a:pt x="316" y="70"/>
                  </a:cubicBezTo>
                  <a:cubicBezTo>
                    <a:pt x="316" y="72"/>
                    <a:pt x="315" y="73"/>
                    <a:pt x="314"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0" name="Freeform 8"/>
            <p:cNvSpPr>
              <a:spLocks noEditPoints="1"/>
            </p:cNvSpPr>
            <p:nvPr/>
          </p:nvSpPr>
          <p:spPr bwMode="auto">
            <a:xfrm>
              <a:off x="3540126" y="2598741"/>
              <a:ext cx="2393950" cy="2335219"/>
            </a:xfrm>
            <a:custGeom>
              <a:avLst/>
              <a:gdLst>
                <a:gd name="T0" fmla="*/ 440 w 637"/>
                <a:gd name="T1" fmla="*/ 3 h 620"/>
                <a:gd name="T2" fmla="*/ 405 w 637"/>
                <a:gd name="T3" fmla="*/ 0 h 620"/>
                <a:gd name="T4" fmla="*/ 369 w 637"/>
                <a:gd name="T5" fmla="*/ 3 h 620"/>
                <a:gd name="T6" fmla="*/ 172 w 637"/>
                <a:gd name="T7" fmla="*/ 192 h 620"/>
                <a:gd name="T8" fmla="*/ 169 w 637"/>
                <a:gd name="T9" fmla="*/ 227 h 620"/>
                <a:gd name="T10" fmla="*/ 172 w 637"/>
                <a:gd name="T11" fmla="*/ 264 h 620"/>
                <a:gd name="T12" fmla="*/ 195 w 637"/>
                <a:gd name="T13" fmla="*/ 329 h 620"/>
                <a:gd name="T14" fmla="*/ 190 w 637"/>
                <a:gd name="T15" fmla="*/ 354 h 620"/>
                <a:gd name="T16" fmla="*/ 5 w 637"/>
                <a:gd name="T17" fmla="*/ 535 h 620"/>
                <a:gd name="T18" fmla="*/ 5 w 637"/>
                <a:gd name="T19" fmla="*/ 558 h 620"/>
                <a:gd name="T20" fmla="*/ 64 w 637"/>
                <a:gd name="T21" fmla="*/ 615 h 620"/>
                <a:gd name="T22" fmla="*/ 77 w 637"/>
                <a:gd name="T23" fmla="*/ 620 h 620"/>
                <a:gd name="T24" fmla="*/ 90 w 637"/>
                <a:gd name="T25" fmla="*/ 615 h 620"/>
                <a:gd name="T26" fmla="*/ 274 w 637"/>
                <a:gd name="T27" fmla="*/ 436 h 620"/>
                <a:gd name="T28" fmla="*/ 289 w 637"/>
                <a:gd name="T29" fmla="*/ 428 h 620"/>
                <a:gd name="T30" fmla="*/ 300 w 637"/>
                <a:gd name="T31" fmla="*/ 431 h 620"/>
                <a:gd name="T32" fmla="*/ 369 w 637"/>
                <a:gd name="T33" fmla="*/ 453 h 620"/>
                <a:gd name="T34" fmla="*/ 405 w 637"/>
                <a:gd name="T35" fmla="*/ 456 h 620"/>
                <a:gd name="T36" fmla="*/ 440 w 637"/>
                <a:gd name="T37" fmla="*/ 453 h 620"/>
                <a:gd name="T38" fmla="*/ 635 w 637"/>
                <a:gd name="T39" fmla="*/ 264 h 620"/>
                <a:gd name="T40" fmla="*/ 637 w 637"/>
                <a:gd name="T41" fmla="*/ 227 h 620"/>
                <a:gd name="T42" fmla="*/ 635 w 637"/>
                <a:gd name="T43" fmla="*/ 192 h 620"/>
                <a:gd name="T44" fmla="*/ 440 w 637"/>
                <a:gd name="T45" fmla="*/ 3 h 620"/>
                <a:gd name="T46" fmla="*/ 568 w 637"/>
                <a:gd name="T47" fmla="*/ 264 h 620"/>
                <a:gd name="T48" fmla="*/ 440 w 637"/>
                <a:gd name="T49" fmla="*/ 386 h 620"/>
                <a:gd name="T50" fmla="*/ 405 w 637"/>
                <a:gd name="T51" fmla="*/ 391 h 620"/>
                <a:gd name="T52" fmla="*/ 369 w 637"/>
                <a:gd name="T53" fmla="*/ 386 h 620"/>
                <a:gd name="T54" fmla="*/ 241 w 637"/>
                <a:gd name="T55" fmla="*/ 264 h 620"/>
                <a:gd name="T56" fmla="*/ 236 w 637"/>
                <a:gd name="T57" fmla="*/ 227 h 620"/>
                <a:gd name="T58" fmla="*/ 241 w 637"/>
                <a:gd name="T59" fmla="*/ 192 h 620"/>
                <a:gd name="T60" fmla="*/ 369 w 637"/>
                <a:gd name="T61" fmla="*/ 70 h 620"/>
                <a:gd name="T62" fmla="*/ 405 w 637"/>
                <a:gd name="T63" fmla="*/ 65 h 620"/>
                <a:gd name="T64" fmla="*/ 440 w 637"/>
                <a:gd name="T65" fmla="*/ 70 h 620"/>
                <a:gd name="T66" fmla="*/ 568 w 637"/>
                <a:gd name="T67" fmla="*/ 192 h 620"/>
                <a:gd name="T68" fmla="*/ 571 w 637"/>
                <a:gd name="T69" fmla="*/ 227 h 620"/>
                <a:gd name="T70" fmla="*/ 568 w 637"/>
                <a:gd name="T71" fmla="*/ 264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7" h="620">
                  <a:moveTo>
                    <a:pt x="440" y="3"/>
                  </a:moveTo>
                  <a:cubicBezTo>
                    <a:pt x="428" y="0"/>
                    <a:pt x="417" y="0"/>
                    <a:pt x="405" y="0"/>
                  </a:cubicBezTo>
                  <a:cubicBezTo>
                    <a:pt x="392" y="0"/>
                    <a:pt x="379" y="0"/>
                    <a:pt x="369" y="3"/>
                  </a:cubicBezTo>
                  <a:cubicBezTo>
                    <a:pt x="266" y="18"/>
                    <a:pt x="187" y="95"/>
                    <a:pt x="172" y="192"/>
                  </a:cubicBezTo>
                  <a:cubicBezTo>
                    <a:pt x="172" y="204"/>
                    <a:pt x="169" y="217"/>
                    <a:pt x="169" y="227"/>
                  </a:cubicBezTo>
                  <a:cubicBezTo>
                    <a:pt x="169" y="239"/>
                    <a:pt x="172" y="252"/>
                    <a:pt x="172" y="264"/>
                  </a:cubicBezTo>
                  <a:cubicBezTo>
                    <a:pt x="177" y="286"/>
                    <a:pt x="185" y="309"/>
                    <a:pt x="195" y="329"/>
                  </a:cubicBezTo>
                  <a:cubicBezTo>
                    <a:pt x="200" y="336"/>
                    <a:pt x="197" y="349"/>
                    <a:pt x="190" y="354"/>
                  </a:cubicBezTo>
                  <a:cubicBezTo>
                    <a:pt x="190" y="354"/>
                    <a:pt x="190" y="354"/>
                    <a:pt x="5" y="535"/>
                  </a:cubicBezTo>
                  <a:cubicBezTo>
                    <a:pt x="0" y="540"/>
                    <a:pt x="0" y="550"/>
                    <a:pt x="5" y="558"/>
                  </a:cubicBezTo>
                  <a:cubicBezTo>
                    <a:pt x="5" y="558"/>
                    <a:pt x="5" y="558"/>
                    <a:pt x="64" y="615"/>
                  </a:cubicBezTo>
                  <a:cubicBezTo>
                    <a:pt x="69" y="617"/>
                    <a:pt x="72" y="620"/>
                    <a:pt x="77" y="620"/>
                  </a:cubicBezTo>
                  <a:cubicBezTo>
                    <a:pt x="82" y="620"/>
                    <a:pt x="85" y="617"/>
                    <a:pt x="90" y="615"/>
                  </a:cubicBezTo>
                  <a:cubicBezTo>
                    <a:pt x="90" y="615"/>
                    <a:pt x="90" y="615"/>
                    <a:pt x="274" y="436"/>
                  </a:cubicBezTo>
                  <a:cubicBezTo>
                    <a:pt x="277" y="431"/>
                    <a:pt x="284" y="428"/>
                    <a:pt x="289" y="428"/>
                  </a:cubicBezTo>
                  <a:cubicBezTo>
                    <a:pt x="295" y="428"/>
                    <a:pt x="297" y="431"/>
                    <a:pt x="300" y="431"/>
                  </a:cubicBezTo>
                  <a:cubicBezTo>
                    <a:pt x="320" y="441"/>
                    <a:pt x="343" y="448"/>
                    <a:pt x="369" y="453"/>
                  </a:cubicBezTo>
                  <a:cubicBezTo>
                    <a:pt x="379" y="456"/>
                    <a:pt x="392" y="456"/>
                    <a:pt x="405" y="456"/>
                  </a:cubicBezTo>
                  <a:cubicBezTo>
                    <a:pt x="417" y="456"/>
                    <a:pt x="428" y="456"/>
                    <a:pt x="440" y="453"/>
                  </a:cubicBezTo>
                  <a:cubicBezTo>
                    <a:pt x="540" y="438"/>
                    <a:pt x="619" y="361"/>
                    <a:pt x="635" y="264"/>
                  </a:cubicBezTo>
                  <a:cubicBezTo>
                    <a:pt x="637" y="252"/>
                    <a:pt x="637" y="239"/>
                    <a:pt x="637" y="227"/>
                  </a:cubicBezTo>
                  <a:cubicBezTo>
                    <a:pt x="637" y="217"/>
                    <a:pt x="637" y="204"/>
                    <a:pt x="635" y="192"/>
                  </a:cubicBezTo>
                  <a:cubicBezTo>
                    <a:pt x="619" y="95"/>
                    <a:pt x="540" y="18"/>
                    <a:pt x="440" y="3"/>
                  </a:cubicBezTo>
                  <a:close/>
                  <a:moveTo>
                    <a:pt x="568" y="264"/>
                  </a:moveTo>
                  <a:cubicBezTo>
                    <a:pt x="553" y="324"/>
                    <a:pt x="504" y="374"/>
                    <a:pt x="440" y="386"/>
                  </a:cubicBezTo>
                  <a:cubicBezTo>
                    <a:pt x="428" y="388"/>
                    <a:pt x="417" y="391"/>
                    <a:pt x="405" y="391"/>
                  </a:cubicBezTo>
                  <a:cubicBezTo>
                    <a:pt x="392" y="391"/>
                    <a:pt x="379" y="388"/>
                    <a:pt x="369" y="386"/>
                  </a:cubicBezTo>
                  <a:cubicBezTo>
                    <a:pt x="305" y="374"/>
                    <a:pt x="254" y="324"/>
                    <a:pt x="241" y="264"/>
                  </a:cubicBezTo>
                  <a:cubicBezTo>
                    <a:pt x="238" y="252"/>
                    <a:pt x="236" y="239"/>
                    <a:pt x="236" y="227"/>
                  </a:cubicBezTo>
                  <a:cubicBezTo>
                    <a:pt x="236" y="217"/>
                    <a:pt x="238" y="204"/>
                    <a:pt x="241" y="192"/>
                  </a:cubicBezTo>
                  <a:cubicBezTo>
                    <a:pt x="254" y="130"/>
                    <a:pt x="305" y="82"/>
                    <a:pt x="369" y="70"/>
                  </a:cubicBezTo>
                  <a:cubicBezTo>
                    <a:pt x="379" y="67"/>
                    <a:pt x="392" y="65"/>
                    <a:pt x="405" y="65"/>
                  </a:cubicBezTo>
                  <a:cubicBezTo>
                    <a:pt x="417" y="65"/>
                    <a:pt x="428" y="67"/>
                    <a:pt x="440" y="70"/>
                  </a:cubicBezTo>
                  <a:cubicBezTo>
                    <a:pt x="504" y="82"/>
                    <a:pt x="553" y="130"/>
                    <a:pt x="568" y="192"/>
                  </a:cubicBezTo>
                  <a:cubicBezTo>
                    <a:pt x="571" y="204"/>
                    <a:pt x="571" y="217"/>
                    <a:pt x="571" y="227"/>
                  </a:cubicBezTo>
                  <a:cubicBezTo>
                    <a:pt x="571" y="239"/>
                    <a:pt x="571" y="252"/>
                    <a:pt x="568" y="26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1" name="Freeform 9"/>
            <p:cNvSpPr>
              <a:spLocks/>
            </p:cNvSpPr>
            <p:nvPr/>
          </p:nvSpPr>
          <p:spPr bwMode="auto">
            <a:xfrm>
              <a:off x="4573588" y="3114675"/>
              <a:ext cx="593725" cy="708025"/>
            </a:xfrm>
            <a:custGeom>
              <a:avLst/>
              <a:gdLst>
                <a:gd name="T0" fmla="*/ 158 w 158"/>
                <a:gd name="T1" fmla="*/ 159 h 188"/>
                <a:gd name="T2" fmla="*/ 96 w 158"/>
                <a:gd name="T3" fmla="*/ 153 h 188"/>
                <a:gd name="T4" fmla="*/ 96 w 158"/>
                <a:gd name="T5" fmla="*/ 74 h 188"/>
                <a:gd name="T6" fmla="*/ 96 w 158"/>
                <a:gd name="T7" fmla="*/ 35 h 188"/>
                <a:gd name="T8" fmla="*/ 96 w 158"/>
                <a:gd name="T9" fmla="*/ 4 h 188"/>
                <a:gd name="T10" fmla="*/ 69 w 158"/>
                <a:gd name="T11" fmla="*/ 0 h 188"/>
                <a:gd name="T12" fmla="*/ 15 w 158"/>
                <a:gd name="T13" fmla="*/ 9 h 188"/>
                <a:gd name="T14" fmla="*/ 2 w 158"/>
                <a:gd name="T15" fmla="*/ 32 h 188"/>
                <a:gd name="T16" fmla="*/ 8 w 158"/>
                <a:gd name="T17" fmla="*/ 44 h 188"/>
                <a:gd name="T18" fmla="*/ 56 w 158"/>
                <a:gd name="T19" fmla="*/ 35 h 188"/>
                <a:gd name="T20" fmla="*/ 57 w 158"/>
                <a:gd name="T21" fmla="*/ 70 h 188"/>
                <a:gd name="T22" fmla="*/ 57 w 158"/>
                <a:gd name="T23" fmla="*/ 148 h 188"/>
                <a:gd name="T24" fmla="*/ 0 w 158"/>
                <a:gd name="T25" fmla="*/ 138 h 188"/>
                <a:gd name="T26" fmla="*/ 19 w 158"/>
                <a:gd name="T27" fmla="*/ 171 h 188"/>
                <a:gd name="T28" fmla="*/ 158 w 158"/>
                <a:gd name="T29" fmla="*/ 188 h 188"/>
                <a:gd name="T30" fmla="*/ 158 w 158"/>
                <a:gd name="T31" fmla="*/ 159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8" h="188">
                  <a:moveTo>
                    <a:pt x="158" y="159"/>
                  </a:moveTo>
                  <a:cubicBezTo>
                    <a:pt x="138" y="157"/>
                    <a:pt x="117" y="155"/>
                    <a:pt x="96" y="153"/>
                  </a:cubicBezTo>
                  <a:cubicBezTo>
                    <a:pt x="96" y="153"/>
                    <a:pt x="96" y="153"/>
                    <a:pt x="96" y="74"/>
                  </a:cubicBezTo>
                  <a:cubicBezTo>
                    <a:pt x="96" y="74"/>
                    <a:pt x="96" y="74"/>
                    <a:pt x="96" y="35"/>
                  </a:cubicBezTo>
                  <a:cubicBezTo>
                    <a:pt x="96" y="35"/>
                    <a:pt x="96" y="35"/>
                    <a:pt x="96" y="4"/>
                  </a:cubicBezTo>
                  <a:cubicBezTo>
                    <a:pt x="87" y="3"/>
                    <a:pt x="78" y="2"/>
                    <a:pt x="69" y="0"/>
                  </a:cubicBezTo>
                  <a:cubicBezTo>
                    <a:pt x="53" y="3"/>
                    <a:pt x="33" y="7"/>
                    <a:pt x="15" y="9"/>
                  </a:cubicBezTo>
                  <a:cubicBezTo>
                    <a:pt x="10" y="17"/>
                    <a:pt x="6" y="24"/>
                    <a:pt x="2" y="32"/>
                  </a:cubicBezTo>
                  <a:cubicBezTo>
                    <a:pt x="4" y="35"/>
                    <a:pt x="6" y="39"/>
                    <a:pt x="8" y="44"/>
                  </a:cubicBezTo>
                  <a:cubicBezTo>
                    <a:pt x="23" y="42"/>
                    <a:pt x="42" y="38"/>
                    <a:pt x="56" y="35"/>
                  </a:cubicBezTo>
                  <a:cubicBezTo>
                    <a:pt x="56" y="35"/>
                    <a:pt x="56" y="35"/>
                    <a:pt x="57" y="70"/>
                  </a:cubicBezTo>
                  <a:cubicBezTo>
                    <a:pt x="57" y="70"/>
                    <a:pt x="57" y="70"/>
                    <a:pt x="57" y="148"/>
                  </a:cubicBezTo>
                  <a:cubicBezTo>
                    <a:pt x="38" y="145"/>
                    <a:pt x="18" y="141"/>
                    <a:pt x="0" y="138"/>
                  </a:cubicBezTo>
                  <a:cubicBezTo>
                    <a:pt x="5" y="150"/>
                    <a:pt x="11" y="161"/>
                    <a:pt x="19" y="171"/>
                  </a:cubicBezTo>
                  <a:cubicBezTo>
                    <a:pt x="64" y="179"/>
                    <a:pt x="111" y="186"/>
                    <a:pt x="158" y="188"/>
                  </a:cubicBezTo>
                  <a:cubicBezTo>
                    <a:pt x="158" y="188"/>
                    <a:pt x="158" y="188"/>
                    <a:pt x="158" y="15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2" name="Freeform 10"/>
            <p:cNvSpPr>
              <a:spLocks/>
            </p:cNvSpPr>
            <p:nvPr/>
          </p:nvSpPr>
          <p:spPr bwMode="auto">
            <a:xfrm>
              <a:off x="5172076" y="3128963"/>
              <a:ext cx="393700" cy="693738"/>
            </a:xfrm>
            <a:custGeom>
              <a:avLst/>
              <a:gdLst>
                <a:gd name="T0" fmla="*/ 17 w 105"/>
                <a:gd name="T1" fmla="*/ 31 h 184"/>
                <a:gd name="T2" fmla="*/ 7 w 105"/>
                <a:gd name="T3" fmla="*/ 54 h 184"/>
                <a:gd name="T4" fmla="*/ 4 w 105"/>
                <a:gd name="T5" fmla="*/ 69 h 184"/>
                <a:gd name="T6" fmla="*/ 30 w 105"/>
                <a:gd name="T7" fmla="*/ 169 h 184"/>
                <a:gd name="T8" fmla="*/ 33 w 105"/>
                <a:gd name="T9" fmla="*/ 172 h 184"/>
                <a:gd name="T10" fmla="*/ 68 w 105"/>
                <a:gd name="T11" fmla="*/ 184 h 184"/>
                <a:gd name="T12" fmla="*/ 95 w 105"/>
                <a:gd name="T13" fmla="*/ 150 h 184"/>
                <a:gd name="T14" fmla="*/ 82 w 105"/>
                <a:gd name="T15" fmla="*/ 154 h 184"/>
                <a:gd name="T16" fmla="*/ 46 w 105"/>
                <a:gd name="T17" fmla="*/ 69 h 184"/>
                <a:gd name="T18" fmla="*/ 57 w 105"/>
                <a:gd name="T19" fmla="*/ 42 h 184"/>
                <a:gd name="T20" fmla="*/ 105 w 105"/>
                <a:gd name="T21" fmla="*/ 39 h 184"/>
                <a:gd name="T22" fmla="*/ 84 w 105"/>
                <a:gd name="T23" fmla="*/ 0 h 184"/>
                <a:gd name="T24" fmla="*/ 82 w 105"/>
                <a:gd name="T25" fmla="*/ 0 h 184"/>
                <a:gd name="T26" fmla="*/ 17 w 105"/>
                <a:gd name="T27" fmla="*/ 31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5" h="184">
                  <a:moveTo>
                    <a:pt x="17" y="31"/>
                  </a:moveTo>
                  <a:cubicBezTo>
                    <a:pt x="13" y="38"/>
                    <a:pt x="9" y="45"/>
                    <a:pt x="7" y="54"/>
                  </a:cubicBezTo>
                  <a:cubicBezTo>
                    <a:pt x="6" y="59"/>
                    <a:pt x="4" y="64"/>
                    <a:pt x="4" y="69"/>
                  </a:cubicBezTo>
                  <a:cubicBezTo>
                    <a:pt x="0" y="99"/>
                    <a:pt x="2" y="145"/>
                    <a:pt x="30" y="169"/>
                  </a:cubicBezTo>
                  <a:cubicBezTo>
                    <a:pt x="31" y="170"/>
                    <a:pt x="32" y="171"/>
                    <a:pt x="33" y="172"/>
                  </a:cubicBezTo>
                  <a:cubicBezTo>
                    <a:pt x="43" y="179"/>
                    <a:pt x="55" y="183"/>
                    <a:pt x="68" y="184"/>
                  </a:cubicBezTo>
                  <a:cubicBezTo>
                    <a:pt x="78" y="174"/>
                    <a:pt x="88" y="163"/>
                    <a:pt x="95" y="150"/>
                  </a:cubicBezTo>
                  <a:cubicBezTo>
                    <a:pt x="91" y="152"/>
                    <a:pt x="87" y="154"/>
                    <a:pt x="82" y="154"/>
                  </a:cubicBezTo>
                  <a:cubicBezTo>
                    <a:pt x="45" y="155"/>
                    <a:pt x="39" y="104"/>
                    <a:pt x="46" y="69"/>
                  </a:cubicBezTo>
                  <a:cubicBezTo>
                    <a:pt x="49" y="57"/>
                    <a:pt x="53" y="47"/>
                    <a:pt x="57" y="42"/>
                  </a:cubicBezTo>
                  <a:cubicBezTo>
                    <a:pt x="66" y="32"/>
                    <a:pt x="90" y="23"/>
                    <a:pt x="105" y="39"/>
                  </a:cubicBezTo>
                  <a:cubicBezTo>
                    <a:pt x="100" y="25"/>
                    <a:pt x="93" y="12"/>
                    <a:pt x="84" y="0"/>
                  </a:cubicBezTo>
                  <a:cubicBezTo>
                    <a:pt x="83" y="1"/>
                    <a:pt x="83" y="0"/>
                    <a:pt x="82" y="0"/>
                  </a:cubicBezTo>
                  <a:cubicBezTo>
                    <a:pt x="66" y="2"/>
                    <a:pt x="35" y="4"/>
                    <a:pt x="17" y="3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3" name="Freeform 11"/>
            <p:cNvSpPr>
              <a:spLocks/>
            </p:cNvSpPr>
            <p:nvPr/>
          </p:nvSpPr>
          <p:spPr bwMode="auto">
            <a:xfrm>
              <a:off x="6310313" y="3754438"/>
              <a:ext cx="153988" cy="252413"/>
            </a:xfrm>
            <a:custGeom>
              <a:avLst/>
              <a:gdLst>
                <a:gd name="T0" fmla="*/ 38 w 41"/>
                <a:gd name="T1" fmla="*/ 24 h 67"/>
                <a:gd name="T2" fmla="*/ 9 w 41"/>
                <a:gd name="T3" fmla="*/ 12 h 67"/>
                <a:gd name="T4" fmla="*/ 4 w 41"/>
                <a:gd name="T5" fmla="*/ 25 h 67"/>
                <a:gd name="T6" fmla="*/ 21 w 41"/>
                <a:gd name="T7" fmla="*/ 67 h 67"/>
                <a:gd name="T8" fmla="*/ 39 w 41"/>
                <a:gd name="T9" fmla="*/ 29 h 67"/>
                <a:gd name="T10" fmla="*/ 38 w 41"/>
                <a:gd name="T11" fmla="*/ 24 h 67"/>
              </a:gdLst>
              <a:ahLst/>
              <a:cxnLst>
                <a:cxn ang="0">
                  <a:pos x="T0" y="T1"/>
                </a:cxn>
                <a:cxn ang="0">
                  <a:pos x="T2" y="T3"/>
                </a:cxn>
                <a:cxn ang="0">
                  <a:pos x="T4" y="T5"/>
                </a:cxn>
                <a:cxn ang="0">
                  <a:pos x="T6" y="T7"/>
                </a:cxn>
                <a:cxn ang="0">
                  <a:pos x="T8" y="T9"/>
                </a:cxn>
                <a:cxn ang="0">
                  <a:pos x="T10" y="T11"/>
                </a:cxn>
              </a:cxnLst>
              <a:rect l="0" t="0" r="r" b="b"/>
              <a:pathLst>
                <a:path w="41" h="67">
                  <a:moveTo>
                    <a:pt x="38" y="24"/>
                  </a:moveTo>
                  <a:cubicBezTo>
                    <a:pt x="34" y="0"/>
                    <a:pt x="15" y="5"/>
                    <a:pt x="9" y="12"/>
                  </a:cubicBezTo>
                  <a:cubicBezTo>
                    <a:pt x="7" y="15"/>
                    <a:pt x="5" y="20"/>
                    <a:pt x="4" y="25"/>
                  </a:cubicBezTo>
                  <a:cubicBezTo>
                    <a:pt x="0" y="42"/>
                    <a:pt x="3" y="67"/>
                    <a:pt x="21" y="67"/>
                  </a:cubicBezTo>
                  <a:cubicBezTo>
                    <a:pt x="37" y="66"/>
                    <a:pt x="41" y="47"/>
                    <a:pt x="39" y="29"/>
                  </a:cubicBezTo>
                  <a:cubicBezTo>
                    <a:pt x="39" y="27"/>
                    <a:pt x="39" y="25"/>
                    <a:pt x="38"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4" name="Freeform 12"/>
            <p:cNvSpPr>
              <a:spLocks/>
            </p:cNvSpPr>
            <p:nvPr/>
          </p:nvSpPr>
          <p:spPr bwMode="auto">
            <a:xfrm>
              <a:off x="5953126" y="3973513"/>
              <a:ext cx="4763" cy="3175"/>
            </a:xfrm>
            <a:custGeom>
              <a:avLst/>
              <a:gdLst>
                <a:gd name="T0" fmla="*/ 1 w 1"/>
                <a:gd name="T1" fmla="*/ 0 h 1"/>
                <a:gd name="T2" fmla="*/ 0 w 1"/>
                <a:gd name="T3" fmla="*/ 1 h 1"/>
                <a:gd name="T4" fmla="*/ 1 w 1"/>
                <a:gd name="T5" fmla="*/ 1 h 1"/>
                <a:gd name="T6" fmla="*/ 1 w 1"/>
                <a:gd name="T7" fmla="*/ 0 h 1"/>
              </a:gdLst>
              <a:ahLst/>
              <a:cxnLst>
                <a:cxn ang="0">
                  <a:pos x="T0" y="T1"/>
                </a:cxn>
                <a:cxn ang="0">
                  <a:pos x="T2" y="T3"/>
                </a:cxn>
                <a:cxn ang="0">
                  <a:pos x="T4" y="T5"/>
                </a:cxn>
                <a:cxn ang="0">
                  <a:pos x="T6" y="T7"/>
                </a:cxn>
              </a:cxnLst>
              <a:rect l="0" t="0" r="r" b="b"/>
              <a:pathLst>
                <a:path w="1" h="1">
                  <a:moveTo>
                    <a:pt x="1" y="0"/>
                  </a:moveTo>
                  <a:cubicBezTo>
                    <a:pt x="0" y="0"/>
                    <a:pt x="0" y="1"/>
                    <a:pt x="0" y="1"/>
                  </a:cubicBezTo>
                  <a:cubicBezTo>
                    <a:pt x="0" y="1"/>
                    <a:pt x="0" y="1"/>
                    <a:pt x="1" y="1"/>
                  </a:cubicBezTo>
                  <a:cubicBezTo>
                    <a:pt x="1" y="1"/>
                    <a:pt x="1" y="0"/>
                    <a:pt x="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5" name="Freeform 13"/>
            <p:cNvSpPr>
              <a:spLocks/>
            </p:cNvSpPr>
            <p:nvPr/>
          </p:nvSpPr>
          <p:spPr bwMode="auto">
            <a:xfrm>
              <a:off x="7675563" y="3167063"/>
              <a:ext cx="96838" cy="203200"/>
            </a:xfrm>
            <a:custGeom>
              <a:avLst/>
              <a:gdLst>
                <a:gd name="T0" fmla="*/ 13 w 26"/>
                <a:gd name="T1" fmla="*/ 0 h 54"/>
                <a:gd name="T2" fmla="*/ 0 w 26"/>
                <a:gd name="T3" fmla="*/ 27 h 54"/>
                <a:gd name="T4" fmla="*/ 13 w 26"/>
                <a:gd name="T5" fmla="*/ 54 h 54"/>
                <a:gd name="T6" fmla="*/ 26 w 26"/>
                <a:gd name="T7" fmla="*/ 27 h 54"/>
                <a:gd name="T8" fmla="*/ 13 w 26"/>
                <a:gd name="T9" fmla="*/ 0 h 54"/>
              </a:gdLst>
              <a:ahLst/>
              <a:cxnLst>
                <a:cxn ang="0">
                  <a:pos x="T0" y="T1"/>
                </a:cxn>
                <a:cxn ang="0">
                  <a:pos x="T2" y="T3"/>
                </a:cxn>
                <a:cxn ang="0">
                  <a:pos x="T4" y="T5"/>
                </a:cxn>
                <a:cxn ang="0">
                  <a:pos x="T6" y="T7"/>
                </a:cxn>
                <a:cxn ang="0">
                  <a:pos x="T8" y="T9"/>
                </a:cxn>
              </a:cxnLst>
              <a:rect l="0" t="0" r="r" b="b"/>
              <a:pathLst>
                <a:path w="26" h="54">
                  <a:moveTo>
                    <a:pt x="13" y="0"/>
                  </a:moveTo>
                  <a:cubicBezTo>
                    <a:pt x="1" y="0"/>
                    <a:pt x="0" y="18"/>
                    <a:pt x="0" y="27"/>
                  </a:cubicBezTo>
                  <a:cubicBezTo>
                    <a:pt x="0" y="53"/>
                    <a:pt x="9" y="54"/>
                    <a:pt x="13" y="54"/>
                  </a:cubicBezTo>
                  <a:cubicBezTo>
                    <a:pt x="16" y="54"/>
                    <a:pt x="26" y="53"/>
                    <a:pt x="26" y="27"/>
                  </a:cubicBezTo>
                  <a:cubicBezTo>
                    <a:pt x="26" y="18"/>
                    <a:pt x="25" y="0"/>
                    <a:pt x="1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6" name="Freeform 14"/>
            <p:cNvSpPr>
              <a:spLocks noEditPoints="1"/>
            </p:cNvSpPr>
            <p:nvPr/>
          </p:nvSpPr>
          <p:spPr bwMode="auto">
            <a:xfrm>
              <a:off x="5826127" y="2865443"/>
              <a:ext cx="2811462" cy="1306513"/>
            </a:xfrm>
            <a:custGeom>
              <a:avLst/>
              <a:gdLst>
                <a:gd name="T0" fmla="*/ 635 w 748"/>
                <a:gd name="T1" fmla="*/ 0 h 347"/>
                <a:gd name="T2" fmla="*/ 450 w 748"/>
                <a:gd name="T3" fmla="*/ 44 h 347"/>
                <a:gd name="T4" fmla="*/ 259 w 748"/>
                <a:gd name="T5" fmla="*/ 188 h 347"/>
                <a:gd name="T6" fmla="*/ 73 w 748"/>
                <a:gd name="T7" fmla="*/ 206 h 347"/>
                <a:gd name="T8" fmla="*/ 54 w 748"/>
                <a:gd name="T9" fmla="*/ 298 h 347"/>
                <a:gd name="T10" fmla="*/ 84 w 748"/>
                <a:gd name="T11" fmla="*/ 315 h 347"/>
                <a:gd name="T12" fmla="*/ 0 w 748"/>
                <a:gd name="T13" fmla="*/ 336 h 347"/>
                <a:gd name="T14" fmla="*/ 112 w 748"/>
                <a:gd name="T15" fmla="*/ 347 h 347"/>
                <a:gd name="T16" fmla="*/ 259 w 748"/>
                <a:gd name="T17" fmla="*/ 327 h 347"/>
                <a:gd name="T18" fmla="*/ 280 w 748"/>
                <a:gd name="T19" fmla="*/ 321 h 347"/>
                <a:gd name="T20" fmla="*/ 416 w 748"/>
                <a:gd name="T21" fmla="*/ 240 h 347"/>
                <a:gd name="T22" fmla="*/ 455 w 748"/>
                <a:gd name="T23" fmla="*/ 170 h 347"/>
                <a:gd name="T24" fmla="*/ 635 w 748"/>
                <a:gd name="T25" fmla="*/ 214 h 347"/>
                <a:gd name="T26" fmla="*/ 126 w 748"/>
                <a:gd name="T27" fmla="*/ 312 h 347"/>
                <a:gd name="T28" fmla="*/ 112 w 748"/>
                <a:gd name="T29" fmla="*/ 262 h 347"/>
                <a:gd name="T30" fmla="*/ 118 w 748"/>
                <a:gd name="T31" fmla="*/ 243 h 347"/>
                <a:gd name="T32" fmla="*/ 181 w 748"/>
                <a:gd name="T33" fmla="*/ 239 h 347"/>
                <a:gd name="T34" fmla="*/ 188 w 748"/>
                <a:gd name="T35" fmla="*/ 258 h 347"/>
                <a:gd name="T36" fmla="*/ 301 w 748"/>
                <a:gd name="T37" fmla="*/ 286 h 347"/>
                <a:gd name="T38" fmla="*/ 268 w 748"/>
                <a:gd name="T39" fmla="*/ 297 h 347"/>
                <a:gd name="T40" fmla="*/ 222 w 748"/>
                <a:gd name="T41" fmla="*/ 307 h 347"/>
                <a:gd name="T42" fmla="*/ 252 w 748"/>
                <a:gd name="T43" fmla="*/ 286 h 347"/>
                <a:gd name="T44" fmla="*/ 252 w 748"/>
                <a:gd name="T45" fmla="*/ 231 h 347"/>
                <a:gd name="T46" fmla="*/ 220 w 748"/>
                <a:gd name="T47" fmla="*/ 233 h 347"/>
                <a:gd name="T48" fmla="*/ 258 w 748"/>
                <a:gd name="T49" fmla="*/ 212 h 347"/>
                <a:gd name="T50" fmla="*/ 272 w 748"/>
                <a:gd name="T51" fmla="*/ 208 h 347"/>
                <a:gd name="T52" fmla="*/ 272 w 748"/>
                <a:gd name="T53" fmla="*/ 240 h 347"/>
                <a:gd name="T54" fmla="*/ 281 w 748"/>
                <a:gd name="T55" fmla="*/ 278 h 347"/>
                <a:gd name="T56" fmla="*/ 301 w 748"/>
                <a:gd name="T57" fmla="*/ 286 h 347"/>
                <a:gd name="T58" fmla="*/ 375 w 748"/>
                <a:gd name="T59" fmla="*/ 250 h 347"/>
                <a:gd name="T60" fmla="*/ 325 w 748"/>
                <a:gd name="T61" fmla="*/ 262 h 347"/>
                <a:gd name="T62" fmla="*/ 349 w 748"/>
                <a:gd name="T63" fmla="*/ 208 h 347"/>
                <a:gd name="T64" fmla="*/ 329 w 748"/>
                <a:gd name="T65" fmla="*/ 213 h 347"/>
                <a:gd name="T66" fmla="*/ 329 w 748"/>
                <a:gd name="T67" fmla="*/ 198 h 347"/>
                <a:gd name="T68" fmla="*/ 364 w 748"/>
                <a:gd name="T69" fmla="*/ 169 h 347"/>
                <a:gd name="T70" fmla="*/ 364 w 748"/>
                <a:gd name="T71" fmla="*/ 199 h 347"/>
                <a:gd name="T72" fmla="*/ 377 w 748"/>
                <a:gd name="T73" fmla="*/ 234 h 347"/>
                <a:gd name="T74" fmla="*/ 385 w 748"/>
                <a:gd name="T75" fmla="*/ 243 h 347"/>
                <a:gd name="T76" fmla="*/ 425 w 748"/>
                <a:gd name="T77" fmla="*/ 210 h 347"/>
                <a:gd name="T78" fmla="*/ 404 w 748"/>
                <a:gd name="T79" fmla="*/ 210 h 347"/>
                <a:gd name="T80" fmla="*/ 415 w 748"/>
                <a:gd name="T81" fmla="*/ 134 h 347"/>
                <a:gd name="T82" fmla="*/ 435 w 748"/>
                <a:gd name="T83" fmla="*/ 118 h 347"/>
                <a:gd name="T84" fmla="*/ 436 w 748"/>
                <a:gd name="T85" fmla="*/ 185 h 347"/>
                <a:gd name="T86" fmla="*/ 477 w 748"/>
                <a:gd name="T87" fmla="*/ 107 h 347"/>
                <a:gd name="T88" fmla="*/ 533 w 748"/>
                <a:gd name="T89" fmla="*/ 107 h 347"/>
                <a:gd name="T90" fmla="*/ 616 w 748"/>
                <a:gd name="T91" fmla="*/ 147 h 347"/>
                <a:gd name="T92" fmla="*/ 557 w 748"/>
                <a:gd name="T93" fmla="*/ 133 h 347"/>
                <a:gd name="T94" fmla="*/ 579 w 748"/>
                <a:gd name="T95" fmla="*/ 84 h 347"/>
                <a:gd name="T96" fmla="*/ 555 w 748"/>
                <a:gd name="T97" fmla="*/ 79 h 347"/>
                <a:gd name="T98" fmla="*/ 593 w 748"/>
                <a:gd name="T99" fmla="*/ 68 h 347"/>
                <a:gd name="T100" fmla="*/ 616 w 748"/>
                <a:gd name="T101" fmla="*/ 13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48" h="347">
                  <a:moveTo>
                    <a:pt x="748" y="107"/>
                  </a:moveTo>
                  <a:cubicBezTo>
                    <a:pt x="635" y="0"/>
                    <a:pt x="635" y="0"/>
                    <a:pt x="635" y="0"/>
                  </a:cubicBezTo>
                  <a:cubicBezTo>
                    <a:pt x="635" y="44"/>
                    <a:pt x="635" y="44"/>
                    <a:pt x="635" y="44"/>
                  </a:cubicBezTo>
                  <a:cubicBezTo>
                    <a:pt x="450" y="44"/>
                    <a:pt x="450" y="44"/>
                    <a:pt x="450" y="44"/>
                  </a:cubicBezTo>
                  <a:cubicBezTo>
                    <a:pt x="449" y="49"/>
                    <a:pt x="447" y="53"/>
                    <a:pt x="445" y="58"/>
                  </a:cubicBezTo>
                  <a:cubicBezTo>
                    <a:pt x="418" y="113"/>
                    <a:pt x="353" y="162"/>
                    <a:pt x="259" y="188"/>
                  </a:cubicBezTo>
                  <a:cubicBezTo>
                    <a:pt x="212" y="201"/>
                    <a:pt x="161" y="208"/>
                    <a:pt x="112" y="208"/>
                  </a:cubicBezTo>
                  <a:cubicBezTo>
                    <a:pt x="99" y="208"/>
                    <a:pt x="86" y="207"/>
                    <a:pt x="73" y="206"/>
                  </a:cubicBezTo>
                  <a:cubicBezTo>
                    <a:pt x="68" y="225"/>
                    <a:pt x="62" y="243"/>
                    <a:pt x="54" y="260"/>
                  </a:cubicBezTo>
                  <a:cubicBezTo>
                    <a:pt x="54" y="298"/>
                    <a:pt x="54" y="298"/>
                    <a:pt x="54" y="298"/>
                  </a:cubicBezTo>
                  <a:cubicBezTo>
                    <a:pt x="64" y="299"/>
                    <a:pt x="74" y="300"/>
                    <a:pt x="84" y="300"/>
                  </a:cubicBezTo>
                  <a:cubicBezTo>
                    <a:pt x="84" y="315"/>
                    <a:pt x="84" y="315"/>
                    <a:pt x="84" y="315"/>
                  </a:cubicBezTo>
                  <a:cubicBezTo>
                    <a:pt x="64" y="314"/>
                    <a:pt x="44" y="311"/>
                    <a:pt x="24" y="308"/>
                  </a:cubicBezTo>
                  <a:cubicBezTo>
                    <a:pt x="17" y="317"/>
                    <a:pt x="9" y="327"/>
                    <a:pt x="0" y="336"/>
                  </a:cubicBezTo>
                  <a:cubicBezTo>
                    <a:pt x="33" y="342"/>
                    <a:pt x="68" y="346"/>
                    <a:pt x="103" y="347"/>
                  </a:cubicBezTo>
                  <a:cubicBezTo>
                    <a:pt x="106" y="347"/>
                    <a:pt x="109" y="347"/>
                    <a:pt x="112" y="347"/>
                  </a:cubicBezTo>
                  <a:cubicBezTo>
                    <a:pt x="116" y="347"/>
                    <a:pt x="120" y="347"/>
                    <a:pt x="124" y="347"/>
                  </a:cubicBezTo>
                  <a:cubicBezTo>
                    <a:pt x="169" y="346"/>
                    <a:pt x="215" y="339"/>
                    <a:pt x="259" y="327"/>
                  </a:cubicBezTo>
                  <a:cubicBezTo>
                    <a:pt x="259" y="327"/>
                    <a:pt x="259" y="327"/>
                    <a:pt x="259" y="327"/>
                  </a:cubicBezTo>
                  <a:cubicBezTo>
                    <a:pt x="266" y="325"/>
                    <a:pt x="273" y="323"/>
                    <a:pt x="280" y="321"/>
                  </a:cubicBezTo>
                  <a:cubicBezTo>
                    <a:pt x="314" y="310"/>
                    <a:pt x="344" y="295"/>
                    <a:pt x="369" y="279"/>
                  </a:cubicBezTo>
                  <a:cubicBezTo>
                    <a:pt x="387" y="267"/>
                    <a:pt x="403" y="254"/>
                    <a:pt x="416" y="240"/>
                  </a:cubicBezTo>
                  <a:cubicBezTo>
                    <a:pt x="431" y="223"/>
                    <a:pt x="443" y="205"/>
                    <a:pt x="450" y="187"/>
                  </a:cubicBezTo>
                  <a:cubicBezTo>
                    <a:pt x="452" y="181"/>
                    <a:pt x="453" y="176"/>
                    <a:pt x="455" y="170"/>
                  </a:cubicBezTo>
                  <a:cubicBezTo>
                    <a:pt x="635" y="170"/>
                    <a:pt x="635" y="170"/>
                    <a:pt x="635" y="170"/>
                  </a:cubicBezTo>
                  <a:cubicBezTo>
                    <a:pt x="635" y="214"/>
                    <a:pt x="635" y="214"/>
                    <a:pt x="635" y="214"/>
                  </a:cubicBezTo>
                  <a:lnTo>
                    <a:pt x="748" y="107"/>
                  </a:lnTo>
                  <a:close/>
                  <a:moveTo>
                    <a:pt x="126" y="312"/>
                  </a:moveTo>
                  <a:cubicBezTo>
                    <a:pt x="125" y="311"/>
                    <a:pt x="125" y="311"/>
                    <a:pt x="124" y="310"/>
                  </a:cubicBezTo>
                  <a:cubicBezTo>
                    <a:pt x="111" y="299"/>
                    <a:pt x="110" y="276"/>
                    <a:pt x="112" y="262"/>
                  </a:cubicBezTo>
                  <a:cubicBezTo>
                    <a:pt x="112" y="259"/>
                    <a:pt x="113" y="256"/>
                    <a:pt x="113" y="254"/>
                  </a:cubicBezTo>
                  <a:cubicBezTo>
                    <a:pt x="115" y="250"/>
                    <a:pt x="116" y="246"/>
                    <a:pt x="118" y="243"/>
                  </a:cubicBezTo>
                  <a:cubicBezTo>
                    <a:pt x="127" y="230"/>
                    <a:pt x="142" y="229"/>
                    <a:pt x="150" y="228"/>
                  </a:cubicBezTo>
                  <a:cubicBezTo>
                    <a:pt x="164" y="227"/>
                    <a:pt x="175" y="231"/>
                    <a:pt x="181" y="239"/>
                  </a:cubicBezTo>
                  <a:cubicBezTo>
                    <a:pt x="185" y="244"/>
                    <a:pt x="187" y="250"/>
                    <a:pt x="188" y="258"/>
                  </a:cubicBezTo>
                  <a:cubicBezTo>
                    <a:pt x="188" y="258"/>
                    <a:pt x="188" y="258"/>
                    <a:pt x="188" y="258"/>
                  </a:cubicBezTo>
                  <a:cubicBezTo>
                    <a:pt x="197" y="316"/>
                    <a:pt x="148" y="327"/>
                    <a:pt x="126" y="312"/>
                  </a:cubicBezTo>
                  <a:close/>
                  <a:moveTo>
                    <a:pt x="301" y="286"/>
                  </a:moveTo>
                  <a:cubicBezTo>
                    <a:pt x="294" y="288"/>
                    <a:pt x="288" y="291"/>
                    <a:pt x="281" y="293"/>
                  </a:cubicBezTo>
                  <a:cubicBezTo>
                    <a:pt x="277" y="294"/>
                    <a:pt x="273" y="295"/>
                    <a:pt x="268" y="297"/>
                  </a:cubicBezTo>
                  <a:cubicBezTo>
                    <a:pt x="265" y="297"/>
                    <a:pt x="263" y="298"/>
                    <a:pt x="261" y="299"/>
                  </a:cubicBezTo>
                  <a:cubicBezTo>
                    <a:pt x="248" y="302"/>
                    <a:pt x="235" y="305"/>
                    <a:pt x="222" y="307"/>
                  </a:cubicBezTo>
                  <a:cubicBezTo>
                    <a:pt x="222" y="292"/>
                    <a:pt x="222" y="292"/>
                    <a:pt x="222" y="292"/>
                  </a:cubicBezTo>
                  <a:cubicBezTo>
                    <a:pt x="232" y="290"/>
                    <a:pt x="242" y="288"/>
                    <a:pt x="252" y="286"/>
                  </a:cubicBezTo>
                  <a:cubicBezTo>
                    <a:pt x="252" y="246"/>
                    <a:pt x="252" y="246"/>
                    <a:pt x="252" y="246"/>
                  </a:cubicBezTo>
                  <a:cubicBezTo>
                    <a:pt x="252" y="231"/>
                    <a:pt x="252" y="231"/>
                    <a:pt x="252" y="231"/>
                  </a:cubicBezTo>
                  <a:cubicBezTo>
                    <a:pt x="245" y="235"/>
                    <a:pt x="235" y="241"/>
                    <a:pt x="228" y="245"/>
                  </a:cubicBezTo>
                  <a:cubicBezTo>
                    <a:pt x="220" y="233"/>
                    <a:pt x="220" y="233"/>
                    <a:pt x="220" y="233"/>
                  </a:cubicBezTo>
                  <a:cubicBezTo>
                    <a:pt x="220" y="233"/>
                    <a:pt x="220" y="233"/>
                    <a:pt x="220" y="233"/>
                  </a:cubicBezTo>
                  <a:cubicBezTo>
                    <a:pt x="231" y="227"/>
                    <a:pt x="247" y="218"/>
                    <a:pt x="258" y="212"/>
                  </a:cubicBezTo>
                  <a:cubicBezTo>
                    <a:pt x="261" y="211"/>
                    <a:pt x="265" y="210"/>
                    <a:pt x="268" y="209"/>
                  </a:cubicBezTo>
                  <a:cubicBezTo>
                    <a:pt x="269" y="209"/>
                    <a:pt x="271" y="208"/>
                    <a:pt x="272" y="208"/>
                  </a:cubicBezTo>
                  <a:cubicBezTo>
                    <a:pt x="272" y="221"/>
                    <a:pt x="272" y="221"/>
                    <a:pt x="272" y="221"/>
                  </a:cubicBezTo>
                  <a:cubicBezTo>
                    <a:pt x="272" y="240"/>
                    <a:pt x="272" y="240"/>
                    <a:pt x="272" y="240"/>
                  </a:cubicBezTo>
                  <a:cubicBezTo>
                    <a:pt x="272" y="281"/>
                    <a:pt x="272" y="281"/>
                    <a:pt x="272" y="281"/>
                  </a:cubicBezTo>
                  <a:cubicBezTo>
                    <a:pt x="275" y="280"/>
                    <a:pt x="278" y="279"/>
                    <a:pt x="281" y="278"/>
                  </a:cubicBezTo>
                  <a:cubicBezTo>
                    <a:pt x="288" y="276"/>
                    <a:pt x="294" y="274"/>
                    <a:pt x="301" y="272"/>
                  </a:cubicBezTo>
                  <a:cubicBezTo>
                    <a:pt x="301" y="286"/>
                    <a:pt x="301" y="286"/>
                    <a:pt x="301" y="286"/>
                  </a:cubicBezTo>
                  <a:close/>
                  <a:moveTo>
                    <a:pt x="385" y="243"/>
                  </a:moveTo>
                  <a:cubicBezTo>
                    <a:pt x="382" y="245"/>
                    <a:pt x="379" y="248"/>
                    <a:pt x="375" y="250"/>
                  </a:cubicBezTo>
                  <a:cubicBezTo>
                    <a:pt x="360" y="260"/>
                    <a:pt x="343" y="269"/>
                    <a:pt x="325" y="277"/>
                  </a:cubicBezTo>
                  <a:cubicBezTo>
                    <a:pt x="325" y="262"/>
                    <a:pt x="325" y="262"/>
                    <a:pt x="325" y="262"/>
                  </a:cubicBezTo>
                  <a:cubicBezTo>
                    <a:pt x="333" y="258"/>
                    <a:pt x="341" y="254"/>
                    <a:pt x="349" y="250"/>
                  </a:cubicBezTo>
                  <a:cubicBezTo>
                    <a:pt x="349" y="208"/>
                    <a:pt x="349" y="208"/>
                    <a:pt x="349" y="208"/>
                  </a:cubicBezTo>
                  <a:cubicBezTo>
                    <a:pt x="349" y="195"/>
                    <a:pt x="349" y="195"/>
                    <a:pt x="349" y="195"/>
                  </a:cubicBezTo>
                  <a:cubicBezTo>
                    <a:pt x="343" y="201"/>
                    <a:pt x="335" y="208"/>
                    <a:pt x="329" y="213"/>
                  </a:cubicBezTo>
                  <a:cubicBezTo>
                    <a:pt x="323" y="203"/>
                    <a:pt x="323" y="203"/>
                    <a:pt x="323" y="203"/>
                  </a:cubicBezTo>
                  <a:cubicBezTo>
                    <a:pt x="325" y="201"/>
                    <a:pt x="327" y="199"/>
                    <a:pt x="329" y="198"/>
                  </a:cubicBezTo>
                  <a:cubicBezTo>
                    <a:pt x="337" y="190"/>
                    <a:pt x="346" y="182"/>
                    <a:pt x="354" y="175"/>
                  </a:cubicBezTo>
                  <a:cubicBezTo>
                    <a:pt x="357" y="173"/>
                    <a:pt x="361" y="171"/>
                    <a:pt x="364" y="169"/>
                  </a:cubicBezTo>
                  <a:cubicBezTo>
                    <a:pt x="364" y="176"/>
                    <a:pt x="364" y="176"/>
                    <a:pt x="364" y="176"/>
                  </a:cubicBezTo>
                  <a:cubicBezTo>
                    <a:pt x="364" y="199"/>
                    <a:pt x="364" y="199"/>
                    <a:pt x="364" y="199"/>
                  </a:cubicBezTo>
                  <a:cubicBezTo>
                    <a:pt x="364" y="242"/>
                    <a:pt x="364" y="242"/>
                    <a:pt x="364" y="242"/>
                  </a:cubicBezTo>
                  <a:cubicBezTo>
                    <a:pt x="369" y="239"/>
                    <a:pt x="373" y="237"/>
                    <a:pt x="377" y="234"/>
                  </a:cubicBezTo>
                  <a:cubicBezTo>
                    <a:pt x="380" y="232"/>
                    <a:pt x="383" y="231"/>
                    <a:pt x="385" y="229"/>
                  </a:cubicBezTo>
                  <a:cubicBezTo>
                    <a:pt x="385" y="243"/>
                    <a:pt x="385" y="243"/>
                    <a:pt x="385" y="243"/>
                  </a:cubicBezTo>
                  <a:close/>
                  <a:moveTo>
                    <a:pt x="436" y="185"/>
                  </a:moveTo>
                  <a:cubicBezTo>
                    <a:pt x="433" y="196"/>
                    <a:pt x="430" y="204"/>
                    <a:pt x="425" y="210"/>
                  </a:cubicBezTo>
                  <a:cubicBezTo>
                    <a:pt x="421" y="216"/>
                    <a:pt x="416" y="219"/>
                    <a:pt x="412" y="219"/>
                  </a:cubicBezTo>
                  <a:cubicBezTo>
                    <a:pt x="409" y="219"/>
                    <a:pt x="406" y="216"/>
                    <a:pt x="404" y="210"/>
                  </a:cubicBezTo>
                  <a:cubicBezTo>
                    <a:pt x="401" y="201"/>
                    <a:pt x="400" y="186"/>
                    <a:pt x="402" y="170"/>
                  </a:cubicBezTo>
                  <a:cubicBezTo>
                    <a:pt x="404" y="158"/>
                    <a:pt x="408" y="145"/>
                    <a:pt x="415" y="134"/>
                  </a:cubicBezTo>
                  <a:cubicBezTo>
                    <a:pt x="417" y="130"/>
                    <a:pt x="420" y="127"/>
                    <a:pt x="422" y="123"/>
                  </a:cubicBezTo>
                  <a:cubicBezTo>
                    <a:pt x="428" y="118"/>
                    <a:pt x="432" y="116"/>
                    <a:pt x="435" y="118"/>
                  </a:cubicBezTo>
                  <a:cubicBezTo>
                    <a:pt x="435" y="119"/>
                    <a:pt x="435" y="119"/>
                    <a:pt x="435" y="119"/>
                  </a:cubicBezTo>
                  <a:cubicBezTo>
                    <a:pt x="441" y="127"/>
                    <a:pt x="441" y="164"/>
                    <a:pt x="436" y="185"/>
                  </a:cubicBezTo>
                  <a:close/>
                  <a:moveTo>
                    <a:pt x="505" y="147"/>
                  </a:moveTo>
                  <a:cubicBezTo>
                    <a:pt x="481" y="147"/>
                    <a:pt x="477" y="124"/>
                    <a:pt x="477" y="107"/>
                  </a:cubicBezTo>
                  <a:cubicBezTo>
                    <a:pt x="477" y="89"/>
                    <a:pt x="481" y="67"/>
                    <a:pt x="505" y="67"/>
                  </a:cubicBezTo>
                  <a:cubicBezTo>
                    <a:pt x="528" y="67"/>
                    <a:pt x="533" y="89"/>
                    <a:pt x="533" y="107"/>
                  </a:cubicBezTo>
                  <a:cubicBezTo>
                    <a:pt x="533" y="124"/>
                    <a:pt x="529" y="147"/>
                    <a:pt x="505" y="147"/>
                  </a:cubicBezTo>
                  <a:close/>
                  <a:moveTo>
                    <a:pt x="616" y="147"/>
                  </a:moveTo>
                  <a:cubicBezTo>
                    <a:pt x="557" y="147"/>
                    <a:pt x="557" y="147"/>
                    <a:pt x="557" y="147"/>
                  </a:cubicBezTo>
                  <a:cubicBezTo>
                    <a:pt x="557" y="133"/>
                    <a:pt x="557" y="133"/>
                    <a:pt x="557" y="133"/>
                  </a:cubicBezTo>
                  <a:cubicBezTo>
                    <a:pt x="579" y="133"/>
                    <a:pt x="579" y="133"/>
                    <a:pt x="579" y="133"/>
                  </a:cubicBezTo>
                  <a:cubicBezTo>
                    <a:pt x="579" y="84"/>
                    <a:pt x="579" y="84"/>
                    <a:pt x="579" y="84"/>
                  </a:cubicBezTo>
                  <a:cubicBezTo>
                    <a:pt x="561" y="91"/>
                    <a:pt x="561" y="91"/>
                    <a:pt x="561" y="91"/>
                  </a:cubicBezTo>
                  <a:cubicBezTo>
                    <a:pt x="555" y="79"/>
                    <a:pt x="555" y="79"/>
                    <a:pt x="555" y="79"/>
                  </a:cubicBezTo>
                  <a:cubicBezTo>
                    <a:pt x="583" y="68"/>
                    <a:pt x="583" y="68"/>
                    <a:pt x="583" y="68"/>
                  </a:cubicBezTo>
                  <a:cubicBezTo>
                    <a:pt x="593" y="68"/>
                    <a:pt x="593" y="68"/>
                    <a:pt x="593" y="68"/>
                  </a:cubicBezTo>
                  <a:cubicBezTo>
                    <a:pt x="593" y="133"/>
                    <a:pt x="593" y="133"/>
                    <a:pt x="593" y="133"/>
                  </a:cubicBezTo>
                  <a:cubicBezTo>
                    <a:pt x="616" y="133"/>
                    <a:pt x="616" y="133"/>
                    <a:pt x="616" y="133"/>
                  </a:cubicBezTo>
                  <a:lnTo>
                    <a:pt x="616" y="14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7" name="Freeform 15"/>
            <p:cNvSpPr>
              <a:spLocks/>
            </p:cNvSpPr>
            <p:nvPr/>
          </p:nvSpPr>
          <p:spPr bwMode="auto">
            <a:xfrm>
              <a:off x="7378701" y="3375025"/>
              <a:ext cx="74613" cy="266700"/>
            </a:xfrm>
            <a:custGeom>
              <a:avLst/>
              <a:gdLst>
                <a:gd name="T0" fmla="*/ 14 w 20"/>
                <a:gd name="T1" fmla="*/ 1 h 71"/>
                <a:gd name="T2" fmla="*/ 2 w 20"/>
                <a:gd name="T3" fmla="*/ 24 h 71"/>
                <a:gd name="T4" fmla="*/ 0 w 20"/>
                <a:gd name="T5" fmla="*/ 47 h 71"/>
                <a:gd name="T6" fmla="*/ 9 w 20"/>
                <a:gd name="T7" fmla="*/ 63 h 71"/>
                <a:gd name="T8" fmla="*/ 17 w 20"/>
                <a:gd name="T9" fmla="*/ 7 h 71"/>
                <a:gd name="T10" fmla="*/ 14 w 20"/>
                <a:gd name="T11" fmla="*/ 1 h 71"/>
              </a:gdLst>
              <a:ahLst/>
              <a:cxnLst>
                <a:cxn ang="0">
                  <a:pos x="T0" y="T1"/>
                </a:cxn>
                <a:cxn ang="0">
                  <a:pos x="T2" y="T3"/>
                </a:cxn>
                <a:cxn ang="0">
                  <a:pos x="T4" y="T5"/>
                </a:cxn>
                <a:cxn ang="0">
                  <a:pos x="T6" y="T7"/>
                </a:cxn>
                <a:cxn ang="0">
                  <a:pos x="T8" y="T9"/>
                </a:cxn>
                <a:cxn ang="0">
                  <a:pos x="T10" y="T11"/>
                </a:cxn>
              </a:cxnLst>
              <a:rect l="0" t="0" r="r" b="b"/>
              <a:pathLst>
                <a:path w="20" h="71">
                  <a:moveTo>
                    <a:pt x="14" y="1"/>
                  </a:moveTo>
                  <a:cubicBezTo>
                    <a:pt x="12" y="0"/>
                    <a:pt x="4" y="5"/>
                    <a:pt x="2" y="24"/>
                  </a:cubicBezTo>
                  <a:cubicBezTo>
                    <a:pt x="1" y="30"/>
                    <a:pt x="0" y="38"/>
                    <a:pt x="0" y="47"/>
                  </a:cubicBezTo>
                  <a:cubicBezTo>
                    <a:pt x="1" y="56"/>
                    <a:pt x="2" y="71"/>
                    <a:pt x="9" y="63"/>
                  </a:cubicBezTo>
                  <a:cubicBezTo>
                    <a:pt x="18" y="54"/>
                    <a:pt x="20" y="20"/>
                    <a:pt x="17" y="7"/>
                  </a:cubicBezTo>
                  <a:cubicBezTo>
                    <a:pt x="16" y="4"/>
                    <a:pt x="15" y="2"/>
                    <a:pt x="14"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grpSp>
      <p:sp>
        <p:nvSpPr>
          <p:cNvPr id="28" name="Freeform 5"/>
          <p:cNvSpPr>
            <a:spLocks noEditPoints="1"/>
          </p:cNvSpPr>
          <p:nvPr/>
        </p:nvSpPr>
        <p:spPr bwMode="auto">
          <a:xfrm>
            <a:off x="2366398" y="4973499"/>
            <a:ext cx="1000090" cy="669256"/>
          </a:xfrm>
          <a:custGeom>
            <a:avLst/>
            <a:gdLst>
              <a:gd name="T0" fmla="*/ 381 w 1002"/>
              <a:gd name="T1" fmla="*/ 40 h 669"/>
              <a:gd name="T2" fmla="*/ 582 w 1002"/>
              <a:gd name="T3" fmla="*/ 172 h 669"/>
              <a:gd name="T4" fmla="*/ 698 w 1002"/>
              <a:gd name="T5" fmla="*/ 123 h 669"/>
              <a:gd name="T6" fmla="*/ 851 w 1002"/>
              <a:gd name="T7" fmla="*/ 264 h 669"/>
              <a:gd name="T8" fmla="*/ 851 w 1002"/>
              <a:gd name="T9" fmla="*/ 267 h 669"/>
              <a:gd name="T10" fmla="*/ 962 w 1002"/>
              <a:gd name="T11" fmla="*/ 437 h 669"/>
              <a:gd name="T12" fmla="*/ 753 w 1002"/>
              <a:gd name="T13" fmla="*/ 629 h 669"/>
              <a:gd name="T14" fmla="*/ 753 w 1002"/>
              <a:gd name="T15" fmla="*/ 629 h 669"/>
              <a:gd name="T16" fmla="*/ 230 w 1002"/>
              <a:gd name="T17" fmla="*/ 629 h 669"/>
              <a:gd name="T18" fmla="*/ 230 w 1002"/>
              <a:gd name="T19" fmla="*/ 629 h 669"/>
              <a:gd name="T20" fmla="*/ 40 w 1002"/>
              <a:gd name="T21" fmla="*/ 453 h 669"/>
              <a:gd name="T22" fmla="*/ 173 w 1002"/>
              <a:gd name="T23" fmla="*/ 287 h 669"/>
              <a:gd name="T24" fmla="*/ 166 w 1002"/>
              <a:gd name="T25" fmla="*/ 238 h 669"/>
              <a:gd name="T26" fmla="*/ 381 w 1002"/>
              <a:gd name="T27" fmla="*/ 40 h 669"/>
              <a:gd name="T28" fmla="*/ 381 w 1002"/>
              <a:gd name="T29" fmla="*/ 0 h 669"/>
              <a:gd name="T30" fmla="*/ 126 w 1002"/>
              <a:gd name="T31" fmla="*/ 238 h 669"/>
              <a:gd name="T32" fmla="*/ 127 w 1002"/>
              <a:gd name="T33" fmla="*/ 261 h 669"/>
              <a:gd name="T34" fmla="*/ 46 w 1002"/>
              <a:gd name="T35" fmla="*/ 324 h 669"/>
              <a:gd name="T36" fmla="*/ 0 w 1002"/>
              <a:gd name="T37" fmla="*/ 453 h 669"/>
              <a:gd name="T38" fmla="*/ 230 w 1002"/>
              <a:gd name="T39" fmla="*/ 669 h 669"/>
              <a:gd name="T40" fmla="*/ 753 w 1002"/>
              <a:gd name="T41" fmla="*/ 669 h 669"/>
              <a:gd name="T42" fmla="*/ 1002 w 1002"/>
              <a:gd name="T43" fmla="*/ 437 h 669"/>
              <a:gd name="T44" fmla="*/ 890 w 1002"/>
              <a:gd name="T45" fmla="*/ 243 h 669"/>
              <a:gd name="T46" fmla="*/ 698 w 1002"/>
              <a:gd name="T47" fmla="*/ 83 h 669"/>
              <a:gd name="T48" fmla="*/ 595 w 1002"/>
              <a:gd name="T49" fmla="*/ 111 h 669"/>
              <a:gd name="T50" fmla="*/ 381 w 1002"/>
              <a:gd name="T51" fmla="*/ 0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02" h="669">
                <a:moveTo>
                  <a:pt x="381" y="40"/>
                </a:moveTo>
                <a:cubicBezTo>
                  <a:pt x="474" y="40"/>
                  <a:pt x="553" y="95"/>
                  <a:pt x="582" y="172"/>
                </a:cubicBezTo>
                <a:cubicBezTo>
                  <a:pt x="610" y="142"/>
                  <a:pt x="651" y="123"/>
                  <a:pt x="698" y="123"/>
                </a:cubicBezTo>
                <a:cubicBezTo>
                  <a:pt x="783" y="123"/>
                  <a:pt x="851" y="186"/>
                  <a:pt x="851" y="264"/>
                </a:cubicBezTo>
                <a:cubicBezTo>
                  <a:pt x="851" y="265"/>
                  <a:pt x="851" y="266"/>
                  <a:pt x="851" y="267"/>
                </a:cubicBezTo>
                <a:cubicBezTo>
                  <a:pt x="917" y="299"/>
                  <a:pt x="962" y="363"/>
                  <a:pt x="962" y="437"/>
                </a:cubicBezTo>
                <a:cubicBezTo>
                  <a:pt x="962" y="543"/>
                  <a:pt x="868" y="629"/>
                  <a:pt x="753" y="629"/>
                </a:cubicBezTo>
                <a:cubicBezTo>
                  <a:pt x="753" y="629"/>
                  <a:pt x="753" y="629"/>
                  <a:pt x="753" y="629"/>
                </a:cubicBezTo>
                <a:cubicBezTo>
                  <a:pt x="230" y="629"/>
                  <a:pt x="230" y="629"/>
                  <a:pt x="230" y="629"/>
                </a:cubicBezTo>
                <a:cubicBezTo>
                  <a:pt x="230" y="629"/>
                  <a:pt x="230" y="629"/>
                  <a:pt x="230" y="629"/>
                </a:cubicBezTo>
                <a:cubicBezTo>
                  <a:pt x="125" y="629"/>
                  <a:pt x="40" y="551"/>
                  <a:pt x="40" y="453"/>
                </a:cubicBezTo>
                <a:cubicBezTo>
                  <a:pt x="40" y="375"/>
                  <a:pt x="96" y="308"/>
                  <a:pt x="173" y="287"/>
                </a:cubicBezTo>
                <a:cubicBezTo>
                  <a:pt x="168" y="271"/>
                  <a:pt x="166" y="255"/>
                  <a:pt x="166" y="238"/>
                </a:cubicBezTo>
                <a:cubicBezTo>
                  <a:pt x="166" y="129"/>
                  <a:pt x="262" y="40"/>
                  <a:pt x="381" y="40"/>
                </a:cubicBezTo>
                <a:moveTo>
                  <a:pt x="381" y="0"/>
                </a:moveTo>
                <a:cubicBezTo>
                  <a:pt x="240" y="0"/>
                  <a:pt x="126" y="107"/>
                  <a:pt x="126" y="238"/>
                </a:cubicBezTo>
                <a:cubicBezTo>
                  <a:pt x="126" y="246"/>
                  <a:pt x="126" y="254"/>
                  <a:pt x="127" y="261"/>
                </a:cubicBezTo>
                <a:cubicBezTo>
                  <a:pt x="96" y="276"/>
                  <a:pt x="68" y="297"/>
                  <a:pt x="46" y="324"/>
                </a:cubicBezTo>
                <a:cubicBezTo>
                  <a:pt x="16" y="361"/>
                  <a:pt x="0" y="406"/>
                  <a:pt x="0" y="453"/>
                </a:cubicBezTo>
                <a:cubicBezTo>
                  <a:pt x="0" y="573"/>
                  <a:pt x="103" y="669"/>
                  <a:pt x="230" y="669"/>
                </a:cubicBezTo>
                <a:cubicBezTo>
                  <a:pt x="753" y="669"/>
                  <a:pt x="753" y="669"/>
                  <a:pt x="753" y="669"/>
                </a:cubicBezTo>
                <a:cubicBezTo>
                  <a:pt x="890" y="669"/>
                  <a:pt x="1002" y="565"/>
                  <a:pt x="1002" y="437"/>
                </a:cubicBezTo>
                <a:cubicBezTo>
                  <a:pt x="1002" y="357"/>
                  <a:pt x="959" y="285"/>
                  <a:pt x="890" y="243"/>
                </a:cubicBezTo>
                <a:cubicBezTo>
                  <a:pt x="879" y="153"/>
                  <a:pt x="797" y="83"/>
                  <a:pt x="698" y="83"/>
                </a:cubicBezTo>
                <a:cubicBezTo>
                  <a:pt x="661" y="83"/>
                  <a:pt x="625" y="92"/>
                  <a:pt x="595" y="111"/>
                </a:cubicBezTo>
                <a:cubicBezTo>
                  <a:pt x="549" y="43"/>
                  <a:pt x="469" y="0"/>
                  <a:pt x="38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36" tIns="46618" rIns="93236" bIns="46618" numCol="1" anchor="t" anchorCtr="0" compatLnSpc="1">
            <a:prstTxWarp prst="textNoShape">
              <a:avLst/>
            </a:prstTxWarp>
          </a:bodyPr>
          <a:lstStyle/>
          <a:p>
            <a:pPr defTabSz="1109758">
              <a:defRPr/>
            </a:pPr>
            <a:endParaRPr lang="en-US" sz="2243" kern="0" dirty="0">
              <a:solidFill>
                <a:srgbClr val="505050"/>
              </a:solidFill>
            </a:endParaRPr>
          </a:p>
        </p:txBody>
      </p:sp>
      <p:sp>
        <p:nvSpPr>
          <p:cNvPr id="29" name="Freeform 81"/>
          <p:cNvSpPr>
            <a:spLocks noEditPoints="1"/>
          </p:cNvSpPr>
          <p:nvPr/>
        </p:nvSpPr>
        <p:spPr bwMode="black">
          <a:xfrm>
            <a:off x="6751803" y="1457622"/>
            <a:ext cx="877163" cy="535445"/>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3922" tIns="41961" rIns="83922" bIns="41961" numCol="1" anchor="t" anchorCtr="0" compatLnSpc="1">
            <a:prstTxWarp prst="textNoShape">
              <a:avLst/>
            </a:prstTxWarp>
          </a:bodyPr>
          <a:lstStyle/>
          <a:p>
            <a:pPr defTabSz="1109758">
              <a:defRPr/>
            </a:pPr>
            <a:endParaRPr lang="en-US" sz="1632" kern="0" dirty="0">
              <a:solidFill>
                <a:srgbClr val="505050"/>
              </a:solidFill>
            </a:endParaRPr>
          </a:p>
        </p:txBody>
      </p:sp>
      <p:grpSp>
        <p:nvGrpSpPr>
          <p:cNvPr id="30" name="Group 4"/>
          <p:cNvGrpSpPr>
            <a:grpSpLocks noChangeAspect="1"/>
          </p:cNvGrpSpPr>
          <p:nvPr/>
        </p:nvGrpSpPr>
        <p:grpSpPr bwMode="auto">
          <a:xfrm>
            <a:off x="8335555" y="3259912"/>
            <a:ext cx="687967" cy="1196946"/>
            <a:chOff x="3577" y="1828"/>
            <a:chExt cx="509" cy="1008"/>
          </a:xfrm>
          <a:solidFill>
            <a:srgbClr val="FFFFFF"/>
          </a:solidFill>
        </p:grpSpPr>
        <p:sp>
          <p:nvSpPr>
            <p:cNvPr id="31" name="Oval 5"/>
            <p:cNvSpPr>
              <a:spLocks noChangeArrowheads="1"/>
            </p:cNvSpPr>
            <p:nvPr/>
          </p:nvSpPr>
          <p:spPr bwMode="auto">
            <a:xfrm>
              <a:off x="3790" y="1828"/>
              <a:ext cx="111" cy="109"/>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2" name="Freeform 6"/>
            <p:cNvSpPr>
              <a:spLocks/>
            </p:cNvSpPr>
            <p:nvPr/>
          </p:nvSpPr>
          <p:spPr bwMode="auto">
            <a:xfrm>
              <a:off x="3747" y="1956"/>
              <a:ext cx="226" cy="190"/>
            </a:xfrm>
            <a:custGeom>
              <a:avLst/>
              <a:gdLst>
                <a:gd name="T0" fmla="*/ 15 w 94"/>
                <a:gd name="T1" fmla="*/ 31 h 80"/>
                <a:gd name="T2" fmla="*/ 12 w 94"/>
                <a:gd name="T3" fmla="*/ 44 h 80"/>
                <a:gd name="T4" fmla="*/ 12 w 94"/>
                <a:gd name="T5" fmla="*/ 55 h 80"/>
                <a:gd name="T6" fmla="*/ 13 w 94"/>
                <a:gd name="T7" fmla="*/ 55 h 80"/>
                <a:gd name="T8" fmla="*/ 44 w 94"/>
                <a:gd name="T9" fmla="*/ 79 h 80"/>
                <a:gd name="T10" fmla="*/ 46 w 94"/>
                <a:gd name="T11" fmla="*/ 80 h 80"/>
                <a:gd name="T12" fmla="*/ 56 w 94"/>
                <a:gd name="T13" fmla="*/ 77 h 80"/>
                <a:gd name="T14" fmla="*/ 64 w 94"/>
                <a:gd name="T15" fmla="*/ 77 h 80"/>
                <a:gd name="T16" fmla="*/ 64 w 94"/>
                <a:gd name="T17" fmla="*/ 77 h 80"/>
                <a:gd name="T18" fmla="*/ 64 w 94"/>
                <a:gd name="T19" fmla="*/ 77 h 80"/>
                <a:gd name="T20" fmla="*/ 65 w 94"/>
                <a:gd name="T21" fmla="*/ 77 h 80"/>
                <a:gd name="T22" fmla="*/ 55 w 94"/>
                <a:gd name="T23" fmla="*/ 54 h 80"/>
                <a:gd name="T24" fmla="*/ 86 w 94"/>
                <a:gd name="T25" fmla="*/ 23 h 80"/>
                <a:gd name="T26" fmla="*/ 94 w 94"/>
                <a:gd name="T27" fmla="*/ 24 h 80"/>
                <a:gd name="T28" fmla="*/ 68 w 94"/>
                <a:gd name="T29" fmla="*/ 0 h 80"/>
                <a:gd name="T30" fmla="*/ 61 w 94"/>
                <a:gd name="T31" fmla="*/ 0 h 80"/>
                <a:gd name="T32" fmla="*/ 19 w 94"/>
                <a:gd name="T33" fmla="*/ 0 h 80"/>
                <a:gd name="T34" fmla="*/ 12 w 94"/>
                <a:gd name="T35" fmla="*/ 1 h 80"/>
                <a:gd name="T36" fmla="*/ 0 w 94"/>
                <a:gd name="T37" fmla="*/ 4 h 80"/>
                <a:gd name="T38" fmla="*/ 15 w 94"/>
                <a:gd name="T39" fmla="*/ 3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4" h="80">
                  <a:moveTo>
                    <a:pt x="15" y="31"/>
                  </a:moveTo>
                  <a:cubicBezTo>
                    <a:pt x="15" y="36"/>
                    <a:pt x="14" y="40"/>
                    <a:pt x="12" y="44"/>
                  </a:cubicBezTo>
                  <a:cubicBezTo>
                    <a:pt x="12" y="47"/>
                    <a:pt x="12" y="51"/>
                    <a:pt x="12" y="55"/>
                  </a:cubicBezTo>
                  <a:cubicBezTo>
                    <a:pt x="12" y="55"/>
                    <a:pt x="13" y="55"/>
                    <a:pt x="13" y="55"/>
                  </a:cubicBezTo>
                  <a:cubicBezTo>
                    <a:pt x="29" y="57"/>
                    <a:pt x="39" y="65"/>
                    <a:pt x="44" y="79"/>
                  </a:cubicBezTo>
                  <a:cubicBezTo>
                    <a:pt x="45" y="79"/>
                    <a:pt x="45" y="80"/>
                    <a:pt x="46" y="80"/>
                  </a:cubicBezTo>
                  <a:cubicBezTo>
                    <a:pt x="49" y="79"/>
                    <a:pt x="52" y="78"/>
                    <a:pt x="56" y="77"/>
                  </a:cubicBezTo>
                  <a:cubicBezTo>
                    <a:pt x="58" y="77"/>
                    <a:pt x="61" y="77"/>
                    <a:pt x="64" y="77"/>
                  </a:cubicBezTo>
                  <a:cubicBezTo>
                    <a:pt x="64" y="77"/>
                    <a:pt x="64" y="77"/>
                    <a:pt x="64" y="77"/>
                  </a:cubicBezTo>
                  <a:cubicBezTo>
                    <a:pt x="64" y="77"/>
                    <a:pt x="64" y="77"/>
                    <a:pt x="64" y="77"/>
                  </a:cubicBezTo>
                  <a:cubicBezTo>
                    <a:pt x="65" y="77"/>
                    <a:pt x="65" y="77"/>
                    <a:pt x="65" y="77"/>
                  </a:cubicBezTo>
                  <a:cubicBezTo>
                    <a:pt x="59" y="71"/>
                    <a:pt x="55" y="63"/>
                    <a:pt x="55" y="54"/>
                  </a:cubicBezTo>
                  <a:cubicBezTo>
                    <a:pt x="55" y="37"/>
                    <a:pt x="69" y="23"/>
                    <a:pt x="86" y="23"/>
                  </a:cubicBezTo>
                  <a:cubicBezTo>
                    <a:pt x="89" y="23"/>
                    <a:pt x="92" y="23"/>
                    <a:pt x="94" y="24"/>
                  </a:cubicBezTo>
                  <a:cubicBezTo>
                    <a:pt x="91" y="9"/>
                    <a:pt x="82" y="2"/>
                    <a:pt x="68" y="0"/>
                  </a:cubicBezTo>
                  <a:cubicBezTo>
                    <a:pt x="66" y="0"/>
                    <a:pt x="64" y="0"/>
                    <a:pt x="61" y="0"/>
                  </a:cubicBezTo>
                  <a:cubicBezTo>
                    <a:pt x="19" y="0"/>
                    <a:pt x="19" y="0"/>
                    <a:pt x="19" y="0"/>
                  </a:cubicBezTo>
                  <a:cubicBezTo>
                    <a:pt x="17" y="0"/>
                    <a:pt x="14" y="0"/>
                    <a:pt x="12" y="1"/>
                  </a:cubicBezTo>
                  <a:cubicBezTo>
                    <a:pt x="7" y="1"/>
                    <a:pt x="3" y="2"/>
                    <a:pt x="0" y="4"/>
                  </a:cubicBezTo>
                  <a:cubicBezTo>
                    <a:pt x="9" y="10"/>
                    <a:pt x="15" y="20"/>
                    <a:pt x="15" y="3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3" name="Freeform 7"/>
            <p:cNvSpPr>
              <a:spLocks/>
            </p:cNvSpPr>
            <p:nvPr/>
          </p:nvSpPr>
          <p:spPr bwMode="auto">
            <a:xfrm>
              <a:off x="3653" y="1975"/>
              <a:ext cx="111" cy="110"/>
            </a:xfrm>
            <a:custGeom>
              <a:avLst/>
              <a:gdLst>
                <a:gd name="T0" fmla="*/ 17 w 46"/>
                <a:gd name="T1" fmla="*/ 45 h 46"/>
                <a:gd name="T2" fmla="*/ 21 w 46"/>
                <a:gd name="T3" fmla="*/ 46 h 46"/>
                <a:gd name="T4" fmla="*/ 23 w 46"/>
                <a:gd name="T5" fmla="*/ 46 h 46"/>
                <a:gd name="T6" fmla="*/ 25 w 46"/>
                <a:gd name="T7" fmla="*/ 46 h 46"/>
                <a:gd name="T8" fmla="*/ 43 w 46"/>
                <a:gd name="T9" fmla="*/ 34 h 46"/>
                <a:gd name="T10" fmla="*/ 46 w 46"/>
                <a:gd name="T11" fmla="*/ 23 h 46"/>
                <a:gd name="T12" fmla="*/ 46 w 46"/>
                <a:gd name="T13" fmla="*/ 21 h 46"/>
                <a:gd name="T14" fmla="*/ 32 w 46"/>
                <a:gd name="T15" fmla="*/ 2 h 46"/>
                <a:gd name="T16" fmla="*/ 28 w 46"/>
                <a:gd name="T17" fmla="*/ 1 h 46"/>
                <a:gd name="T18" fmla="*/ 23 w 46"/>
                <a:gd name="T19" fmla="*/ 0 h 46"/>
                <a:gd name="T20" fmla="*/ 23 w 46"/>
                <a:gd name="T21" fmla="*/ 0 h 46"/>
                <a:gd name="T22" fmla="*/ 0 w 46"/>
                <a:gd name="T23" fmla="*/ 23 h 46"/>
                <a:gd name="T24" fmla="*/ 17 w 46"/>
                <a:gd name="T25" fmla="*/ 45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46">
                  <a:moveTo>
                    <a:pt x="17" y="45"/>
                  </a:moveTo>
                  <a:cubicBezTo>
                    <a:pt x="18" y="45"/>
                    <a:pt x="20" y="46"/>
                    <a:pt x="21" y="46"/>
                  </a:cubicBezTo>
                  <a:cubicBezTo>
                    <a:pt x="22" y="46"/>
                    <a:pt x="22" y="46"/>
                    <a:pt x="23" y="46"/>
                  </a:cubicBezTo>
                  <a:cubicBezTo>
                    <a:pt x="24" y="46"/>
                    <a:pt x="24" y="46"/>
                    <a:pt x="25" y="46"/>
                  </a:cubicBezTo>
                  <a:cubicBezTo>
                    <a:pt x="33" y="45"/>
                    <a:pt x="39" y="41"/>
                    <a:pt x="43" y="34"/>
                  </a:cubicBezTo>
                  <a:cubicBezTo>
                    <a:pt x="45" y="31"/>
                    <a:pt x="46" y="27"/>
                    <a:pt x="46" y="23"/>
                  </a:cubicBezTo>
                  <a:cubicBezTo>
                    <a:pt x="46" y="22"/>
                    <a:pt x="46" y="22"/>
                    <a:pt x="46" y="21"/>
                  </a:cubicBezTo>
                  <a:cubicBezTo>
                    <a:pt x="45" y="13"/>
                    <a:pt x="40" y="5"/>
                    <a:pt x="32" y="2"/>
                  </a:cubicBezTo>
                  <a:cubicBezTo>
                    <a:pt x="31" y="1"/>
                    <a:pt x="29" y="1"/>
                    <a:pt x="28" y="1"/>
                  </a:cubicBezTo>
                  <a:cubicBezTo>
                    <a:pt x="26" y="0"/>
                    <a:pt x="25" y="0"/>
                    <a:pt x="23" y="0"/>
                  </a:cubicBezTo>
                  <a:cubicBezTo>
                    <a:pt x="23" y="0"/>
                    <a:pt x="23" y="0"/>
                    <a:pt x="23" y="0"/>
                  </a:cubicBezTo>
                  <a:cubicBezTo>
                    <a:pt x="10" y="0"/>
                    <a:pt x="0" y="10"/>
                    <a:pt x="0" y="23"/>
                  </a:cubicBezTo>
                  <a:cubicBezTo>
                    <a:pt x="0" y="34"/>
                    <a:pt x="7" y="42"/>
                    <a:pt x="17" y="4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4" name="Freeform 8"/>
            <p:cNvSpPr>
              <a:spLocks/>
            </p:cNvSpPr>
            <p:nvPr/>
          </p:nvSpPr>
          <p:spPr bwMode="auto">
            <a:xfrm>
              <a:off x="3577" y="2104"/>
              <a:ext cx="252" cy="551"/>
            </a:xfrm>
            <a:custGeom>
              <a:avLst/>
              <a:gdLst>
                <a:gd name="T0" fmla="*/ 39 w 105"/>
                <a:gd name="T1" fmla="*/ 176 h 232"/>
                <a:gd name="T2" fmla="*/ 39 w 105"/>
                <a:gd name="T3" fmla="*/ 111 h 232"/>
                <a:gd name="T4" fmla="*/ 72 w 105"/>
                <a:gd name="T5" fmla="*/ 69 h 232"/>
                <a:gd name="T6" fmla="*/ 75 w 105"/>
                <a:gd name="T7" fmla="*/ 68 h 232"/>
                <a:gd name="T8" fmla="*/ 79 w 105"/>
                <a:gd name="T9" fmla="*/ 68 h 232"/>
                <a:gd name="T10" fmla="*/ 80 w 105"/>
                <a:gd name="T11" fmla="*/ 68 h 232"/>
                <a:gd name="T12" fmla="*/ 80 w 105"/>
                <a:gd name="T13" fmla="*/ 68 h 232"/>
                <a:gd name="T14" fmla="*/ 81 w 105"/>
                <a:gd name="T15" fmla="*/ 68 h 232"/>
                <a:gd name="T16" fmla="*/ 81 w 105"/>
                <a:gd name="T17" fmla="*/ 68 h 232"/>
                <a:gd name="T18" fmla="*/ 79 w 105"/>
                <a:gd name="T19" fmla="*/ 66 h 232"/>
                <a:gd name="T20" fmla="*/ 75 w 105"/>
                <a:gd name="T21" fmla="*/ 60 h 232"/>
                <a:gd name="T22" fmla="*/ 73 w 105"/>
                <a:gd name="T23" fmla="*/ 56 h 232"/>
                <a:gd name="T24" fmla="*/ 72 w 105"/>
                <a:gd name="T25" fmla="*/ 52 h 232"/>
                <a:gd name="T26" fmla="*/ 71 w 105"/>
                <a:gd name="T27" fmla="*/ 48 h 232"/>
                <a:gd name="T28" fmla="*/ 71 w 105"/>
                <a:gd name="T29" fmla="*/ 45 h 232"/>
                <a:gd name="T30" fmla="*/ 75 w 105"/>
                <a:gd name="T31" fmla="*/ 30 h 232"/>
                <a:gd name="T32" fmla="*/ 83 w 105"/>
                <a:gd name="T33" fmla="*/ 21 h 232"/>
                <a:gd name="T34" fmla="*/ 102 w 105"/>
                <a:gd name="T35" fmla="*/ 14 h 232"/>
                <a:gd name="T36" fmla="*/ 105 w 105"/>
                <a:gd name="T37" fmla="*/ 14 h 232"/>
                <a:gd name="T38" fmla="*/ 83 w 105"/>
                <a:gd name="T39" fmla="*/ 1 h 232"/>
                <a:gd name="T40" fmla="*/ 83 w 105"/>
                <a:gd name="T41" fmla="*/ 1 h 232"/>
                <a:gd name="T42" fmla="*/ 75 w 105"/>
                <a:gd name="T43" fmla="*/ 0 h 232"/>
                <a:gd name="T44" fmla="*/ 75 w 105"/>
                <a:gd name="T45" fmla="*/ 0 h 232"/>
                <a:gd name="T46" fmla="*/ 57 w 105"/>
                <a:gd name="T47" fmla="*/ 0 h 232"/>
                <a:gd name="T48" fmla="*/ 53 w 105"/>
                <a:gd name="T49" fmla="*/ 0 h 232"/>
                <a:gd name="T50" fmla="*/ 49 w 105"/>
                <a:gd name="T51" fmla="*/ 0 h 232"/>
                <a:gd name="T52" fmla="*/ 34 w 105"/>
                <a:gd name="T53" fmla="*/ 0 h 232"/>
                <a:gd name="T54" fmla="*/ 26 w 105"/>
                <a:gd name="T55" fmla="*/ 1 h 232"/>
                <a:gd name="T56" fmla="*/ 0 w 105"/>
                <a:gd name="T57" fmla="*/ 35 h 232"/>
                <a:gd name="T58" fmla="*/ 0 w 105"/>
                <a:gd name="T59" fmla="*/ 100 h 232"/>
                <a:gd name="T60" fmla="*/ 9 w 105"/>
                <a:gd name="T61" fmla="*/ 112 h 232"/>
                <a:gd name="T62" fmla="*/ 18 w 105"/>
                <a:gd name="T63" fmla="*/ 100 h 232"/>
                <a:gd name="T64" fmla="*/ 18 w 105"/>
                <a:gd name="T65" fmla="*/ 36 h 232"/>
                <a:gd name="T66" fmla="*/ 23 w 105"/>
                <a:gd name="T67" fmla="*/ 29 h 232"/>
                <a:gd name="T68" fmla="*/ 26 w 105"/>
                <a:gd name="T69" fmla="*/ 29 h 232"/>
                <a:gd name="T70" fmla="*/ 26 w 105"/>
                <a:gd name="T71" fmla="*/ 36 h 232"/>
                <a:gd name="T72" fmla="*/ 26 w 105"/>
                <a:gd name="T73" fmla="*/ 70 h 232"/>
                <a:gd name="T74" fmla="*/ 26 w 105"/>
                <a:gd name="T75" fmla="*/ 219 h 232"/>
                <a:gd name="T76" fmla="*/ 38 w 105"/>
                <a:gd name="T77" fmla="*/ 232 h 232"/>
                <a:gd name="T78" fmla="*/ 51 w 105"/>
                <a:gd name="T79" fmla="*/ 219 h 232"/>
                <a:gd name="T80" fmla="*/ 51 w 105"/>
                <a:gd name="T81" fmla="*/ 195 h 232"/>
                <a:gd name="T82" fmla="*/ 39 w 105"/>
                <a:gd name="T83" fmla="*/ 17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5" h="232">
                  <a:moveTo>
                    <a:pt x="39" y="176"/>
                  </a:moveTo>
                  <a:cubicBezTo>
                    <a:pt x="39" y="111"/>
                    <a:pt x="39" y="111"/>
                    <a:pt x="39" y="111"/>
                  </a:cubicBezTo>
                  <a:cubicBezTo>
                    <a:pt x="39" y="86"/>
                    <a:pt x="50" y="72"/>
                    <a:pt x="72" y="69"/>
                  </a:cubicBezTo>
                  <a:cubicBezTo>
                    <a:pt x="73" y="69"/>
                    <a:pt x="74" y="69"/>
                    <a:pt x="75" y="68"/>
                  </a:cubicBezTo>
                  <a:cubicBezTo>
                    <a:pt x="76" y="68"/>
                    <a:pt x="77" y="68"/>
                    <a:pt x="79" y="68"/>
                  </a:cubicBezTo>
                  <a:cubicBezTo>
                    <a:pt x="79" y="68"/>
                    <a:pt x="80" y="68"/>
                    <a:pt x="80" y="68"/>
                  </a:cubicBezTo>
                  <a:cubicBezTo>
                    <a:pt x="80" y="68"/>
                    <a:pt x="80" y="68"/>
                    <a:pt x="80" y="68"/>
                  </a:cubicBezTo>
                  <a:cubicBezTo>
                    <a:pt x="81" y="68"/>
                    <a:pt x="81" y="68"/>
                    <a:pt x="81" y="68"/>
                  </a:cubicBezTo>
                  <a:cubicBezTo>
                    <a:pt x="81" y="68"/>
                    <a:pt x="81" y="68"/>
                    <a:pt x="81" y="68"/>
                  </a:cubicBezTo>
                  <a:cubicBezTo>
                    <a:pt x="80" y="67"/>
                    <a:pt x="80" y="66"/>
                    <a:pt x="79" y="66"/>
                  </a:cubicBezTo>
                  <a:cubicBezTo>
                    <a:pt x="77" y="64"/>
                    <a:pt x="76" y="62"/>
                    <a:pt x="75" y="60"/>
                  </a:cubicBezTo>
                  <a:cubicBezTo>
                    <a:pt x="74" y="59"/>
                    <a:pt x="74" y="57"/>
                    <a:pt x="73" y="56"/>
                  </a:cubicBezTo>
                  <a:cubicBezTo>
                    <a:pt x="73" y="55"/>
                    <a:pt x="72" y="53"/>
                    <a:pt x="72" y="52"/>
                  </a:cubicBezTo>
                  <a:cubicBezTo>
                    <a:pt x="72" y="51"/>
                    <a:pt x="71" y="49"/>
                    <a:pt x="71" y="48"/>
                  </a:cubicBezTo>
                  <a:cubicBezTo>
                    <a:pt x="71" y="47"/>
                    <a:pt x="71" y="46"/>
                    <a:pt x="71" y="45"/>
                  </a:cubicBezTo>
                  <a:cubicBezTo>
                    <a:pt x="71" y="40"/>
                    <a:pt x="72" y="34"/>
                    <a:pt x="75" y="30"/>
                  </a:cubicBezTo>
                  <a:cubicBezTo>
                    <a:pt x="77" y="26"/>
                    <a:pt x="80" y="23"/>
                    <a:pt x="83" y="21"/>
                  </a:cubicBezTo>
                  <a:cubicBezTo>
                    <a:pt x="88" y="17"/>
                    <a:pt x="95" y="14"/>
                    <a:pt x="102" y="14"/>
                  </a:cubicBezTo>
                  <a:cubicBezTo>
                    <a:pt x="103" y="14"/>
                    <a:pt x="104" y="14"/>
                    <a:pt x="105" y="14"/>
                  </a:cubicBezTo>
                  <a:cubicBezTo>
                    <a:pt x="101" y="6"/>
                    <a:pt x="93" y="2"/>
                    <a:pt x="83" y="1"/>
                  </a:cubicBezTo>
                  <a:cubicBezTo>
                    <a:pt x="83" y="1"/>
                    <a:pt x="83" y="1"/>
                    <a:pt x="83" y="1"/>
                  </a:cubicBezTo>
                  <a:cubicBezTo>
                    <a:pt x="80" y="0"/>
                    <a:pt x="78" y="0"/>
                    <a:pt x="75" y="0"/>
                  </a:cubicBezTo>
                  <a:cubicBezTo>
                    <a:pt x="75" y="0"/>
                    <a:pt x="75" y="0"/>
                    <a:pt x="75" y="0"/>
                  </a:cubicBezTo>
                  <a:cubicBezTo>
                    <a:pt x="57" y="0"/>
                    <a:pt x="57" y="0"/>
                    <a:pt x="57" y="0"/>
                  </a:cubicBezTo>
                  <a:cubicBezTo>
                    <a:pt x="53" y="0"/>
                    <a:pt x="53" y="0"/>
                    <a:pt x="53" y="0"/>
                  </a:cubicBezTo>
                  <a:cubicBezTo>
                    <a:pt x="49" y="0"/>
                    <a:pt x="49" y="0"/>
                    <a:pt x="49" y="0"/>
                  </a:cubicBezTo>
                  <a:cubicBezTo>
                    <a:pt x="34" y="0"/>
                    <a:pt x="34" y="0"/>
                    <a:pt x="34" y="0"/>
                  </a:cubicBezTo>
                  <a:cubicBezTo>
                    <a:pt x="31" y="0"/>
                    <a:pt x="29" y="0"/>
                    <a:pt x="26" y="1"/>
                  </a:cubicBezTo>
                  <a:cubicBezTo>
                    <a:pt x="10" y="3"/>
                    <a:pt x="0" y="12"/>
                    <a:pt x="0" y="35"/>
                  </a:cubicBezTo>
                  <a:cubicBezTo>
                    <a:pt x="0" y="100"/>
                    <a:pt x="0" y="100"/>
                    <a:pt x="0" y="100"/>
                  </a:cubicBezTo>
                  <a:cubicBezTo>
                    <a:pt x="0" y="109"/>
                    <a:pt x="3" y="112"/>
                    <a:pt x="9" y="112"/>
                  </a:cubicBezTo>
                  <a:cubicBezTo>
                    <a:pt x="14" y="112"/>
                    <a:pt x="18" y="109"/>
                    <a:pt x="18" y="100"/>
                  </a:cubicBezTo>
                  <a:cubicBezTo>
                    <a:pt x="18" y="36"/>
                    <a:pt x="18" y="36"/>
                    <a:pt x="18" y="36"/>
                  </a:cubicBezTo>
                  <a:cubicBezTo>
                    <a:pt x="18" y="30"/>
                    <a:pt x="21" y="29"/>
                    <a:pt x="23" y="29"/>
                  </a:cubicBezTo>
                  <a:cubicBezTo>
                    <a:pt x="26" y="29"/>
                    <a:pt x="26" y="29"/>
                    <a:pt x="26" y="29"/>
                  </a:cubicBezTo>
                  <a:cubicBezTo>
                    <a:pt x="26" y="36"/>
                    <a:pt x="26" y="36"/>
                    <a:pt x="26" y="36"/>
                  </a:cubicBezTo>
                  <a:cubicBezTo>
                    <a:pt x="26" y="37"/>
                    <a:pt x="26" y="51"/>
                    <a:pt x="26" y="70"/>
                  </a:cubicBezTo>
                  <a:cubicBezTo>
                    <a:pt x="26" y="123"/>
                    <a:pt x="26" y="219"/>
                    <a:pt x="26" y="219"/>
                  </a:cubicBezTo>
                  <a:cubicBezTo>
                    <a:pt x="26" y="231"/>
                    <a:pt x="35" y="232"/>
                    <a:pt x="38" y="232"/>
                  </a:cubicBezTo>
                  <a:cubicBezTo>
                    <a:pt x="42" y="232"/>
                    <a:pt x="51" y="230"/>
                    <a:pt x="51" y="219"/>
                  </a:cubicBezTo>
                  <a:cubicBezTo>
                    <a:pt x="51" y="216"/>
                    <a:pt x="51" y="207"/>
                    <a:pt x="51" y="195"/>
                  </a:cubicBezTo>
                  <a:cubicBezTo>
                    <a:pt x="45" y="194"/>
                    <a:pt x="39" y="189"/>
                    <a:pt x="39" y="1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5" name="Freeform 9"/>
            <p:cNvSpPr>
              <a:spLocks/>
            </p:cNvSpPr>
            <p:nvPr/>
          </p:nvSpPr>
          <p:spPr bwMode="auto">
            <a:xfrm>
              <a:off x="3718" y="2563"/>
              <a:ext cx="15" cy="88"/>
            </a:xfrm>
            <a:custGeom>
              <a:avLst/>
              <a:gdLst>
                <a:gd name="T0" fmla="*/ 0 w 6"/>
                <a:gd name="T1" fmla="*/ 26 h 37"/>
                <a:gd name="T2" fmla="*/ 6 w 6"/>
                <a:gd name="T3" fmla="*/ 37 h 37"/>
                <a:gd name="T4" fmla="*/ 6 w 6"/>
                <a:gd name="T5" fmla="*/ 0 h 37"/>
                <a:gd name="T6" fmla="*/ 0 w 6"/>
                <a:gd name="T7" fmla="*/ 2 h 37"/>
                <a:gd name="T8" fmla="*/ 0 w 6"/>
                <a:gd name="T9" fmla="*/ 26 h 37"/>
              </a:gdLst>
              <a:ahLst/>
              <a:cxnLst>
                <a:cxn ang="0">
                  <a:pos x="T0" y="T1"/>
                </a:cxn>
                <a:cxn ang="0">
                  <a:pos x="T2" y="T3"/>
                </a:cxn>
                <a:cxn ang="0">
                  <a:pos x="T4" y="T5"/>
                </a:cxn>
                <a:cxn ang="0">
                  <a:pos x="T6" y="T7"/>
                </a:cxn>
                <a:cxn ang="0">
                  <a:pos x="T8" y="T9"/>
                </a:cxn>
              </a:cxnLst>
              <a:rect l="0" t="0" r="r" b="b"/>
              <a:pathLst>
                <a:path w="6" h="37">
                  <a:moveTo>
                    <a:pt x="0" y="26"/>
                  </a:moveTo>
                  <a:cubicBezTo>
                    <a:pt x="0" y="33"/>
                    <a:pt x="3" y="36"/>
                    <a:pt x="6" y="37"/>
                  </a:cubicBezTo>
                  <a:cubicBezTo>
                    <a:pt x="6" y="0"/>
                    <a:pt x="6" y="0"/>
                    <a:pt x="6" y="0"/>
                  </a:cubicBezTo>
                  <a:cubicBezTo>
                    <a:pt x="4" y="2"/>
                    <a:pt x="2" y="2"/>
                    <a:pt x="0" y="2"/>
                  </a:cubicBezTo>
                  <a:cubicBezTo>
                    <a:pt x="0" y="14"/>
                    <a:pt x="0" y="23"/>
                    <a:pt x="0" y="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6" name="Freeform 10"/>
            <p:cNvSpPr>
              <a:spLocks/>
            </p:cNvSpPr>
            <p:nvPr/>
          </p:nvSpPr>
          <p:spPr bwMode="auto">
            <a:xfrm>
              <a:off x="3898" y="2030"/>
              <a:ext cx="111" cy="109"/>
            </a:xfrm>
            <a:custGeom>
              <a:avLst/>
              <a:gdLst>
                <a:gd name="T0" fmla="*/ 14 w 46"/>
                <a:gd name="T1" fmla="*/ 1 h 46"/>
                <a:gd name="T2" fmla="*/ 6 w 46"/>
                <a:gd name="T3" fmla="*/ 6 h 46"/>
                <a:gd name="T4" fmla="*/ 0 w 46"/>
                <a:gd name="T5" fmla="*/ 23 h 46"/>
                <a:gd name="T6" fmla="*/ 6 w 46"/>
                <a:gd name="T7" fmla="*/ 39 h 46"/>
                <a:gd name="T8" fmla="*/ 14 w 46"/>
                <a:gd name="T9" fmla="*/ 44 h 46"/>
                <a:gd name="T10" fmla="*/ 23 w 46"/>
                <a:gd name="T11" fmla="*/ 46 h 46"/>
                <a:gd name="T12" fmla="*/ 32 w 46"/>
                <a:gd name="T13" fmla="*/ 43 h 46"/>
                <a:gd name="T14" fmla="*/ 36 w 46"/>
                <a:gd name="T15" fmla="*/ 41 h 46"/>
                <a:gd name="T16" fmla="*/ 40 w 46"/>
                <a:gd name="T17" fmla="*/ 37 h 46"/>
                <a:gd name="T18" fmla="*/ 46 w 46"/>
                <a:gd name="T19" fmla="*/ 23 h 46"/>
                <a:gd name="T20" fmla="*/ 40 w 46"/>
                <a:gd name="T21" fmla="*/ 8 h 46"/>
                <a:gd name="T22" fmla="*/ 36 w 46"/>
                <a:gd name="T23" fmla="*/ 4 h 46"/>
                <a:gd name="T24" fmla="*/ 32 w 46"/>
                <a:gd name="T25" fmla="*/ 2 h 46"/>
                <a:gd name="T26" fmla="*/ 23 w 46"/>
                <a:gd name="T27" fmla="*/ 0 h 46"/>
                <a:gd name="T28" fmla="*/ 14 w 46"/>
                <a:gd name="T29" fmla="*/ 1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 h="46">
                  <a:moveTo>
                    <a:pt x="14" y="1"/>
                  </a:moveTo>
                  <a:cubicBezTo>
                    <a:pt x="11" y="3"/>
                    <a:pt x="9" y="4"/>
                    <a:pt x="6" y="6"/>
                  </a:cubicBezTo>
                  <a:cubicBezTo>
                    <a:pt x="2" y="11"/>
                    <a:pt x="0" y="16"/>
                    <a:pt x="0" y="23"/>
                  </a:cubicBezTo>
                  <a:cubicBezTo>
                    <a:pt x="0" y="29"/>
                    <a:pt x="2" y="35"/>
                    <a:pt x="6" y="39"/>
                  </a:cubicBezTo>
                  <a:cubicBezTo>
                    <a:pt x="9" y="41"/>
                    <a:pt x="11" y="43"/>
                    <a:pt x="14" y="44"/>
                  </a:cubicBezTo>
                  <a:cubicBezTo>
                    <a:pt x="17" y="45"/>
                    <a:pt x="20" y="46"/>
                    <a:pt x="23" y="46"/>
                  </a:cubicBezTo>
                  <a:cubicBezTo>
                    <a:pt x="26" y="46"/>
                    <a:pt x="30" y="45"/>
                    <a:pt x="32" y="43"/>
                  </a:cubicBezTo>
                  <a:cubicBezTo>
                    <a:pt x="34" y="43"/>
                    <a:pt x="35" y="42"/>
                    <a:pt x="36" y="41"/>
                  </a:cubicBezTo>
                  <a:cubicBezTo>
                    <a:pt x="38" y="40"/>
                    <a:pt x="39" y="39"/>
                    <a:pt x="40" y="37"/>
                  </a:cubicBezTo>
                  <a:cubicBezTo>
                    <a:pt x="44" y="33"/>
                    <a:pt x="46" y="28"/>
                    <a:pt x="46" y="23"/>
                  </a:cubicBezTo>
                  <a:cubicBezTo>
                    <a:pt x="46" y="17"/>
                    <a:pt x="44" y="12"/>
                    <a:pt x="40" y="8"/>
                  </a:cubicBezTo>
                  <a:cubicBezTo>
                    <a:pt x="39" y="7"/>
                    <a:pt x="38" y="5"/>
                    <a:pt x="36" y="4"/>
                  </a:cubicBezTo>
                  <a:cubicBezTo>
                    <a:pt x="35" y="3"/>
                    <a:pt x="34" y="2"/>
                    <a:pt x="32" y="2"/>
                  </a:cubicBezTo>
                  <a:cubicBezTo>
                    <a:pt x="29" y="0"/>
                    <a:pt x="26" y="0"/>
                    <a:pt x="23" y="0"/>
                  </a:cubicBezTo>
                  <a:cubicBezTo>
                    <a:pt x="20" y="0"/>
                    <a:pt x="17" y="0"/>
                    <a:pt x="14"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7" name="Freeform 11"/>
            <p:cNvSpPr>
              <a:spLocks/>
            </p:cNvSpPr>
            <p:nvPr/>
          </p:nvSpPr>
          <p:spPr bwMode="auto">
            <a:xfrm>
              <a:off x="3910" y="2563"/>
              <a:ext cx="34" cy="145"/>
            </a:xfrm>
            <a:custGeom>
              <a:avLst/>
              <a:gdLst>
                <a:gd name="T0" fmla="*/ 0 w 14"/>
                <a:gd name="T1" fmla="*/ 0 h 61"/>
                <a:gd name="T2" fmla="*/ 0 w 14"/>
                <a:gd name="T3" fmla="*/ 61 h 61"/>
                <a:gd name="T4" fmla="*/ 1 w 14"/>
                <a:gd name="T5" fmla="*/ 61 h 61"/>
                <a:gd name="T6" fmla="*/ 14 w 14"/>
                <a:gd name="T7" fmla="*/ 49 h 61"/>
                <a:gd name="T8" fmla="*/ 14 w 14"/>
                <a:gd name="T9" fmla="*/ 2 h 61"/>
                <a:gd name="T10" fmla="*/ 9 w 14"/>
                <a:gd name="T11" fmla="*/ 3 h 61"/>
                <a:gd name="T12" fmla="*/ 0 w 14"/>
                <a:gd name="T13" fmla="*/ 0 h 61"/>
              </a:gdLst>
              <a:ahLst/>
              <a:cxnLst>
                <a:cxn ang="0">
                  <a:pos x="T0" y="T1"/>
                </a:cxn>
                <a:cxn ang="0">
                  <a:pos x="T2" y="T3"/>
                </a:cxn>
                <a:cxn ang="0">
                  <a:pos x="T4" y="T5"/>
                </a:cxn>
                <a:cxn ang="0">
                  <a:pos x="T6" y="T7"/>
                </a:cxn>
                <a:cxn ang="0">
                  <a:pos x="T8" y="T9"/>
                </a:cxn>
                <a:cxn ang="0">
                  <a:pos x="T10" y="T11"/>
                </a:cxn>
                <a:cxn ang="0">
                  <a:pos x="T12" y="T13"/>
                </a:cxn>
              </a:cxnLst>
              <a:rect l="0" t="0" r="r" b="b"/>
              <a:pathLst>
                <a:path w="14" h="61">
                  <a:moveTo>
                    <a:pt x="0" y="0"/>
                  </a:moveTo>
                  <a:cubicBezTo>
                    <a:pt x="0" y="61"/>
                    <a:pt x="0" y="61"/>
                    <a:pt x="0" y="61"/>
                  </a:cubicBezTo>
                  <a:cubicBezTo>
                    <a:pt x="0" y="61"/>
                    <a:pt x="1" y="61"/>
                    <a:pt x="1" y="61"/>
                  </a:cubicBezTo>
                  <a:cubicBezTo>
                    <a:pt x="4" y="61"/>
                    <a:pt x="14" y="60"/>
                    <a:pt x="14" y="49"/>
                  </a:cubicBezTo>
                  <a:cubicBezTo>
                    <a:pt x="14" y="44"/>
                    <a:pt x="14" y="23"/>
                    <a:pt x="14" y="2"/>
                  </a:cubicBezTo>
                  <a:cubicBezTo>
                    <a:pt x="12" y="2"/>
                    <a:pt x="11" y="3"/>
                    <a:pt x="9" y="3"/>
                  </a:cubicBezTo>
                  <a:cubicBezTo>
                    <a:pt x="6" y="3"/>
                    <a:pt x="3"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8" name="Freeform 12"/>
            <p:cNvSpPr>
              <a:spLocks/>
            </p:cNvSpPr>
            <p:nvPr/>
          </p:nvSpPr>
          <p:spPr bwMode="auto">
            <a:xfrm>
              <a:off x="3877" y="2158"/>
              <a:ext cx="209" cy="550"/>
            </a:xfrm>
            <a:custGeom>
              <a:avLst/>
              <a:gdLst>
                <a:gd name="T0" fmla="*/ 59 w 87"/>
                <a:gd name="T1" fmla="*/ 0 h 231"/>
                <a:gd name="T2" fmla="*/ 52 w 87"/>
                <a:gd name="T3" fmla="*/ 0 h 231"/>
                <a:gd name="T4" fmla="*/ 49 w 87"/>
                <a:gd name="T5" fmla="*/ 0 h 231"/>
                <a:gd name="T6" fmla="*/ 45 w 87"/>
                <a:gd name="T7" fmla="*/ 0 h 231"/>
                <a:gd name="T8" fmla="*/ 41 w 87"/>
                <a:gd name="T9" fmla="*/ 0 h 231"/>
                <a:gd name="T10" fmla="*/ 23 w 87"/>
                <a:gd name="T11" fmla="*/ 0 h 231"/>
                <a:gd name="T12" fmla="*/ 15 w 87"/>
                <a:gd name="T13" fmla="*/ 0 h 231"/>
                <a:gd name="T14" fmla="*/ 10 w 87"/>
                <a:gd name="T15" fmla="*/ 0 h 231"/>
                <a:gd name="T16" fmla="*/ 3 w 87"/>
                <a:gd name="T17" fmla="*/ 0 h 231"/>
                <a:gd name="T18" fmla="*/ 0 w 87"/>
                <a:gd name="T19" fmla="*/ 1 h 231"/>
                <a:gd name="T20" fmla="*/ 8 w 87"/>
                <a:gd name="T21" fmla="*/ 22 h 231"/>
                <a:gd name="T22" fmla="*/ 3 w 87"/>
                <a:gd name="T23" fmla="*/ 39 h 231"/>
                <a:gd name="T24" fmla="*/ 3 w 87"/>
                <a:gd name="T25" fmla="*/ 45 h 231"/>
                <a:gd name="T26" fmla="*/ 6 w 87"/>
                <a:gd name="T27" fmla="*/ 46 h 231"/>
                <a:gd name="T28" fmla="*/ 15 w 87"/>
                <a:gd name="T29" fmla="*/ 48 h 231"/>
                <a:gd name="T30" fmla="*/ 19 w 87"/>
                <a:gd name="T31" fmla="*/ 50 h 231"/>
                <a:gd name="T32" fmla="*/ 23 w 87"/>
                <a:gd name="T33" fmla="*/ 52 h 231"/>
                <a:gd name="T34" fmla="*/ 40 w 87"/>
                <a:gd name="T35" fmla="*/ 88 h 231"/>
                <a:gd name="T36" fmla="*/ 40 w 87"/>
                <a:gd name="T37" fmla="*/ 153 h 231"/>
                <a:gd name="T38" fmla="*/ 35 w 87"/>
                <a:gd name="T39" fmla="*/ 167 h 231"/>
                <a:gd name="T40" fmla="*/ 35 w 87"/>
                <a:gd name="T41" fmla="*/ 219 h 231"/>
                <a:gd name="T42" fmla="*/ 49 w 87"/>
                <a:gd name="T43" fmla="*/ 231 h 231"/>
                <a:gd name="T44" fmla="*/ 61 w 87"/>
                <a:gd name="T45" fmla="*/ 218 h 231"/>
                <a:gd name="T46" fmla="*/ 61 w 87"/>
                <a:gd name="T47" fmla="*/ 29 h 231"/>
                <a:gd name="T48" fmla="*/ 64 w 87"/>
                <a:gd name="T49" fmla="*/ 29 h 231"/>
                <a:gd name="T50" fmla="*/ 68 w 87"/>
                <a:gd name="T51" fmla="*/ 35 h 231"/>
                <a:gd name="T52" fmla="*/ 68 w 87"/>
                <a:gd name="T53" fmla="*/ 99 h 231"/>
                <a:gd name="T54" fmla="*/ 78 w 87"/>
                <a:gd name="T55" fmla="*/ 111 h 231"/>
                <a:gd name="T56" fmla="*/ 87 w 87"/>
                <a:gd name="T57" fmla="*/ 99 h 231"/>
                <a:gd name="T58" fmla="*/ 87 w 87"/>
                <a:gd name="T59" fmla="*/ 35 h 231"/>
                <a:gd name="T60" fmla="*/ 59 w 87"/>
                <a:gd name="T61" fmla="*/ 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87" h="231">
                  <a:moveTo>
                    <a:pt x="59" y="0"/>
                  </a:moveTo>
                  <a:cubicBezTo>
                    <a:pt x="57" y="0"/>
                    <a:pt x="55" y="0"/>
                    <a:pt x="52" y="0"/>
                  </a:cubicBezTo>
                  <a:cubicBezTo>
                    <a:pt x="49" y="0"/>
                    <a:pt x="49" y="0"/>
                    <a:pt x="49" y="0"/>
                  </a:cubicBezTo>
                  <a:cubicBezTo>
                    <a:pt x="45" y="0"/>
                    <a:pt x="45" y="0"/>
                    <a:pt x="45" y="0"/>
                  </a:cubicBezTo>
                  <a:cubicBezTo>
                    <a:pt x="41" y="0"/>
                    <a:pt x="41" y="0"/>
                    <a:pt x="41" y="0"/>
                  </a:cubicBezTo>
                  <a:cubicBezTo>
                    <a:pt x="23" y="0"/>
                    <a:pt x="23" y="0"/>
                    <a:pt x="23" y="0"/>
                  </a:cubicBezTo>
                  <a:cubicBezTo>
                    <a:pt x="15" y="0"/>
                    <a:pt x="15" y="0"/>
                    <a:pt x="15" y="0"/>
                  </a:cubicBezTo>
                  <a:cubicBezTo>
                    <a:pt x="10" y="0"/>
                    <a:pt x="10" y="0"/>
                    <a:pt x="10" y="0"/>
                  </a:cubicBezTo>
                  <a:cubicBezTo>
                    <a:pt x="8" y="0"/>
                    <a:pt x="5" y="0"/>
                    <a:pt x="3" y="0"/>
                  </a:cubicBezTo>
                  <a:cubicBezTo>
                    <a:pt x="2" y="0"/>
                    <a:pt x="1" y="1"/>
                    <a:pt x="0" y="1"/>
                  </a:cubicBezTo>
                  <a:cubicBezTo>
                    <a:pt x="5" y="6"/>
                    <a:pt x="8" y="14"/>
                    <a:pt x="8" y="22"/>
                  </a:cubicBezTo>
                  <a:cubicBezTo>
                    <a:pt x="8" y="28"/>
                    <a:pt x="6" y="34"/>
                    <a:pt x="3" y="39"/>
                  </a:cubicBezTo>
                  <a:cubicBezTo>
                    <a:pt x="3" y="41"/>
                    <a:pt x="3" y="43"/>
                    <a:pt x="3" y="45"/>
                  </a:cubicBezTo>
                  <a:cubicBezTo>
                    <a:pt x="4" y="46"/>
                    <a:pt x="5" y="46"/>
                    <a:pt x="6" y="46"/>
                  </a:cubicBezTo>
                  <a:cubicBezTo>
                    <a:pt x="9" y="46"/>
                    <a:pt x="13" y="47"/>
                    <a:pt x="15" y="48"/>
                  </a:cubicBezTo>
                  <a:cubicBezTo>
                    <a:pt x="17" y="49"/>
                    <a:pt x="18" y="49"/>
                    <a:pt x="19" y="50"/>
                  </a:cubicBezTo>
                  <a:cubicBezTo>
                    <a:pt x="21" y="50"/>
                    <a:pt x="22" y="51"/>
                    <a:pt x="23" y="52"/>
                  </a:cubicBezTo>
                  <a:cubicBezTo>
                    <a:pt x="34" y="59"/>
                    <a:pt x="40" y="71"/>
                    <a:pt x="40" y="88"/>
                  </a:cubicBezTo>
                  <a:cubicBezTo>
                    <a:pt x="40" y="153"/>
                    <a:pt x="40" y="153"/>
                    <a:pt x="40" y="153"/>
                  </a:cubicBezTo>
                  <a:cubicBezTo>
                    <a:pt x="40" y="160"/>
                    <a:pt x="38" y="164"/>
                    <a:pt x="35" y="167"/>
                  </a:cubicBezTo>
                  <a:cubicBezTo>
                    <a:pt x="35" y="190"/>
                    <a:pt x="35" y="214"/>
                    <a:pt x="35" y="219"/>
                  </a:cubicBezTo>
                  <a:cubicBezTo>
                    <a:pt x="35" y="230"/>
                    <a:pt x="45" y="231"/>
                    <a:pt x="49" y="231"/>
                  </a:cubicBezTo>
                  <a:cubicBezTo>
                    <a:pt x="52" y="231"/>
                    <a:pt x="61" y="230"/>
                    <a:pt x="61" y="218"/>
                  </a:cubicBezTo>
                  <a:cubicBezTo>
                    <a:pt x="61" y="218"/>
                    <a:pt x="61" y="82"/>
                    <a:pt x="61" y="29"/>
                  </a:cubicBezTo>
                  <a:cubicBezTo>
                    <a:pt x="64" y="29"/>
                    <a:pt x="64" y="29"/>
                    <a:pt x="64" y="29"/>
                  </a:cubicBezTo>
                  <a:cubicBezTo>
                    <a:pt x="66" y="29"/>
                    <a:pt x="68" y="30"/>
                    <a:pt x="68" y="35"/>
                  </a:cubicBezTo>
                  <a:cubicBezTo>
                    <a:pt x="68" y="99"/>
                    <a:pt x="68" y="99"/>
                    <a:pt x="68" y="99"/>
                  </a:cubicBezTo>
                  <a:cubicBezTo>
                    <a:pt x="68" y="109"/>
                    <a:pt x="72" y="111"/>
                    <a:pt x="78" y="111"/>
                  </a:cubicBezTo>
                  <a:cubicBezTo>
                    <a:pt x="84" y="111"/>
                    <a:pt x="87" y="109"/>
                    <a:pt x="87" y="99"/>
                  </a:cubicBezTo>
                  <a:cubicBezTo>
                    <a:pt x="87" y="35"/>
                    <a:pt x="87" y="35"/>
                    <a:pt x="87" y="35"/>
                  </a:cubicBezTo>
                  <a:cubicBezTo>
                    <a:pt x="87" y="12"/>
                    <a:pt x="76" y="3"/>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39" name="Freeform 13"/>
            <p:cNvSpPr>
              <a:spLocks/>
            </p:cNvSpPr>
            <p:nvPr/>
          </p:nvSpPr>
          <p:spPr bwMode="auto">
            <a:xfrm>
              <a:off x="3766" y="2156"/>
              <a:ext cx="111" cy="109"/>
            </a:xfrm>
            <a:custGeom>
              <a:avLst/>
              <a:gdLst>
                <a:gd name="T0" fmla="*/ 34 w 46"/>
                <a:gd name="T1" fmla="*/ 3 h 46"/>
                <a:gd name="T2" fmla="*/ 33 w 46"/>
                <a:gd name="T3" fmla="*/ 3 h 46"/>
                <a:gd name="T4" fmla="*/ 29 w 46"/>
                <a:gd name="T5" fmla="*/ 1 h 46"/>
                <a:gd name="T6" fmla="*/ 29 w 46"/>
                <a:gd name="T7" fmla="*/ 1 h 46"/>
                <a:gd name="T8" fmla="*/ 23 w 46"/>
                <a:gd name="T9" fmla="*/ 0 h 46"/>
                <a:gd name="T10" fmla="*/ 6 w 46"/>
                <a:gd name="T11" fmla="*/ 7 h 46"/>
                <a:gd name="T12" fmla="*/ 5 w 46"/>
                <a:gd name="T13" fmla="*/ 9 h 46"/>
                <a:gd name="T14" fmla="*/ 4 w 46"/>
                <a:gd name="T15" fmla="*/ 10 h 46"/>
                <a:gd name="T16" fmla="*/ 0 w 46"/>
                <a:gd name="T17" fmla="*/ 23 h 46"/>
                <a:gd name="T18" fmla="*/ 4 w 46"/>
                <a:gd name="T19" fmla="*/ 36 h 46"/>
                <a:gd name="T20" fmla="*/ 5 w 46"/>
                <a:gd name="T21" fmla="*/ 37 h 46"/>
                <a:gd name="T22" fmla="*/ 13 w 46"/>
                <a:gd name="T23" fmla="*/ 44 h 46"/>
                <a:gd name="T24" fmla="*/ 15 w 46"/>
                <a:gd name="T25" fmla="*/ 45 h 46"/>
                <a:gd name="T26" fmla="*/ 19 w 46"/>
                <a:gd name="T27" fmla="*/ 46 h 46"/>
                <a:gd name="T28" fmla="*/ 23 w 46"/>
                <a:gd name="T29" fmla="*/ 46 h 46"/>
                <a:gd name="T30" fmla="*/ 23 w 46"/>
                <a:gd name="T31" fmla="*/ 46 h 46"/>
                <a:gd name="T32" fmla="*/ 29 w 46"/>
                <a:gd name="T33" fmla="*/ 45 h 46"/>
                <a:gd name="T34" fmla="*/ 31 w 46"/>
                <a:gd name="T35" fmla="*/ 45 h 46"/>
                <a:gd name="T36" fmla="*/ 35 w 46"/>
                <a:gd name="T37" fmla="*/ 43 h 46"/>
                <a:gd name="T38" fmla="*/ 36 w 46"/>
                <a:gd name="T39" fmla="*/ 42 h 46"/>
                <a:gd name="T40" fmla="*/ 39 w 46"/>
                <a:gd name="T41" fmla="*/ 40 h 46"/>
                <a:gd name="T42" fmla="*/ 41 w 46"/>
                <a:gd name="T43" fmla="*/ 37 h 46"/>
                <a:gd name="T44" fmla="*/ 45 w 46"/>
                <a:gd name="T45" fmla="*/ 30 h 46"/>
                <a:gd name="T46" fmla="*/ 46 w 46"/>
                <a:gd name="T47" fmla="*/ 23 h 46"/>
                <a:gd name="T48" fmla="*/ 38 w 46"/>
                <a:gd name="T49" fmla="*/ 6 h 46"/>
                <a:gd name="T50" fmla="*/ 37 w 46"/>
                <a:gd name="T51" fmla="*/ 5 h 46"/>
                <a:gd name="T52" fmla="*/ 34 w 46"/>
                <a:gd name="T53" fmla="*/ 3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6" h="46">
                  <a:moveTo>
                    <a:pt x="34" y="3"/>
                  </a:moveTo>
                  <a:cubicBezTo>
                    <a:pt x="34" y="3"/>
                    <a:pt x="34" y="3"/>
                    <a:pt x="33" y="3"/>
                  </a:cubicBezTo>
                  <a:cubicBezTo>
                    <a:pt x="32" y="2"/>
                    <a:pt x="31" y="1"/>
                    <a:pt x="29" y="1"/>
                  </a:cubicBezTo>
                  <a:cubicBezTo>
                    <a:pt x="29" y="1"/>
                    <a:pt x="29" y="1"/>
                    <a:pt x="29" y="1"/>
                  </a:cubicBezTo>
                  <a:cubicBezTo>
                    <a:pt x="27" y="0"/>
                    <a:pt x="25" y="0"/>
                    <a:pt x="23" y="0"/>
                  </a:cubicBezTo>
                  <a:cubicBezTo>
                    <a:pt x="16" y="0"/>
                    <a:pt x="10" y="3"/>
                    <a:pt x="6" y="7"/>
                  </a:cubicBezTo>
                  <a:cubicBezTo>
                    <a:pt x="6" y="8"/>
                    <a:pt x="5" y="8"/>
                    <a:pt x="5" y="9"/>
                  </a:cubicBezTo>
                  <a:cubicBezTo>
                    <a:pt x="4" y="9"/>
                    <a:pt x="4" y="10"/>
                    <a:pt x="4" y="10"/>
                  </a:cubicBezTo>
                  <a:cubicBezTo>
                    <a:pt x="1" y="14"/>
                    <a:pt x="0" y="18"/>
                    <a:pt x="0" y="23"/>
                  </a:cubicBezTo>
                  <a:cubicBezTo>
                    <a:pt x="0" y="28"/>
                    <a:pt x="1" y="32"/>
                    <a:pt x="4" y="36"/>
                  </a:cubicBezTo>
                  <a:cubicBezTo>
                    <a:pt x="4" y="36"/>
                    <a:pt x="4" y="37"/>
                    <a:pt x="5" y="37"/>
                  </a:cubicBezTo>
                  <a:cubicBezTo>
                    <a:pt x="7" y="40"/>
                    <a:pt x="10" y="42"/>
                    <a:pt x="13" y="44"/>
                  </a:cubicBezTo>
                  <a:cubicBezTo>
                    <a:pt x="13" y="44"/>
                    <a:pt x="14" y="44"/>
                    <a:pt x="15" y="45"/>
                  </a:cubicBezTo>
                  <a:cubicBezTo>
                    <a:pt x="16" y="45"/>
                    <a:pt x="18" y="45"/>
                    <a:pt x="19" y="46"/>
                  </a:cubicBezTo>
                  <a:cubicBezTo>
                    <a:pt x="20" y="46"/>
                    <a:pt x="22" y="46"/>
                    <a:pt x="23" y="46"/>
                  </a:cubicBezTo>
                  <a:cubicBezTo>
                    <a:pt x="23" y="46"/>
                    <a:pt x="23" y="46"/>
                    <a:pt x="23" y="46"/>
                  </a:cubicBezTo>
                  <a:cubicBezTo>
                    <a:pt x="25" y="46"/>
                    <a:pt x="27" y="46"/>
                    <a:pt x="29" y="45"/>
                  </a:cubicBezTo>
                  <a:cubicBezTo>
                    <a:pt x="30" y="45"/>
                    <a:pt x="30" y="45"/>
                    <a:pt x="31" y="45"/>
                  </a:cubicBezTo>
                  <a:cubicBezTo>
                    <a:pt x="32" y="44"/>
                    <a:pt x="34" y="43"/>
                    <a:pt x="35" y="43"/>
                  </a:cubicBezTo>
                  <a:cubicBezTo>
                    <a:pt x="35" y="42"/>
                    <a:pt x="36" y="42"/>
                    <a:pt x="36" y="42"/>
                  </a:cubicBezTo>
                  <a:cubicBezTo>
                    <a:pt x="37" y="41"/>
                    <a:pt x="38" y="40"/>
                    <a:pt x="39" y="40"/>
                  </a:cubicBezTo>
                  <a:cubicBezTo>
                    <a:pt x="40" y="39"/>
                    <a:pt x="40" y="38"/>
                    <a:pt x="41" y="37"/>
                  </a:cubicBezTo>
                  <a:cubicBezTo>
                    <a:pt x="43" y="35"/>
                    <a:pt x="44" y="33"/>
                    <a:pt x="45" y="30"/>
                  </a:cubicBezTo>
                  <a:cubicBezTo>
                    <a:pt x="46" y="28"/>
                    <a:pt x="46" y="25"/>
                    <a:pt x="46" y="23"/>
                  </a:cubicBezTo>
                  <a:cubicBezTo>
                    <a:pt x="46" y="16"/>
                    <a:pt x="43" y="10"/>
                    <a:pt x="38" y="6"/>
                  </a:cubicBezTo>
                  <a:cubicBezTo>
                    <a:pt x="38" y="6"/>
                    <a:pt x="38" y="5"/>
                    <a:pt x="37" y="5"/>
                  </a:cubicBezTo>
                  <a:cubicBezTo>
                    <a:pt x="36" y="4"/>
                    <a:pt x="35" y="3"/>
                    <a:pt x="3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40" name="Freeform 14"/>
            <p:cNvSpPr>
              <a:spLocks/>
            </p:cNvSpPr>
            <p:nvPr/>
          </p:nvSpPr>
          <p:spPr bwMode="auto">
            <a:xfrm>
              <a:off x="3690" y="2284"/>
              <a:ext cx="264" cy="552"/>
            </a:xfrm>
            <a:custGeom>
              <a:avLst/>
              <a:gdLst>
                <a:gd name="T0" fmla="*/ 93 w 110"/>
                <a:gd name="T1" fmla="*/ 4 h 232"/>
                <a:gd name="T2" fmla="*/ 81 w 110"/>
                <a:gd name="T3" fmla="*/ 1 h 232"/>
                <a:gd name="T4" fmla="*/ 73 w 110"/>
                <a:gd name="T5" fmla="*/ 0 h 232"/>
                <a:gd name="T6" fmla="*/ 68 w 110"/>
                <a:gd name="T7" fmla="*/ 0 h 232"/>
                <a:gd name="T8" fmla="*/ 63 w 110"/>
                <a:gd name="T9" fmla="*/ 0 h 232"/>
                <a:gd name="T10" fmla="*/ 55 w 110"/>
                <a:gd name="T11" fmla="*/ 0 h 232"/>
                <a:gd name="T12" fmla="*/ 47 w 110"/>
                <a:gd name="T13" fmla="*/ 0 h 232"/>
                <a:gd name="T14" fmla="*/ 37 w 110"/>
                <a:gd name="T15" fmla="*/ 0 h 232"/>
                <a:gd name="T16" fmla="*/ 34 w 110"/>
                <a:gd name="T17" fmla="*/ 0 h 232"/>
                <a:gd name="T18" fmla="*/ 28 w 110"/>
                <a:gd name="T19" fmla="*/ 1 h 232"/>
                <a:gd name="T20" fmla="*/ 0 w 110"/>
                <a:gd name="T21" fmla="*/ 35 h 232"/>
                <a:gd name="T22" fmla="*/ 4 w 110"/>
                <a:gd name="T23" fmla="*/ 111 h 232"/>
                <a:gd name="T24" fmla="*/ 12 w 110"/>
                <a:gd name="T25" fmla="*/ 111 h 232"/>
                <a:gd name="T26" fmla="*/ 18 w 110"/>
                <a:gd name="T27" fmla="*/ 36 h 232"/>
                <a:gd name="T28" fmla="*/ 26 w 110"/>
                <a:gd name="T29" fmla="*/ 29 h 232"/>
                <a:gd name="T30" fmla="*/ 26 w 110"/>
                <a:gd name="T31" fmla="*/ 70 h 232"/>
                <a:gd name="T32" fmla="*/ 26 w 110"/>
                <a:gd name="T33" fmla="*/ 160 h 232"/>
                <a:gd name="T34" fmla="*/ 26 w 110"/>
                <a:gd name="T35" fmla="*/ 219 h 232"/>
                <a:gd name="T36" fmla="*/ 51 w 110"/>
                <a:gd name="T37" fmla="*/ 219 h 232"/>
                <a:gd name="T38" fmla="*/ 55 w 110"/>
                <a:gd name="T39" fmla="*/ 115 h 232"/>
                <a:gd name="T40" fmla="*/ 55 w 110"/>
                <a:gd name="T41" fmla="*/ 115 h 232"/>
                <a:gd name="T42" fmla="*/ 59 w 110"/>
                <a:gd name="T43" fmla="*/ 219 h 232"/>
                <a:gd name="T44" fmla="*/ 84 w 110"/>
                <a:gd name="T45" fmla="*/ 219 h 232"/>
                <a:gd name="T46" fmla="*/ 84 w 110"/>
                <a:gd name="T47" fmla="*/ 180 h 232"/>
                <a:gd name="T48" fmla="*/ 84 w 110"/>
                <a:gd name="T49" fmla="*/ 101 h 232"/>
                <a:gd name="T50" fmla="*/ 84 w 110"/>
                <a:gd name="T51" fmla="*/ 93 h 232"/>
                <a:gd name="T52" fmla="*/ 87 w 110"/>
                <a:gd name="T53" fmla="*/ 29 h 232"/>
                <a:gd name="T54" fmla="*/ 92 w 110"/>
                <a:gd name="T55" fmla="*/ 88 h 232"/>
                <a:gd name="T56" fmla="*/ 92 w 110"/>
                <a:gd name="T57" fmla="*/ 99 h 232"/>
                <a:gd name="T58" fmla="*/ 101 w 110"/>
                <a:gd name="T59" fmla="*/ 112 h 232"/>
                <a:gd name="T60" fmla="*/ 110 w 110"/>
                <a:gd name="T61" fmla="*/ 100 h 232"/>
                <a:gd name="T62" fmla="*/ 110 w 110"/>
                <a:gd name="T63" fmla="*/ 35 h 232"/>
                <a:gd name="T64" fmla="*/ 97 w 110"/>
                <a:gd name="T65" fmla="*/ 6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0" h="232">
                  <a:moveTo>
                    <a:pt x="97" y="6"/>
                  </a:moveTo>
                  <a:cubicBezTo>
                    <a:pt x="96" y="5"/>
                    <a:pt x="95" y="4"/>
                    <a:pt x="93" y="4"/>
                  </a:cubicBezTo>
                  <a:cubicBezTo>
                    <a:pt x="90" y="2"/>
                    <a:pt x="87" y="1"/>
                    <a:pt x="83" y="1"/>
                  </a:cubicBezTo>
                  <a:cubicBezTo>
                    <a:pt x="82" y="1"/>
                    <a:pt x="82" y="1"/>
                    <a:pt x="81" y="1"/>
                  </a:cubicBezTo>
                  <a:cubicBezTo>
                    <a:pt x="79" y="0"/>
                    <a:pt x="77" y="0"/>
                    <a:pt x="75" y="0"/>
                  </a:cubicBezTo>
                  <a:cubicBezTo>
                    <a:pt x="73" y="0"/>
                    <a:pt x="73" y="0"/>
                    <a:pt x="73" y="0"/>
                  </a:cubicBezTo>
                  <a:cubicBezTo>
                    <a:pt x="71" y="0"/>
                    <a:pt x="71" y="0"/>
                    <a:pt x="71" y="0"/>
                  </a:cubicBezTo>
                  <a:cubicBezTo>
                    <a:pt x="68" y="0"/>
                    <a:pt x="68" y="0"/>
                    <a:pt x="68" y="0"/>
                  </a:cubicBezTo>
                  <a:cubicBezTo>
                    <a:pt x="67" y="0"/>
                    <a:pt x="67" y="0"/>
                    <a:pt x="67" y="0"/>
                  </a:cubicBezTo>
                  <a:cubicBezTo>
                    <a:pt x="63" y="0"/>
                    <a:pt x="63" y="0"/>
                    <a:pt x="63" y="0"/>
                  </a:cubicBezTo>
                  <a:cubicBezTo>
                    <a:pt x="61" y="0"/>
                    <a:pt x="61" y="0"/>
                    <a:pt x="61" y="0"/>
                  </a:cubicBezTo>
                  <a:cubicBezTo>
                    <a:pt x="55" y="0"/>
                    <a:pt x="55" y="0"/>
                    <a:pt x="55" y="0"/>
                  </a:cubicBezTo>
                  <a:cubicBezTo>
                    <a:pt x="51" y="0"/>
                    <a:pt x="51" y="0"/>
                    <a:pt x="51" y="0"/>
                  </a:cubicBezTo>
                  <a:cubicBezTo>
                    <a:pt x="47" y="0"/>
                    <a:pt x="47" y="0"/>
                    <a:pt x="47" y="0"/>
                  </a:cubicBezTo>
                  <a:cubicBezTo>
                    <a:pt x="45" y="0"/>
                    <a:pt x="45" y="0"/>
                    <a:pt x="45" y="0"/>
                  </a:cubicBezTo>
                  <a:cubicBezTo>
                    <a:pt x="37" y="0"/>
                    <a:pt x="37" y="0"/>
                    <a:pt x="37" y="0"/>
                  </a:cubicBezTo>
                  <a:cubicBezTo>
                    <a:pt x="36" y="0"/>
                    <a:pt x="36" y="0"/>
                    <a:pt x="36" y="0"/>
                  </a:cubicBezTo>
                  <a:cubicBezTo>
                    <a:pt x="34" y="0"/>
                    <a:pt x="34" y="0"/>
                    <a:pt x="34" y="0"/>
                  </a:cubicBezTo>
                  <a:cubicBezTo>
                    <a:pt x="33" y="0"/>
                    <a:pt x="32" y="0"/>
                    <a:pt x="32" y="0"/>
                  </a:cubicBezTo>
                  <a:cubicBezTo>
                    <a:pt x="30" y="0"/>
                    <a:pt x="29" y="0"/>
                    <a:pt x="28" y="1"/>
                  </a:cubicBezTo>
                  <a:cubicBezTo>
                    <a:pt x="27" y="1"/>
                    <a:pt x="27" y="1"/>
                    <a:pt x="26" y="1"/>
                  </a:cubicBezTo>
                  <a:cubicBezTo>
                    <a:pt x="10" y="3"/>
                    <a:pt x="0" y="12"/>
                    <a:pt x="0" y="35"/>
                  </a:cubicBezTo>
                  <a:cubicBezTo>
                    <a:pt x="0" y="100"/>
                    <a:pt x="0" y="100"/>
                    <a:pt x="0" y="100"/>
                  </a:cubicBezTo>
                  <a:cubicBezTo>
                    <a:pt x="0" y="106"/>
                    <a:pt x="2" y="109"/>
                    <a:pt x="4" y="111"/>
                  </a:cubicBezTo>
                  <a:cubicBezTo>
                    <a:pt x="6" y="111"/>
                    <a:pt x="7" y="112"/>
                    <a:pt x="9" y="112"/>
                  </a:cubicBezTo>
                  <a:cubicBezTo>
                    <a:pt x="10" y="112"/>
                    <a:pt x="11" y="111"/>
                    <a:pt x="12" y="111"/>
                  </a:cubicBezTo>
                  <a:cubicBezTo>
                    <a:pt x="16" y="111"/>
                    <a:pt x="18" y="108"/>
                    <a:pt x="18" y="100"/>
                  </a:cubicBezTo>
                  <a:cubicBezTo>
                    <a:pt x="18" y="36"/>
                    <a:pt x="18" y="36"/>
                    <a:pt x="18" y="36"/>
                  </a:cubicBezTo>
                  <a:cubicBezTo>
                    <a:pt x="18" y="30"/>
                    <a:pt x="21" y="29"/>
                    <a:pt x="23" y="29"/>
                  </a:cubicBezTo>
                  <a:cubicBezTo>
                    <a:pt x="26" y="29"/>
                    <a:pt x="26" y="29"/>
                    <a:pt x="26" y="29"/>
                  </a:cubicBezTo>
                  <a:cubicBezTo>
                    <a:pt x="26" y="36"/>
                    <a:pt x="26" y="36"/>
                    <a:pt x="26" y="36"/>
                  </a:cubicBezTo>
                  <a:cubicBezTo>
                    <a:pt x="26" y="37"/>
                    <a:pt x="26" y="51"/>
                    <a:pt x="26" y="70"/>
                  </a:cubicBezTo>
                  <a:cubicBezTo>
                    <a:pt x="26" y="94"/>
                    <a:pt x="26" y="127"/>
                    <a:pt x="26" y="156"/>
                  </a:cubicBezTo>
                  <a:cubicBezTo>
                    <a:pt x="26" y="157"/>
                    <a:pt x="26" y="158"/>
                    <a:pt x="26" y="160"/>
                  </a:cubicBezTo>
                  <a:cubicBezTo>
                    <a:pt x="26" y="161"/>
                    <a:pt x="26" y="162"/>
                    <a:pt x="26" y="164"/>
                  </a:cubicBezTo>
                  <a:cubicBezTo>
                    <a:pt x="26" y="194"/>
                    <a:pt x="26" y="219"/>
                    <a:pt x="26" y="219"/>
                  </a:cubicBezTo>
                  <a:cubicBezTo>
                    <a:pt x="26" y="231"/>
                    <a:pt x="35" y="232"/>
                    <a:pt x="38" y="232"/>
                  </a:cubicBezTo>
                  <a:cubicBezTo>
                    <a:pt x="42" y="232"/>
                    <a:pt x="51" y="230"/>
                    <a:pt x="51" y="219"/>
                  </a:cubicBezTo>
                  <a:cubicBezTo>
                    <a:pt x="51" y="209"/>
                    <a:pt x="51" y="120"/>
                    <a:pt x="51" y="120"/>
                  </a:cubicBezTo>
                  <a:cubicBezTo>
                    <a:pt x="51" y="117"/>
                    <a:pt x="52" y="115"/>
                    <a:pt x="55" y="115"/>
                  </a:cubicBezTo>
                  <a:cubicBezTo>
                    <a:pt x="55" y="115"/>
                    <a:pt x="55" y="115"/>
                    <a:pt x="55" y="115"/>
                  </a:cubicBezTo>
                  <a:cubicBezTo>
                    <a:pt x="55" y="115"/>
                    <a:pt x="55" y="115"/>
                    <a:pt x="55" y="115"/>
                  </a:cubicBezTo>
                  <a:cubicBezTo>
                    <a:pt x="58" y="115"/>
                    <a:pt x="59" y="117"/>
                    <a:pt x="59" y="120"/>
                  </a:cubicBezTo>
                  <a:cubicBezTo>
                    <a:pt x="59" y="120"/>
                    <a:pt x="59" y="209"/>
                    <a:pt x="59" y="219"/>
                  </a:cubicBezTo>
                  <a:cubicBezTo>
                    <a:pt x="59" y="230"/>
                    <a:pt x="68" y="232"/>
                    <a:pt x="72" y="232"/>
                  </a:cubicBezTo>
                  <a:cubicBezTo>
                    <a:pt x="75" y="232"/>
                    <a:pt x="84" y="231"/>
                    <a:pt x="84" y="219"/>
                  </a:cubicBezTo>
                  <a:cubicBezTo>
                    <a:pt x="84" y="219"/>
                    <a:pt x="84" y="205"/>
                    <a:pt x="84" y="184"/>
                  </a:cubicBezTo>
                  <a:cubicBezTo>
                    <a:pt x="84" y="183"/>
                    <a:pt x="84" y="181"/>
                    <a:pt x="84" y="180"/>
                  </a:cubicBezTo>
                  <a:cubicBezTo>
                    <a:pt x="84" y="178"/>
                    <a:pt x="84" y="176"/>
                    <a:pt x="84" y="175"/>
                  </a:cubicBezTo>
                  <a:cubicBezTo>
                    <a:pt x="84" y="153"/>
                    <a:pt x="84" y="127"/>
                    <a:pt x="84" y="101"/>
                  </a:cubicBezTo>
                  <a:cubicBezTo>
                    <a:pt x="84" y="100"/>
                    <a:pt x="84" y="99"/>
                    <a:pt x="84" y="97"/>
                  </a:cubicBezTo>
                  <a:cubicBezTo>
                    <a:pt x="84" y="96"/>
                    <a:pt x="84" y="95"/>
                    <a:pt x="84" y="93"/>
                  </a:cubicBezTo>
                  <a:cubicBezTo>
                    <a:pt x="84" y="68"/>
                    <a:pt x="84" y="45"/>
                    <a:pt x="84" y="29"/>
                  </a:cubicBezTo>
                  <a:cubicBezTo>
                    <a:pt x="87" y="29"/>
                    <a:pt x="87" y="29"/>
                    <a:pt x="87" y="29"/>
                  </a:cubicBezTo>
                  <a:cubicBezTo>
                    <a:pt x="89" y="29"/>
                    <a:pt x="92" y="30"/>
                    <a:pt x="92" y="36"/>
                  </a:cubicBezTo>
                  <a:cubicBezTo>
                    <a:pt x="92" y="88"/>
                    <a:pt x="92" y="88"/>
                    <a:pt x="92" y="88"/>
                  </a:cubicBezTo>
                  <a:cubicBezTo>
                    <a:pt x="92" y="94"/>
                    <a:pt x="92" y="94"/>
                    <a:pt x="92" y="94"/>
                  </a:cubicBezTo>
                  <a:cubicBezTo>
                    <a:pt x="92" y="99"/>
                    <a:pt x="92" y="99"/>
                    <a:pt x="92" y="99"/>
                  </a:cubicBezTo>
                  <a:cubicBezTo>
                    <a:pt x="92" y="100"/>
                    <a:pt x="92" y="100"/>
                    <a:pt x="92" y="100"/>
                  </a:cubicBezTo>
                  <a:cubicBezTo>
                    <a:pt x="92" y="109"/>
                    <a:pt x="96" y="112"/>
                    <a:pt x="101" y="112"/>
                  </a:cubicBezTo>
                  <a:cubicBezTo>
                    <a:pt x="103" y="112"/>
                    <a:pt x="105" y="111"/>
                    <a:pt x="106" y="110"/>
                  </a:cubicBezTo>
                  <a:cubicBezTo>
                    <a:pt x="109" y="109"/>
                    <a:pt x="110" y="106"/>
                    <a:pt x="110" y="100"/>
                  </a:cubicBezTo>
                  <a:cubicBezTo>
                    <a:pt x="110" y="62"/>
                    <a:pt x="110" y="62"/>
                    <a:pt x="110" y="62"/>
                  </a:cubicBezTo>
                  <a:cubicBezTo>
                    <a:pt x="110" y="35"/>
                    <a:pt x="110" y="35"/>
                    <a:pt x="110" y="35"/>
                  </a:cubicBezTo>
                  <a:cubicBezTo>
                    <a:pt x="110" y="23"/>
                    <a:pt x="107" y="15"/>
                    <a:pt x="101" y="9"/>
                  </a:cubicBezTo>
                  <a:cubicBezTo>
                    <a:pt x="100" y="8"/>
                    <a:pt x="99" y="7"/>
                    <a:pt x="97"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sp>
        <p:nvSpPr>
          <p:cNvPr id="41" name="Freeform 40"/>
          <p:cNvSpPr>
            <a:spLocks/>
          </p:cNvSpPr>
          <p:nvPr/>
        </p:nvSpPr>
        <p:spPr bwMode="auto">
          <a:xfrm>
            <a:off x="5990705" y="3503697"/>
            <a:ext cx="519636" cy="682390"/>
          </a:xfrm>
          <a:custGeom>
            <a:avLst/>
            <a:gdLst>
              <a:gd name="connsiteX0" fmla="*/ 107950 w 803275"/>
              <a:gd name="connsiteY0" fmla="*/ 717550 h 1054100"/>
              <a:gd name="connsiteX1" fmla="*/ 107950 w 803275"/>
              <a:gd name="connsiteY1" fmla="*/ 812800 h 1054100"/>
              <a:gd name="connsiteX2" fmla="*/ 698500 w 803275"/>
              <a:gd name="connsiteY2" fmla="*/ 812800 h 1054100"/>
              <a:gd name="connsiteX3" fmla="*/ 698500 w 803275"/>
              <a:gd name="connsiteY3" fmla="*/ 717550 h 1054100"/>
              <a:gd name="connsiteX4" fmla="*/ 107950 w 803275"/>
              <a:gd name="connsiteY4" fmla="*/ 552450 h 1054100"/>
              <a:gd name="connsiteX5" fmla="*/ 107950 w 803275"/>
              <a:gd name="connsiteY5" fmla="*/ 647700 h 1054100"/>
              <a:gd name="connsiteX6" fmla="*/ 698500 w 803275"/>
              <a:gd name="connsiteY6" fmla="*/ 647700 h 1054100"/>
              <a:gd name="connsiteX7" fmla="*/ 698500 w 803275"/>
              <a:gd name="connsiteY7" fmla="*/ 552450 h 1054100"/>
              <a:gd name="connsiteX8" fmla="*/ 107950 w 803275"/>
              <a:gd name="connsiteY8" fmla="*/ 388938 h 1054100"/>
              <a:gd name="connsiteX9" fmla="*/ 107950 w 803275"/>
              <a:gd name="connsiteY9" fmla="*/ 481013 h 1054100"/>
              <a:gd name="connsiteX10" fmla="*/ 698500 w 803275"/>
              <a:gd name="connsiteY10" fmla="*/ 481013 h 1054100"/>
              <a:gd name="connsiteX11" fmla="*/ 698500 w 803275"/>
              <a:gd name="connsiteY11" fmla="*/ 388938 h 1054100"/>
              <a:gd name="connsiteX12" fmla="*/ 107950 w 803275"/>
              <a:gd name="connsiteY12" fmla="*/ 223838 h 1054100"/>
              <a:gd name="connsiteX13" fmla="*/ 107950 w 803275"/>
              <a:gd name="connsiteY13" fmla="*/ 317501 h 1054100"/>
              <a:gd name="connsiteX14" fmla="*/ 698500 w 803275"/>
              <a:gd name="connsiteY14" fmla="*/ 317501 h 1054100"/>
              <a:gd name="connsiteX15" fmla="*/ 698500 w 803275"/>
              <a:gd name="connsiteY15" fmla="*/ 223838 h 1054100"/>
              <a:gd name="connsiteX16" fmla="*/ 153988 w 803275"/>
              <a:gd name="connsiteY16" fmla="*/ 0 h 1054100"/>
              <a:gd name="connsiteX17" fmla="*/ 439738 w 803275"/>
              <a:gd name="connsiteY17" fmla="*/ 0 h 1054100"/>
              <a:gd name="connsiteX18" fmla="*/ 439738 w 803275"/>
              <a:gd name="connsiteY18" fmla="*/ 112713 h 1054100"/>
              <a:gd name="connsiteX19" fmla="*/ 803275 w 803275"/>
              <a:gd name="connsiteY19" fmla="*/ 112713 h 1054100"/>
              <a:gd name="connsiteX20" fmla="*/ 803275 w 803275"/>
              <a:gd name="connsiteY20" fmla="*/ 141288 h 1054100"/>
              <a:gd name="connsiteX21" fmla="*/ 768350 w 803275"/>
              <a:gd name="connsiteY21" fmla="*/ 141288 h 1054100"/>
              <a:gd name="connsiteX22" fmla="*/ 768350 w 803275"/>
              <a:gd name="connsiteY22" fmla="*/ 1054100 h 1054100"/>
              <a:gd name="connsiteX23" fmla="*/ 534987 w 803275"/>
              <a:gd name="connsiteY23" fmla="*/ 1054100 h 1054100"/>
              <a:gd name="connsiteX24" fmla="*/ 534987 w 803275"/>
              <a:gd name="connsiteY24" fmla="*/ 869950 h 1054100"/>
              <a:gd name="connsiteX25" fmla="*/ 439737 w 803275"/>
              <a:gd name="connsiteY25" fmla="*/ 869950 h 1054100"/>
              <a:gd name="connsiteX26" fmla="*/ 439737 w 803275"/>
              <a:gd name="connsiteY26" fmla="*/ 1054100 h 1054100"/>
              <a:gd name="connsiteX27" fmla="*/ 368300 w 803275"/>
              <a:gd name="connsiteY27" fmla="*/ 1054100 h 1054100"/>
              <a:gd name="connsiteX28" fmla="*/ 368300 w 803275"/>
              <a:gd name="connsiteY28" fmla="*/ 869950 h 1054100"/>
              <a:gd name="connsiteX29" fmla="*/ 273050 w 803275"/>
              <a:gd name="connsiteY29" fmla="*/ 869950 h 1054100"/>
              <a:gd name="connsiteX30" fmla="*/ 273050 w 803275"/>
              <a:gd name="connsiteY30" fmla="*/ 1054100 h 1054100"/>
              <a:gd name="connsiteX31" fmla="*/ 34925 w 803275"/>
              <a:gd name="connsiteY31" fmla="*/ 1054100 h 1054100"/>
              <a:gd name="connsiteX32" fmla="*/ 34925 w 803275"/>
              <a:gd name="connsiteY32" fmla="*/ 141288 h 1054100"/>
              <a:gd name="connsiteX33" fmla="*/ 0 w 803275"/>
              <a:gd name="connsiteY33" fmla="*/ 141288 h 1054100"/>
              <a:gd name="connsiteX34" fmla="*/ 0 w 803275"/>
              <a:gd name="connsiteY34" fmla="*/ 112713 h 1054100"/>
              <a:gd name="connsiteX35" fmla="*/ 153988 w 803275"/>
              <a:gd name="connsiteY35" fmla="*/ 112713 h 1054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803275" h="1054100">
                <a:moveTo>
                  <a:pt x="107950" y="717550"/>
                </a:moveTo>
                <a:lnTo>
                  <a:pt x="107950" y="812800"/>
                </a:lnTo>
                <a:lnTo>
                  <a:pt x="698500" y="812800"/>
                </a:lnTo>
                <a:lnTo>
                  <a:pt x="698500" y="717550"/>
                </a:lnTo>
                <a:close/>
                <a:moveTo>
                  <a:pt x="107950" y="552450"/>
                </a:moveTo>
                <a:lnTo>
                  <a:pt x="107950" y="647700"/>
                </a:lnTo>
                <a:lnTo>
                  <a:pt x="698500" y="647700"/>
                </a:lnTo>
                <a:lnTo>
                  <a:pt x="698500" y="552450"/>
                </a:lnTo>
                <a:close/>
                <a:moveTo>
                  <a:pt x="107950" y="388938"/>
                </a:moveTo>
                <a:lnTo>
                  <a:pt x="107950" y="481013"/>
                </a:lnTo>
                <a:lnTo>
                  <a:pt x="698500" y="481013"/>
                </a:lnTo>
                <a:lnTo>
                  <a:pt x="698500" y="388938"/>
                </a:lnTo>
                <a:close/>
                <a:moveTo>
                  <a:pt x="107950" y="223838"/>
                </a:moveTo>
                <a:lnTo>
                  <a:pt x="107950" y="317501"/>
                </a:lnTo>
                <a:lnTo>
                  <a:pt x="698500" y="317501"/>
                </a:lnTo>
                <a:lnTo>
                  <a:pt x="698500" y="223838"/>
                </a:lnTo>
                <a:close/>
                <a:moveTo>
                  <a:pt x="153988" y="0"/>
                </a:moveTo>
                <a:lnTo>
                  <a:pt x="439738" y="0"/>
                </a:lnTo>
                <a:lnTo>
                  <a:pt x="439738" y="112713"/>
                </a:lnTo>
                <a:lnTo>
                  <a:pt x="803275" y="112713"/>
                </a:lnTo>
                <a:lnTo>
                  <a:pt x="803275" y="141288"/>
                </a:lnTo>
                <a:lnTo>
                  <a:pt x="768350" y="141288"/>
                </a:lnTo>
                <a:lnTo>
                  <a:pt x="768350" y="1054100"/>
                </a:lnTo>
                <a:lnTo>
                  <a:pt x="534987" y="1054100"/>
                </a:lnTo>
                <a:lnTo>
                  <a:pt x="534987" y="869950"/>
                </a:lnTo>
                <a:lnTo>
                  <a:pt x="439737" y="869950"/>
                </a:lnTo>
                <a:lnTo>
                  <a:pt x="439737" y="1054100"/>
                </a:lnTo>
                <a:lnTo>
                  <a:pt x="368300" y="1054100"/>
                </a:lnTo>
                <a:lnTo>
                  <a:pt x="368300" y="869950"/>
                </a:lnTo>
                <a:lnTo>
                  <a:pt x="273050" y="869950"/>
                </a:lnTo>
                <a:lnTo>
                  <a:pt x="273050" y="1054100"/>
                </a:lnTo>
                <a:lnTo>
                  <a:pt x="34925" y="1054100"/>
                </a:lnTo>
                <a:lnTo>
                  <a:pt x="34925" y="141288"/>
                </a:lnTo>
                <a:lnTo>
                  <a:pt x="0" y="141288"/>
                </a:lnTo>
                <a:lnTo>
                  <a:pt x="0" y="112713"/>
                </a:lnTo>
                <a:lnTo>
                  <a:pt x="153988" y="112713"/>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p>
            <a:pPr defTabSz="1109758">
              <a:defRPr/>
            </a:pPr>
            <a:endParaRPr lang="en-US" sz="2244" kern="0" dirty="0">
              <a:solidFill>
                <a:srgbClr val="505050"/>
              </a:solidFill>
            </a:endParaRPr>
          </a:p>
        </p:txBody>
      </p:sp>
      <p:sp>
        <p:nvSpPr>
          <p:cNvPr id="42" name="Freeform 41"/>
          <p:cNvSpPr>
            <a:spLocks noChangeArrowheads="1"/>
          </p:cNvSpPr>
          <p:nvPr/>
        </p:nvSpPr>
        <p:spPr bwMode="auto">
          <a:xfrm>
            <a:off x="7005418" y="3715437"/>
            <a:ext cx="530318" cy="626419"/>
          </a:xfrm>
          <a:custGeom>
            <a:avLst/>
            <a:gdLst>
              <a:gd name="connsiteX0" fmla="*/ 436564 w 584200"/>
              <a:gd name="connsiteY0" fmla="*/ 525462 h 773112"/>
              <a:gd name="connsiteX1" fmla="*/ 436564 w 584200"/>
              <a:gd name="connsiteY1" fmla="*/ 595312 h 773112"/>
              <a:gd name="connsiteX2" fmla="*/ 506414 w 584200"/>
              <a:gd name="connsiteY2" fmla="*/ 595312 h 773112"/>
              <a:gd name="connsiteX3" fmla="*/ 506414 w 584200"/>
              <a:gd name="connsiteY3" fmla="*/ 525462 h 773112"/>
              <a:gd name="connsiteX4" fmla="*/ 314326 w 584200"/>
              <a:gd name="connsiteY4" fmla="*/ 525462 h 773112"/>
              <a:gd name="connsiteX5" fmla="*/ 314326 w 584200"/>
              <a:gd name="connsiteY5" fmla="*/ 595312 h 773112"/>
              <a:gd name="connsiteX6" fmla="*/ 385764 w 584200"/>
              <a:gd name="connsiteY6" fmla="*/ 595312 h 773112"/>
              <a:gd name="connsiteX7" fmla="*/ 385764 w 584200"/>
              <a:gd name="connsiteY7" fmla="*/ 525462 h 773112"/>
              <a:gd name="connsiteX8" fmla="*/ 195264 w 584200"/>
              <a:gd name="connsiteY8" fmla="*/ 525462 h 773112"/>
              <a:gd name="connsiteX9" fmla="*/ 195264 w 584200"/>
              <a:gd name="connsiteY9" fmla="*/ 595312 h 773112"/>
              <a:gd name="connsiteX10" fmla="*/ 263527 w 584200"/>
              <a:gd name="connsiteY10" fmla="*/ 595312 h 773112"/>
              <a:gd name="connsiteX11" fmla="*/ 263527 w 584200"/>
              <a:gd name="connsiteY11" fmla="*/ 525462 h 773112"/>
              <a:gd name="connsiteX12" fmla="*/ 74614 w 584200"/>
              <a:gd name="connsiteY12" fmla="*/ 525462 h 773112"/>
              <a:gd name="connsiteX13" fmla="*/ 74614 w 584200"/>
              <a:gd name="connsiteY13" fmla="*/ 595312 h 773112"/>
              <a:gd name="connsiteX14" fmla="*/ 142877 w 584200"/>
              <a:gd name="connsiteY14" fmla="*/ 595312 h 773112"/>
              <a:gd name="connsiteX15" fmla="*/ 142877 w 584200"/>
              <a:gd name="connsiteY15" fmla="*/ 525462 h 773112"/>
              <a:gd name="connsiteX16" fmla="*/ 436564 w 584200"/>
              <a:gd name="connsiteY16" fmla="*/ 406400 h 773112"/>
              <a:gd name="connsiteX17" fmla="*/ 436564 w 584200"/>
              <a:gd name="connsiteY17" fmla="*/ 474663 h 773112"/>
              <a:gd name="connsiteX18" fmla="*/ 506414 w 584200"/>
              <a:gd name="connsiteY18" fmla="*/ 474663 h 773112"/>
              <a:gd name="connsiteX19" fmla="*/ 506414 w 584200"/>
              <a:gd name="connsiteY19" fmla="*/ 406400 h 773112"/>
              <a:gd name="connsiteX20" fmla="*/ 314326 w 584200"/>
              <a:gd name="connsiteY20" fmla="*/ 406400 h 773112"/>
              <a:gd name="connsiteX21" fmla="*/ 314326 w 584200"/>
              <a:gd name="connsiteY21" fmla="*/ 474663 h 773112"/>
              <a:gd name="connsiteX22" fmla="*/ 385764 w 584200"/>
              <a:gd name="connsiteY22" fmla="*/ 474663 h 773112"/>
              <a:gd name="connsiteX23" fmla="*/ 385764 w 584200"/>
              <a:gd name="connsiteY23" fmla="*/ 406400 h 773112"/>
              <a:gd name="connsiteX24" fmla="*/ 195264 w 584200"/>
              <a:gd name="connsiteY24" fmla="*/ 406400 h 773112"/>
              <a:gd name="connsiteX25" fmla="*/ 195264 w 584200"/>
              <a:gd name="connsiteY25" fmla="*/ 474663 h 773112"/>
              <a:gd name="connsiteX26" fmla="*/ 263527 w 584200"/>
              <a:gd name="connsiteY26" fmla="*/ 474663 h 773112"/>
              <a:gd name="connsiteX27" fmla="*/ 263527 w 584200"/>
              <a:gd name="connsiteY27" fmla="*/ 406400 h 773112"/>
              <a:gd name="connsiteX28" fmla="*/ 74614 w 584200"/>
              <a:gd name="connsiteY28" fmla="*/ 406400 h 773112"/>
              <a:gd name="connsiteX29" fmla="*/ 74614 w 584200"/>
              <a:gd name="connsiteY29" fmla="*/ 474663 h 773112"/>
              <a:gd name="connsiteX30" fmla="*/ 142877 w 584200"/>
              <a:gd name="connsiteY30" fmla="*/ 474663 h 773112"/>
              <a:gd name="connsiteX31" fmla="*/ 142877 w 584200"/>
              <a:gd name="connsiteY31" fmla="*/ 406400 h 773112"/>
              <a:gd name="connsiteX32" fmla="*/ 436564 w 584200"/>
              <a:gd name="connsiteY32" fmla="*/ 284162 h 773112"/>
              <a:gd name="connsiteX33" fmla="*/ 436564 w 584200"/>
              <a:gd name="connsiteY33" fmla="*/ 355600 h 773112"/>
              <a:gd name="connsiteX34" fmla="*/ 506414 w 584200"/>
              <a:gd name="connsiteY34" fmla="*/ 355600 h 773112"/>
              <a:gd name="connsiteX35" fmla="*/ 506414 w 584200"/>
              <a:gd name="connsiteY35" fmla="*/ 284162 h 773112"/>
              <a:gd name="connsiteX36" fmla="*/ 314326 w 584200"/>
              <a:gd name="connsiteY36" fmla="*/ 284162 h 773112"/>
              <a:gd name="connsiteX37" fmla="*/ 314326 w 584200"/>
              <a:gd name="connsiteY37" fmla="*/ 355600 h 773112"/>
              <a:gd name="connsiteX38" fmla="*/ 385764 w 584200"/>
              <a:gd name="connsiteY38" fmla="*/ 355600 h 773112"/>
              <a:gd name="connsiteX39" fmla="*/ 385764 w 584200"/>
              <a:gd name="connsiteY39" fmla="*/ 284162 h 773112"/>
              <a:gd name="connsiteX40" fmla="*/ 195264 w 584200"/>
              <a:gd name="connsiteY40" fmla="*/ 284162 h 773112"/>
              <a:gd name="connsiteX41" fmla="*/ 195264 w 584200"/>
              <a:gd name="connsiteY41" fmla="*/ 355600 h 773112"/>
              <a:gd name="connsiteX42" fmla="*/ 263527 w 584200"/>
              <a:gd name="connsiteY42" fmla="*/ 355600 h 773112"/>
              <a:gd name="connsiteX43" fmla="*/ 263527 w 584200"/>
              <a:gd name="connsiteY43" fmla="*/ 284162 h 773112"/>
              <a:gd name="connsiteX44" fmla="*/ 74614 w 584200"/>
              <a:gd name="connsiteY44" fmla="*/ 284162 h 773112"/>
              <a:gd name="connsiteX45" fmla="*/ 74614 w 584200"/>
              <a:gd name="connsiteY45" fmla="*/ 355600 h 773112"/>
              <a:gd name="connsiteX46" fmla="*/ 142877 w 584200"/>
              <a:gd name="connsiteY46" fmla="*/ 355600 h 773112"/>
              <a:gd name="connsiteX47" fmla="*/ 142877 w 584200"/>
              <a:gd name="connsiteY47" fmla="*/ 284162 h 773112"/>
              <a:gd name="connsiteX48" fmla="*/ 436564 w 584200"/>
              <a:gd name="connsiteY48" fmla="*/ 163512 h 773112"/>
              <a:gd name="connsiteX49" fmla="*/ 436564 w 584200"/>
              <a:gd name="connsiteY49" fmla="*/ 234950 h 773112"/>
              <a:gd name="connsiteX50" fmla="*/ 506414 w 584200"/>
              <a:gd name="connsiteY50" fmla="*/ 234950 h 773112"/>
              <a:gd name="connsiteX51" fmla="*/ 506414 w 584200"/>
              <a:gd name="connsiteY51" fmla="*/ 163512 h 773112"/>
              <a:gd name="connsiteX52" fmla="*/ 314326 w 584200"/>
              <a:gd name="connsiteY52" fmla="*/ 163512 h 773112"/>
              <a:gd name="connsiteX53" fmla="*/ 314326 w 584200"/>
              <a:gd name="connsiteY53" fmla="*/ 234950 h 773112"/>
              <a:gd name="connsiteX54" fmla="*/ 385764 w 584200"/>
              <a:gd name="connsiteY54" fmla="*/ 234950 h 773112"/>
              <a:gd name="connsiteX55" fmla="*/ 385764 w 584200"/>
              <a:gd name="connsiteY55" fmla="*/ 163512 h 773112"/>
              <a:gd name="connsiteX56" fmla="*/ 195264 w 584200"/>
              <a:gd name="connsiteY56" fmla="*/ 163512 h 773112"/>
              <a:gd name="connsiteX57" fmla="*/ 195264 w 584200"/>
              <a:gd name="connsiteY57" fmla="*/ 234950 h 773112"/>
              <a:gd name="connsiteX58" fmla="*/ 263527 w 584200"/>
              <a:gd name="connsiteY58" fmla="*/ 234950 h 773112"/>
              <a:gd name="connsiteX59" fmla="*/ 263527 w 584200"/>
              <a:gd name="connsiteY59" fmla="*/ 163512 h 773112"/>
              <a:gd name="connsiteX60" fmla="*/ 74614 w 584200"/>
              <a:gd name="connsiteY60" fmla="*/ 163512 h 773112"/>
              <a:gd name="connsiteX61" fmla="*/ 74614 w 584200"/>
              <a:gd name="connsiteY61" fmla="*/ 234950 h 773112"/>
              <a:gd name="connsiteX62" fmla="*/ 142877 w 584200"/>
              <a:gd name="connsiteY62" fmla="*/ 234950 h 773112"/>
              <a:gd name="connsiteX63" fmla="*/ 142877 w 584200"/>
              <a:gd name="connsiteY63" fmla="*/ 163512 h 773112"/>
              <a:gd name="connsiteX64" fmla="*/ 263525 w 584200"/>
              <a:gd name="connsiteY64" fmla="*/ 0 h 773112"/>
              <a:gd name="connsiteX65" fmla="*/ 469900 w 584200"/>
              <a:gd name="connsiteY65" fmla="*/ 0 h 773112"/>
              <a:gd name="connsiteX66" fmla="*/ 469900 w 584200"/>
              <a:gd name="connsiteY66" fmla="*/ 84137 h 773112"/>
              <a:gd name="connsiteX67" fmla="*/ 584200 w 584200"/>
              <a:gd name="connsiteY67" fmla="*/ 84137 h 773112"/>
              <a:gd name="connsiteX68" fmla="*/ 584200 w 584200"/>
              <a:gd name="connsiteY68" fmla="*/ 103187 h 773112"/>
              <a:gd name="connsiteX69" fmla="*/ 557213 w 584200"/>
              <a:gd name="connsiteY69" fmla="*/ 103187 h 773112"/>
              <a:gd name="connsiteX70" fmla="*/ 557213 w 584200"/>
              <a:gd name="connsiteY70" fmla="*/ 773112 h 773112"/>
              <a:gd name="connsiteX71" fmla="*/ 385764 w 584200"/>
              <a:gd name="connsiteY71" fmla="*/ 773112 h 773112"/>
              <a:gd name="connsiteX72" fmla="*/ 385764 w 584200"/>
              <a:gd name="connsiteY72" fmla="*/ 636587 h 773112"/>
              <a:gd name="connsiteX73" fmla="*/ 314326 w 584200"/>
              <a:gd name="connsiteY73" fmla="*/ 636587 h 773112"/>
              <a:gd name="connsiteX74" fmla="*/ 314326 w 584200"/>
              <a:gd name="connsiteY74" fmla="*/ 773112 h 773112"/>
              <a:gd name="connsiteX75" fmla="*/ 263527 w 584200"/>
              <a:gd name="connsiteY75" fmla="*/ 773112 h 773112"/>
              <a:gd name="connsiteX76" fmla="*/ 263527 w 584200"/>
              <a:gd name="connsiteY76" fmla="*/ 636587 h 773112"/>
              <a:gd name="connsiteX77" fmla="*/ 195264 w 584200"/>
              <a:gd name="connsiteY77" fmla="*/ 636587 h 773112"/>
              <a:gd name="connsiteX78" fmla="*/ 195264 w 584200"/>
              <a:gd name="connsiteY78" fmla="*/ 773112 h 773112"/>
              <a:gd name="connsiteX79" fmla="*/ 25400 w 584200"/>
              <a:gd name="connsiteY79" fmla="*/ 773112 h 773112"/>
              <a:gd name="connsiteX80" fmla="*/ 25400 w 584200"/>
              <a:gd name="connsiteY80" fmla="*/ 103187 h 773112"/>
              <a:gd name="connsiteX81" fmla="*/ 0 w 584200"/>
              <a:gd name="connsiteY81" fmla="*/ 103187 h 773112"/>
              <a:gd name="connsiteX82" fmla="*/ 0 w 584200"/>
              <a:gd name="connsiteY82" fmla="*/ 84137 h 773112"/>
              <a:gd name="connsiteX83" fmla="*/ 263525 w 584200"/>
              <a:gd name="connsiteY83" fmla="*/ 84137 h 773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84200" h="773112">
                <a:moveTo>
                  <a:pt x="436564" y="525462"/>
                </a:moveTo>
                <a:lnTo>
                  <a:pt x="436564" y="595312"/>
                </a:lnTo>
                <a:lnTo>
                  <a:pt x="506414" y="595312"/>
                </a:lnTo>
                <a:lnTo>
                  <a:pt x="506414" y="525462"/>
                </a:lnTo>
                <a:close/>
                <a:moveTo>
                  <a:pt x="314326" y="525462"/>
                </a:moveTo>
                <a:lnTo>
                  <a:pt x="314326" y="595312"/>
                </a:lnTo>
                <a:lnTo>
                  <a:pt x="385764" y="595312"/>
                </a:lnTo>
                <a:lnTo>
                  <a:pt x="385764" y="525462"/>
                </a:lnTo>
                <a:close/>
                <a:moveTo>
                  <a:pt x="195264" y="525462"/>
                </a:moveTo>
                <a:lnTo>
                  <a:pt x="195264" y="595312"/>
                </a:lnTo>
                <a:lnTo>
                  <a:pt x="263527" y="595312"/>
                </a:lnTo>
                <a:lnTo>
                  <a:pt x="263527" y="525462"/>
                </a:lnTo>
                <a:close/>
                <a:moveTo>
                  <a:pt x="74614" y="525462"/>
                </a:moveTo>
                <a:lnTo>
                  <a:pt x="74614" y="595312"/>
                </a:lnTo>
                <a:lnTo>
                  <a:pt x="142877" y="595312"/>
                </a:lnTo>
                <a:lnTo>
                  <a:pt x="142877" y="525462"/>
                </a:lnTo>
                <a:close/>
                <a:moveTo>
                  <a:pt x="436564" y="406400"/>
                </a:moveTo>
                <a:lnTo>
                  <a:pt x="436564" y="474663"/>
                </a:lnTo>
                <a:lnTo>
                  <a:pt x="506414" y="474663"/>
                </a:lnTo>
                <a:lnTo>
                  <a:pt x="506414" y="406400"/>
                </a:lnTo>
                <a:close/>
                <a:moveTo>
                  <a:pt x="314326" y="406400"/>
                </a:moveTo>
                <a:lnTo>
                  <a:pt x="314326" y="474663"/>
                </a:lnTo>
                <a:lnTo>
                  <a:pt x="385764" y="474663"/>
                </a:lnTo>
                <a:lnTo>
                  <a:pt x="385764" y="406400"/>
                </a:lnTo>
                <a:close/>
                <a:moveTo>
                  <a:pt x="195264" y="406400"/>
                </a:moveTo>
                <a:lnTo>
                  <a:pt x="195264" y="474663"/>
                </a:lnTo>
                <a:lnTo>
                  <a:pt x="263527" y="474663"/>
                </a:lnTo>
                <a:lnTo>
                  <a:pt x="263527" y="406400"/>
                </a:lnTo>
                <a:close/>
                <a:moveTo>
                  <a:pt x="74614" y="406400"/>
                </a:moveTo>
                <a:lnTo>
                  <a:pt x="74614" y="474663"/>
                </a:lnTo>
                <a:lnTo>
                  <a:pt x="142877" y="474663"/>
                </a:lnTo>
                <a:lnTo>
                  <a:pt x="142877" y="406400"/>
                </a:lnTo>
                <a:close/>
                <a:moveTo>
                  <a:pt x="436564" y="284162"/>
                </a:moveTo>
                <a:lnTo>
                  <a:pt x="436564" y="355600"/>
                </a:lnTo>
                <a:lnTo>
                  <a:pt x="506414" y="355600"/>
                </a:lnTo>
                <a:lnTo>
                  <a:pt x="506414" y="284162"/>
                </a:lnTo>
                <a:close/>
                <a:moveTo>
                  <a:pt x="314326" y="284162"/>
                </a:moveTo>
                <a:lnTo>
                  <a:pt x="314326" y="355600"/>
                </a:lnTo>
                <a:lnTo>
                  <a:pt x="385764" y="355600"/>
                </a:lnTo>
                <a:lnTo>
                  <a:pt x="385764" y="284162"/>
                </a:lnTo>
                <a:close/>
                <a:moveTo>
                  <a:pt x="195264" y="284162"/>
                </a:moveTo>
                <a:lnTo>
                  <a:pt x="195264" y="355600"/>
                </a:lnTo>
                <a:lnTo>
                  <a:pt x="263527" y="355600"/>
                </a:lnTo>
                <a:lnTo>
                  <a:pt x="263527" y="284162"/>
                </a:lnTo>
                <a:close/>
                <a:moveTo>
                  <a:pt x="74614" y="284162"/>
                </a:moveTo>
                <a:lnTo>
                  <a:pt x="74614" y="355600"/>
                </a:lnTo>
                <a:lnTo>
                  <a:pt x="142877" y="355600"/>
                </a:lnTo>
                <a:lnTo>
                  <a:pt x="142877" y="284162"/>
                </a:lnTo>
                <a:close/>
                <a:moveTo>
                  <a:pt x="436564" y="163512"/>
                </a:moveTo>
                <a:lnTo>
                  <a:pt x="436564" y="234950"/>
                </a:lnTo>
                <a:lnTo>
                  <a:pt x="506414" y="234950"/>
                </a:lnTo>
                <a:lnTo>
                  <a:pt x="506414" y="163512"/>
                </a:lnTo>
                <a:close/>
                <a:moveTo>
                  <a:pt x="314326" y="163512"/>
                </a:moveTo>
                <a:lnTo>
                  <a:pt x="314326" y="234950"/>
                </a:lnTo>
                <a:lnTo>
                  <a:pt x="385764" y="234950"/>
                </a:lnTo>
                <a:lnTo>
                  <a:pt x="385764" y="163512"/>
                </a:lnTo>
                <a:close/>
                <a:moveTo>
                  <a:pt x="195264" y="163512"/>
                </a:moveTo>
                <a:lnTo>
                  <a:pt x="195264" y="234950"/>
                </a:lnTo>
                <a:lnTo>
                  <a:pt x="263527" y="234950"/>
                </a:lnTo>
                <a:lnTo>
                  <a:pt x="263527" y="163512"/>
                </a:lnTo>
                <a:close/>
                <a:moveTo>
                  <a:pt x="74614" y="163512"/>
                </a:moveTo>
                <a:lnTo>
                  <a:pt x="74614" y="234950"/>
                </a:lnTo>
                <a:lnTo>
                  <a:pt x="142877" y="234950"/>
                </a:lnTo>
                <a:lnTo>
                  <a:pt x="142877" y="163512"/>
                </a:lnTo>
                <a:close/>
                <a:moveTo>
                  <a:pt x="263525" y="0"/>
                </a:moveTo>
                <a:lnTo>
                  <a:pt x="469900" y="0"/>
                </a:lnTo>
                <a:lnTo>
                  <a:pt x="469900" y="84137"/>
                </a:lnTo>
                <a:lnTo>
                  <a:pt x="584200" y="84137"/>
                </a:lnTo>
                <a:lnTo>
                  <a:pt x="584200" y="103187"/>
                </a:lnTo>
                <a:lnTo>
                  <a:pt x="557213" y="103187"/>
                </a:lnTo>
                <a:lnTo>
                  <a:pt x="557213" y="773112"/>
                </a:lnTo>
                <a:lnTo>
                  <a:pt x="385764" y="773112"/>
                </a:lnTo>
                <a:lnTo>
                  <a:pt x="385764" y="636587"/>
                </a:lnTo>
                <a:lnTo>
                  <a:pt x="314326" y="636587"/>
                </a:lnTo>
                <a:lnTo>
                  <a:pt x="314326" y="773112"/>
                </a:lnTo>
                <a:lnTo>
                  <a:pt x="263527" y="773112"/>
                </a:lnTo>
                <a:lnTo>
                  <a:pt x="263527" y="636587"/>
                </a:lnTo>
                <a:lnTo>
                  <a:pt x="195264" y="636587"/>
                </a:lnTo>
                <a:lnTo>
                  <a:pt x="195264" y="773112"/>
                </a:lnTo>
                <a:lnTo>
                  <a:pt x="25400" y="773112"/>
                </a:lnTo>
                <a:lnTo>
                  <a:pt x="25400" y="103187"/>
                </a:lnTo>
                <a:lnTo>
                  <a:pt x="0" y="103187"/>
                </a:lnTo>
                <a:lnTo>
                  <a:pt x="0" y="84137"/>
                </a:lnTo>
                <a:lnTo>
                  <a:pt x="263525" y="84137"/>
                </a:lnTo>
                <a:close/>
              </a:path>
            </a:pathLst>
          </a:custGeom>
          <a:solidFill>
            <a:srgbClr val="FFFFFF"/>
          </a:solidFill>
          <a:ln>
            <a:noFill/>
          </a:ln>
        </p:spPr>
        <p:txBody>
          <a:bodyPr vert="horz" wrap="square" lIns="93260" tIns="46630" rIns="93260" bIns="46630" numCol="1" anchor="t" anchorCtr="0" compatLnSpc="1">
            <a:prstTxWarp prst="textNoShape">
              <a:avLst/>
            </a:prstTxWarp>
            <a:noAutofit/>
          </a:bodyPr>
          <a:lstStyle/>
          <a:p>
            <a:pPr defTabSz="1109758">
              <a:defRPr/>
            </a:pPr>
            <a:endParaRPr lang="en-US" sz="2244" kern="0" dirty="0">
              <a:solidFill>
                <a:srgbClr val="505050"/>
              </a:solidFill>
            </a:endParaRPr>
          </a:p>
        </p:txBody>
      </p:sp>
      <p:sp>
        <p:nvSpPr>
          <p:cNvPr id="43" name="Freeform 18"/>
          <p:cNvSpPr>
            <a:spLocks/>
          </p:cNvSpPr>
          <p:nvPr/>
        </p:nvSpPr>
        <p:spPr bwMode="auto">
          <a:xfrm>
            <a:off x="6493238" y="3326016"/>
            <a:ext cx="622729" cy="322419"/>
          </a:xfrm>
          <a:custGeom>
            <a:avLst/>
            <a:gdLst>
              <a:gd name="T0" fmla="*/ 140 w 140"/>
              <a:gd name="T1" fmla="*/ 71 h 71"/>
              <a:gd name="T2" fmla="*/ 135 w 140"/>
              <a:gd name="T3" fmla="*/ 10 h 71"/>
              <a:gd name="T4" fmla="*/ 116 w 140"/>
              <a:gd name="T5" fmla="*/ 27 h 71"/>
              <a:gd name="T6" fmla="*/ 116 w 140"/>
              <a:gd name="T7" fmla="*/ 27 h 71"/>
              <a:gd name="T8" fmla="*/ 116 w 140"/>
              <a:gd name="T9" fmla="*/ 25 h 71"/>
              <a:gd name="T10" fmla="*/ 111 w 140"/>
              <a:gd name="T11" fmla="*/ 20 h 71"/>
              <a:gd name="T12" fmla="*/ 58 w 140"/>
              <a:gd name="T13" fmla="*/ 0 h 71"/>
              <a:gd name="T14" fmla="*/ 55 w 140"/>
              <a:gd name="T15" fmla="*/ 0 h 71"/>
              <a:gd name="T16" fmla="*/ 2 w 140"/>
              <a:gd name="T17" fmla="*/ 25 h 71"/>
              <a:gd name="T18" fmla="*/ 0 w 140"/>
              <a:gd name="T19" fmla="*/ 25 h 71"/>
              <a:gd name="T20" fmla="*/ 19 w 140"/>
              <a:gd name="T21" fmla="*/ 42 h 71"/>
              <a:gd name="T22" fmla="*/ 19 w 140"/>
              <a:gd name="T23" fmla="*/ 42 h 71"/>
              <a:gd name="T24" fmla="*/ 55 w 140"/>
              <a:gd name="T25" fmla="*/ 25 h 71"/>
              <a:gd name="T26" fmla="*/ 58 w 140"/>
              <a:gd name="T27" fmla="*/ 25 h 71"/>
              <a:gd name="T28" fmla="*/ 92 w 140"/>
              <a:gd name="T29" fmla="*/ 34 h 71"/>
              <a:gd name="T30" fmla="*/ 99 w 140"/>
              <a:gd name="T31" fmla="*/ 42 h 71"/>
              <a:gd name="T32" fmla="*/ 79 w 140"/>
              <a:gd name="T33" fmla="*/ 59 h 71"/>
              <a:gd name="T34" fmla="*/ 140 w 140"/>
              <a:gd name="T35" fmla="*/ 71 h 71"/>
              <a:gd name="T36" fmla="*/ 140 w 140"/>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71">
                <a:moveTo>
                  <a:pt x="140" y="71"/>
                </a:moveTo>
                <a:cubicBezTo>
                  <a:pt x="135" y="10"/>
                  <a:pt x="135" y="10"/>
                  <a:pt x="135" y="10"/>
                </a:cubicBezTo>
                <a:cubicBezTo>
                  <a:pt x="116" y="27"/>
                  <a:pt x="116" y="27"/>
                  <a:pt x="116" y="27"/>
                </a:cubicBezTo>
                <a:cubicBezTo>
                  <a:pt x="116" y="27"/>
                  <a:pt x="116" y="27"/>
                  <a:pt x="116" y="27"/>
                </a:cubicBezTo>
                <a:cubicBezTo>
                  <a:pt x="116" y="25"/>
                  <a:pt x="116" y="25"/>
                  <a:pt x="116" y="25"/>
                </a:cubicBezTo>
                <a:cubicBezTo>
                  <a:pt x="111" y="20"/>
                  <a:pt x="111" y="20"/>
                  <a:pt x="111" y="20"/>
                </a:cubicBezTo>
                <a:cubicBezTo>
                  <a:pt x="96" y="8"/>
                  <a:pt x="77" y="0"/>
                  <a:pt x="58" y="0"/>
                </a:cubicBezTo>
                <a:cubicBezTo>
                  <a:pt x="55" y="0"/>
                  <a:pt x="55" y="0"/>
                  <a:pt x="55" y="0"/>
                </a:cubicBezTo>
                <a:cubicBezTo>
                  <a:pt x="36" y="0"/>
                  <a:pt x="16" y="10"/>
                  <a:pt x="2" y="25"/>
                </a:cubicBezTo>
                <a:cubicBezTo>
                  <a:pt x="0" y="25"/>
                  <a:pt x="0" y="25"/>
                  <a:pt x="0" y="25"/>
                </a:cubicBezTo>
                <a:cubicBezTo>
                  <a:pt x="19" y="42"/>
                  <a:pt x="19" y="42"/>
                  <a:pt x="19" y="42"/>
                </a:cubicBezTo>
                <a:cubicBezTo>
                  <a:pt x="19" y="42"/>
                  <a:pt x="19" y="42"/>
                  <a:pt x="19" y="42"/>
                </a:cubicBezTo>
                <a:cubicBezTo>
                  <a:pt x="29" y="32"/>
                  <a:pt x="43" y="25"/>
                  <a:pt x="55" y="25"/>
                </a:cubicBezTo>
                <a:cubicBezTo>
                  <a:pt x="58" y="25"/>
                  <a:pt x="58" y="25"/>
                  <a:pt x="58" y="25"/>
                </a:cubicBezTo>
                <a:cubicBezTo>
                  <a:pt x="70" y="25"/>
                  <a:pt x="82" y="29"/>
                  <a:pt x="92" y="34"/>
                </a:cubicBezTo>
                <a:cubicBezTo>
                  <a:pt x="99" y="42"/>
                  <a:pt x="99" y="42"/>
                  <a:pt x="99" y="42"/>
                </a:cubicBezTo>
                <a:cubicBezTo>
                  <a:pt x="79" y="59"/>
                  <a:pt x="79" y="59"/>
                  <a:pt x="79" y="59"/>
                </a:cubicBezTo>
                <a:cubicBezTo>
                  <a:pt x="140" y="71"/>
                  <a:pt x="140" y="71"/>
                  <a:pt x="140" y="71"/>
                </a:cubicBezTo>
                <a:cubicBezTo>
                  <a:pt x="140" y="71"/>
                  <a:pt x="140" y="71"/>
                  <a:pt x="140" y="7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44" name="Freeform 18"/>
          <p:cNvSpPr>
            <a:spLocks/>
          </p:cNvSpPr>
          <p:nvPr/>
        </p:nvSpPr>
        <p:spPr bwMode="auto">
          <a:xfrm rot="11700000">
            <a:off x="6326342" y="4144836"/>
            <a:ext cx="622729" cy="322419"/>
          </a:xfrm>
          <a:custGeom>
            <a:avLst/>
            <a:gdLst>
              <a:gd name="T0" fmla="*/ 140 w 140"/>
              <a:gd name="T1" fmla="*/ 71 h 71"/>
              <a:gd name="T2" fmla="*/ 135 w 140"/>
              <a:gd name="T3" fmla="*/ 10 h 71"/>
              <a:gd name="T4" fmla="*/ 116 w 140"/>
              <a:gd name="T5" fmla="*/ 27 h 71"/>
              <a:gd name="T6" fmla="*/ 116 w 140"/>
              <a:gd name="T7" fmla="*/ 27 h 71"/>
              <a:gd name="T8" fmla="*/ 116 w 140"/>
              <a:gd name="T9" fmla="*/ 25 h 71"/>
              <a:gd name="T10" fmla="*/ 111 w 140"/>
              <a:gd name="T11" fmla="*/ 20 h 71"/>
              <a:gd name="T12" fmla="*/ 58 w 140"/>
              <a:gd name="T13" fmla="*/ 0 h 71"/>
              <a:gd name="T14" fmla="*/ 55 w 140"/>
              <a:gd name="T15" fmla="*/ 0 h 71"/>
              <a:gd name="T16" fmla="*/ 2 w 140"/>
              <a:gd name="T17" fmla="*/ 25 h 71"/>
              <a:gd name="T18" fmla="*/ 0 w 140"/>
              <a:gd name="T19" fmla="*/ 25 h 71"/>
              <a:gd name="T20" fmla="*/ 19 w 140"/>
              <a:gd name="T21" fmla="*/ 42 h 71"/>
              <a:gd name="T22" fmla="*/ 19 w 140"/>
              <a:gd name="T23" fmla="*/ 42 h 71"/>
              <a:gd name="T24" fmla="*/ 55 w 140"/>
              <a:gd name="T25" fmla="*/ 25 h 71"/>
              <a:gd name="T26" fmla="*/ 58 w 140"/>
              <a:gd name="T27" fmla="*/ 25 h 71"/>
              <a:gd name="T28" fmla="*/ 92 w 140"/>
              <a:gd name="T29" fmla="*/ 34 h 71"/>
              <a:gd name="T30" fmla="*/ 99 w 140"/>
              <a:gd name="T31" fmla="*/ 42 h 71"/>
              <a:gd name="T32" fmla="*/ 79 w 140"/>
              <a:gd name="T33" fmla="*/ 59 h 71"/>
              <a:gd name="T34" fmla="*/ 140 w 140"/>
              <a:gd name="T35" fmla="*/ 71 h 71"/>
              <a:gd name="T36" fmla="*/ 140 w 140"/>
              <a:gd name="T37" fmla="*/ 7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0" h="71">
                <a:moveTo>
                  <a:pt x="140" y="71"/>
                </a:moveTo>
                <a:cubicBezTo>
                  <a:pt x="135" y="10"/>
                  <a:pt x="135" y="10"/>
                  <a:pt x="135" y="10"/>
                </a:cubicBezTo>
                <a:cubicBezTo>
                  <a:pt x="116" y="27"/>
                  <a:pt x="116" y="27"/>
                  <a:pt x="116" y="27"/>
                </a:cubicBezTo>
                <a:cubicBezTo>
                  <a:pt x="116" y="27"/>
                  <a:pt x="116" y="27"/>
                  <a:pt x="116" y="27"/>
                </a:cubicBezTo>
                <a:cubicBezTo>
                  <a:pt x="116" y="25"/>
                  <a:pt x="116" y="25"/>
                  <a:pt x="116" y="25"/>
                </a:cubicBezTo>
                <a:cubicBezTo>
                  <a:pt x="111" y="20"/>
                  <a:pt x="111" y="20"/>
                  <a:pt x="111" y="20"/>
                </a:cubicBezTo>
                <a:cubicBezTo>
                  <a:pt x="96" y="8"/>
                  <a:pt x="77" y="0"/>
                  <a:pt x="58" y="0"/>
                </a:cubicBezTo>
                <a:cubicBezTo>
                  <a:pt x="55" y="0"/>
                  <a:pt x="55" y="0"/>
                  <a:pt x="55" y="0"/>
                </a:cubicBezTo>
                <a:cubicBezTo>
                  <a:pt x="36" y="0"/>
                  <a:pt x="16" y="10"/>
                  <a:pt x="2" y="25"/>
                </a:cubicBezTo>
                <a:cubicBezTo>
                  <a:pt x="0" y="25"/>
                  <a:pt x="0" y="25"/>
                  <a:pt x="0" y="25"/>
                </a:cubicBezTo>
                <a:cubicBezTo>
                  <a:pt x="19" y="42"/>
                  <a:pt x="19" y="42"/>
                  <a:pt x="19" y="42"/>
                </a:cubicBezTo>
                <a:cubicBezTo>
                  <a:pt x="19" y="42"/>
                  <a:pt x="19" y="42"/>
                  <a:pt x="19" y="42"/>
                </a:cubicBezTo>
                <a:cubicBezTo>
                  <a:pt x="29" y="32"/>
                  <a:pt x="43" y="25"/>
                  <a:pt x="55" y="25"/>
                </a:cubicBezTo>
                <a:cubicBezTo>
                  <a:pt x="58" y="25"/>
                  <a:pt x="58" y="25"/>
                  <a:pt x="58" y="25"/>
                </a:cubicBezTo>
                <a:cubicBezTo>
                  <a:pt x="70" y="25"/>
                  <a:pt x="82" y="29"/>
                  <a:pt x="92" y="34"/>
                </a:cubicBezTo>
                <a:cubicBezTo>
                  <a:pt x="99" y="42"/>
                  <a:pt x="99" y="42"/>
                  <a:pt x="99" y="42"/>
                </a:cubicBezTo>
                <a:cubicBezTo>
                  <a:pt x="79" y="59"/>
                  <a:pt x="79" y="59"/>
                  <a:pt x="79" y="59"/>
                </a:cubicBezTo>
                <a:cubicBezTo>
                  <a:pt x="140" y="71"/>
                  <a:pt x="140" y="71"/>
                  <a:pt x="140" y="71"/>
                </a:cubicBezTo>
                <a:cubicBezTo>
                  <a:pt x="140" y="71"/>
                  <a:pt x="140" y="71"/>
                  <a:pt x="140" y="7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nvGrpSpPr>
          <p:cNvPr id="45" name="Group 44"/>
          <p:cNvGrpSpPr/>
          <p:nvPr/>
        </p:nvGrpSpPr>
        <p:grpSpPr>
          <a:xfrm>
            <a:off x="3992821" y="3112100"/>
            <a:ext cx="1519134" cy="676620"/>
            <a:chOff x="8431219" y="3192463"/>
            <a:chExt cx="1482719" cy="660400"/>
          </a:xfrm>
        </p:grpSpPr>
        <p:grpSp>
          <p:nvGrpSpPr>
            <p:cNvPr id="46" name="Group 21"/>
            <p:cNvGrpSpPr>
              <a:grpSpLocks noChangeAspect="1"/>
            </p:cNvGrpSpPr>
            <p:nvPr/>
          </p:nvGrpSpPr>
          <p:grpSpPr bwMode="auto">
            <a:xfrm>
              <a:off x="9332913" y="3192463"/>
              <a:ext cx="581025" cy="660400"/>
              <a:chOff x="5879" y="2011"/>
              <a:chExt cx="366" cy="416"/>
            </a:xfrm>
            <a:solidFill>
              <a:srgbClr val="FFFFFF"/>
            </a:solidFill>
          </p:grpSpPr>
          <p:sp>
            <p:nvSpPr>
              <p:cNvPr id="52" name="Freeform 22"/>
              <p:cNvSpPr>
                <a:spLocks/>
              </p:cNvSpPr>
              <p:nvPr/>
            </p:nvSpPr>
            <p:spPr bwMode="auto">
              <a:xfrm>
                <a:off x="6037" y="2127"/>
                <a:ext cx="136" cy="26"/>
              </a:xfrm>
              <a:custGeom>
                <a:avLst/>
                <a:gdLst>
                  <a:gd name="T0" fmla="*/ 85 w 94"/>
                  <a:gd name="T1" fmla="*/ 0 h 18"/>
                  <a:gd name="T2" fmla="*/ 9 w 94"/>
                  <a:gd name="T3" fmla="*/ 0 h 18"/>
                  <a:gd name="T4" fmla="*/ 0 w 94"/>
                  <a:gd name="T5" fmla="*/ 9 h 18"/>
                  <a:gd name="T6" fmla="*/ 9 w 94"/>
                  <a:gd name="T7" fmla="*/ 18 h 18"/>
                  <a:gd name="T8" fmla="*/ 85 w 94"/>
                  <a:gd name="T9" fmla="*/ 18 h 18"/>
                  <a:gd name="T10" fmla="*/ 94 w 94"/>
                  <a:gd name="T11" fmla="*/ 9 h 18"/>
                  <a:gd name="T12" fmla="*/ 85 w 9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94" h="18">
                    <a:moveTo>
                      <a:pt x="85" y="0"/>
                    </a:moveTo>
                    <a:cubicBezTo>
                      <a:pt x="9" y="0"/>
                      <a:pt x="9" y="0"/>
                      <a:pt x="9" y="0"/>
                    </a:cubicBezTo>
                    <a:cubicBezTo>
                      <a:pt x="4" y="0"/>
                      <a:pt x="0" y="4"/>
                      <a:pt x="0" y="9"/>
                    </a:cubicBezTo>
                    <a:cubicBezTo>
                      <a:pt x="0" y="14"/>
                      <a:pt x="4" y="18"/>
                      <a:pt x="9" y="18"/>
                    </a:cubicBezTo>
                    <a:cubicBezTo>
                      <a:pt x="85" y="18"/>
                      <a:pt x="85" y="18"/>
                      <a:pt x="85" y="18"/>
                    </a:cubicBezTo>
                    <a:cubicBezTo>
                      <a:pt x="90" y="18"/>
                      <a:pt x="94" y="14"/>
                      <a:pt x="94" y="9"/>
                    </a:cubicBezTo>
                    <a:cubicBezTo>
                      <a:pt x="94" y="4"/>
                      <a:pt x="90" y="0"/>
                      <a:pt x="8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3" name="Freeform 23"/>
              <p:cNvSpPr>
                <a:spLocks/>
              </p:cNvSpPr>
              <p:nvPr/>
            </p:nvSpPr>
            <p:spPr bwMode="auto">
              <a:xfrm>
                <a:off x="5950" y="2185"/>
                <a:ext cx="223" cy="26"/>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4" name="Freeform 24"/>
              <p:cNvSpPr>
                <a:spLocks/>
              </p:cNvSpPr>
              <p:nvPr/>
            </p:nvSpPr>
            <p:spPr bwMode="auto">
              <a:xfrm>
                <a:off x="5950" y="2244"/>
                <a:ext cx="223" cy="26"/>
              </a:xfrm>
              <a:custGeom>
                <a:avLst/>
                <a:gdLst>
                  <a:gd name="T0" fmla="*/ 145 w 154"/>
                  <a:gd name="T1" fmla="*/ 0 h 18"/>
                  <a:gd name="T2" fmla="*/ 9 w 154"/>
                  <a:gd name="T3" fmla="*/ 0 h 18"/>
                  <a:gd name="T4" fmla="*/ 0 w 154"/>
                  <a:gd name="T5" fmla="*/ 9 h 18"/>
                  <a:gd name="T6" fmla="*/ 9 w 154"/>
                  <a:gd name="T7" fmla="*/ 18 h 18"/>
                  <a:gd name="T8" fmla="*/ 145 w 154"/>
                  <a:gd name="T9" fmla="*/ 18 h 18"/>
                  <a:gd name="T10" fmla="*/ 154 w 154"/>
                  <a:gd name="T11" fmla="*/ 9 h 18"/>
                  <a:gd name="T12" fmla="*/ 145 w 154"/>
                  <a:gd name="T13" fmla="*/ 0 h 18"/>
                </a:gdLst>
                <a:ahLst/>
                <a:cxnLst>
                  <a:cxn ang="0">
                    <a:pos x="T0" y="T1"/>
                  </a:cxn>
                  <a:cxn ang="0">
                    <a:pos x="T2" y="T3"/>
                  </a:cxn>
                  <a:cxn ang="0">
                    <a:pos x="T4" y="T5"/>
                  </a:cxn>
                  <a:cxn ang="0">
                    <a:pos x="T6" y="T7"/>
                  </a:cxn>
                  <a:cxn ang="0">
                    <a:pos x="T8" y="T9"/>
                  </a:cxn>
                  <a:cxn ang="0">
                    <a:pos x="T10" y="T11"/>
                  </a:cxn>
                  <a:cxn ang="0">
                    <a:pos x="T12" y="T13"/>
                  </a:cxn>
                </a:cxnLst>
                <a:rect l="0" t="0" r="r" b="b"/>
                <a:pathLst>
                  <a:path w="154" h="18">
                    <a:moveTo>
                      <a:pt x="145" y="0"/>
                    </a:moveTo>
                    <a:cubicBezTo>
                      <a:pt x="9" y="0"/>
                      <a:pt x="9" y="0"/>
                      <a:pt x="9" y="0"/>
                    </a:cubicBezTo>
                    <a:cubicBezTo>
                      <a:pt x="4" y="0"/>
                      <a:pt x="0" y="4"/>
                      <a:pt x="0" y="9"/>
                    </a:cubicBezTo>
                    <a:cubicBezTo>
                      <a:pt x="0" y="14"/>
                      <a:pt x="4" y="18"/>
                      <a:pt x="9" y="18"/>
                    </a:cubicBezTo>
                    <a:cubicBezTo>
                      <a:pt x="145" y="18"/>
                      <a:pt x="145" y="18"/>
                      <a:pt x="145" y="18"/>
                    </a:cubicBezTo>
                    <a:cubicBezTo>
                      <a:pt x="150" y="18"/>
                      <a:pt x="154" y="14"/>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5" name="Freeform 25"/>
              <p:cNvSpPr>
                <a:spLocks/>
              </p:cNvSpPr>
              <p:nvPr/>
            </p:nvSpPr>
            <p:spPr bwMode="auto">
              <a:xfrm>
                <a:off x="5950" y="2304"/>
                <a:ext cx="223" cy="24"/>
              </a:xfrm>
              <a:custGeom>
                <a:avLst/>
                <a:gdLst>
                  <a:gd name="T0" fmla="*/ 145 w 154"/>
                  <a:gd name="T1" fmla="*/ 0 h 17"/>
                  <a:gd name="T2" fmla="*/ 9 w 154"/>
                  <a:gd name="T3" fmla="*/ 0 h 17"/>
                  <a:gd name="T4" fmla="*/ 0 w 154"/>
                  <a:gd name="T5" fmla="*/ 9 h 17"/>
                  <a:gd name="T6" fmla="*/ 9 w 154"/>
                  <a:gd name="T7" fmla="*/ 17 h 17"/>
                  <a:gd name="T8" fmla="*/ 145 w 154"/>
                  <a:gd name="T9" fmla="*/ 17 h 17"/>
                  <a:gd name="T10" fmla="*/ 154 w 154"/>
                  <a:gd name="T11" fmla="*/ 9 h 17"/>
                  <a:gd name="T12" fmla="*/ 145 w 154"/>
                  <a:gd name="T13" fmla="*/ 0 h 17"/>
                </a:gdLst>
                <a:ahLst/>
                <a:cxnLst>
                  <a:cxn ang="0">
                    <a:pos x="T0" y="T1"/>
                  </a:cxn>
                  <a:cxn ang="0">
                    <a:pos x="T2" y="T3"/>
                  </a:cxn>
                  <a:cxn ang="0">
                    <a:pos x="T4" y="T5"/>
                  </a:cxn>
                  <a:cxn ang="0">
                    <a:pos x="T6" y="T7"/>
                  </a:cxn>
                  <a:cxn ang="0">
                    <a:pos x="T8" y="T9"/>
                  </a:cxn>
                  <a:cxn ang="0">
                    <a:pos x="T10" y="T11"/>
                  </a:cxn>
                  <a:cxn ang="0">
                    <a:pos x="T12" y="T13"/>
                  </a:cxn>
                </a:cxnLst>
                <a:rect l="0" t="0" r="r" b="b"/>
                <a:pathLst>
                  <a:path w="154" h="17">
                    <a:moveTo>
                      <a:pt x="145" y="0"/>
                    </a:moveTo>
                    <a:cubicBezTo>
                      <a:pt x="9" y="0"/>
                      <a:pt x="9" y="0"/>
                      <a:pt x="9" y="0"/>
                    </a:cubicBezTo>
                    <a:cubicBezTo>
                      <a:pt x="4" y="0"/>
                      <a:pt x="0" y="4"/>
                      <a:pt x="0" y="9"/>
                    </a:cubicBezTo>
                    <a:cubicBezTo>
                      <a:pt x="0" y="13"/>
                      <a:pt x="4" y="17"/>
                      <a:pt x="9" y="17"/>
                    </a:cubicBezTo>
                    <a:cubicBezTo>
                      <a:pt x="145" y="17"/>
                      <a:pt x="145" y="17"/>
                      <a:pt x="145" y="17"/>
                    </a:cubicBezTo>
                    <a:cubicBezTo>
                      <a:pt x="150" y="17"/>
                      <a:pt x="154" y="13"/>
                      <a:pt x="154" y="9"/>
                    </a:cubicBezTo>
                    <a:cubicBezTo>
                      <a:pt x="154" y="4"/>
                      <a:pt x="150" y="0"/>
                      <a:pt x="14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6" name="Freeform 26"/>
              <p:cNvSpPr>
                <a:spLocks noEditPoints="1"/>
              </p:cNvSpPr>
              <p:nvPr/>
            </p:nvSpPr>
            <p:spPr bwMode="auto">
              <a:xfrm>
                <a:off x="5879" y="2011"/>
                <a:ext cx="366" cy="416"/>
              </a:xfrm>
              <a:custGeom>
                <a:avLst/>
                <a:gdLst>
                  <a:gd name="T0" fmla="*/ 235 w 252"/>
                  <a:gd name="T1" fmla="*/ 287 h 287"/>
                  <a:gd name="T2" fmla="*/ 252 w 252"/>
                  <a:gd name="T3" fmla="*/ 287 h 287"/>
                  <a:gd name="T4" fmla="*/ 252 w 252"/>
                  <a:gd name="T5" fmla="*/ 28 h 287"/>
                  <a:gd name="T6" fmla="*/ 223 w 252"/>
                  <a:gd name="T7" fmla="*/ 0 h 287"/>
                  <a:gd name="T8" fmla="*/ 82 w 252"/>
                  <a:gd name="T9" fmla="*/ 0 h 287"/>
                  <a:gd name="T10" fmla="*/ 0 w 252"/>
                  <a:gd name="T11" fmla="*/ 73 h 287"/>
                  <a:gd name="T12" fmla="*/ 0 w 252"/>
                  <a:gd name="T13" fmla="*/ 260 h 287"/>
                  <a:gd name="T14" fmla="*/ 29 w 252"/>
                  <a:gd name="T15" fmla="*/ 287 h 287"/>
                  <a:gd name="T16" fmla="*/ 235 w 252"/>
                  <a:gd name="T17" fmla="*/ 287 h 287"/>
                  <a:gd name="T18" fmla="*/ 37 w 252"/>
                  <a:gd name="T19" fmla="*/ 271 h 287"/>
                  <a:gd name="T20" fmla="*/ 18 w 252"/>
                  <a:gd name="T21" fmla="*/ 252 h 287"/>
                  <a:gd name="T22" fmla="*/ 18 w 252"/>
                  <a:gd name="T23" fmla="*/ 83 h 287"/>
                  <a:gd name="T24" fmla="*/ 68 w 252"/>
                  <a:gd name="T25" fmla="*/ 83 h 287"/>
                  <a:gd name="T26" fmla="*/ 85 w 252"/>
                  <a:gd name="T27" fmla="*/ 80 h 287"/>
                  <a:gd name="T28" fmla="*/ 91 w 252"/>
                  <a:gd name="T29" fmla="*/ 65 h 287"/>
                  <a:gd name="T30" fmla="*/ 91 w 252"/>
                  <a:gd name="T31" fmla="*/ 18 h 287"/>
                  <a:gd name="T32" fmla="*/ 216 w 252"/>
                  <a:gd name="T33" fmla="*/ 18 h 287"/>
                  <a:gd name="T34" fmla="*/ 235 w 252"/>
                  <a:gd name="T35" fmla="*/ 37 h 287"/>
                  <a:gd name="T36" fmla="*/ 235 w 252"/>
                  <a:gd name="T37" fmla="*/ 271 h 287"/>
                  <a:gd name="T38" fmla="*/ 37 w 252"/>
                  <a:gd name="T39" fmla="*/ 271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2" h="287">
                    <a:moveTo>
                      <a:pt x="235" y="287"/>
                    </a:moveTo>
                    <a:cubicBezTo>
                      <a:pt x="252" y="287"/>
                      <a:pt x="252" y="287"/>
                      <a:pt x="252" y="287"/>
                    </a:cubicBezTo>
                    <a:cubicBezTo>
                      <a:pt x="252" y="28"/>
                      <a:pt x="252" y="28"/>
                      <a:pt x="252" y="28"/>
                    </a:cubicBezTo>
                    <a:cubicBezTo>
                      <a:pt x="252" y="11"/>
                      <a:pt x="236" y="0"/>
                      <a:pt x="223" y="0"/>
                    </a:cubicBezTo>
                    <a:cubicBezTo>
                      <a:pt x="82" y="0"/>
                      <a:pt x="82" y="0"/>
                      <a:pt x="82" y="0"/>
                    </a:cubicBezTo>
                    <a:cubicBezTo>
                      <a:pt x="61" y="19"/>
                      <a:pt x="33" y="46"/>
                      <a:pt x="0" y="73"/>
                    </a:cubicBezTo>
                    <a:cubicBezTo>
                      <a:pt x="0" y="260"/>
                      <a:pt x="0" y="260"/>
                      <a:pt x="0" y="260"/>
                    </a:cubicBezTo>
                    <a:cubicBezTo>
                      <a:pt x="0" y="277"/>
                      <a:pt x="15" y="287"/>
                      <a:pt x="29" y="287"/>
                    </a:cubicBezTo>
                    <a:cubicBezTo>
                      <a:pt x="235" y="287"/>
                      <a:pt x="235" y="287"/>
                      <a:pt x="235" y="287"/>
                    </a:cubicBezTo>
                    <a:close/>
                    <a:moveTo>
                      <a:pt x="37" y="271"/>
                    </a:moveTo>
                    <a:cubicBezTo>
                      <a:pt x="26" y="271"/>
                      <a:pt x="18" y="263"/>
                      <a:pt x="18" y="252"/>
                    </a:cubicBezTo>
                    <a:cubicBezTo>
                      <a:pt x="18" y="83"/>
                      <a:pt x="18" y="83"/>
                      <a:pt x="18" y="83"/>
                    </a:cubicBezTo>
                    <a:cubicBezTo>
                      <a:pt x="68" y="83"/>
                      <a:pt x="68" y="83"/>
                      <a:pt x="68" y="83"/>
                    </a:cubicBezTo>
                    <a:cubicBezTo>
                      <a:pt x="68" y="83"/>
                      <a:pt x="79" y="83"/>
                      <a:pt x="85" y="80"/>
                    </a:cubicBezTo>
                    <a:cubicBezTo>
                      <a:pt x="92" y="75"/>
                      <a:pt x="91" y="65"/>
                      <a:pt x="91" y="65"/>
                    </a:cubicBezTo>
                    <a:cubicBezTo>
                      <a:pt x="91" y="18"/>
                      <a:pt x="91" y="18"/>
                      <a:pt x="91" y="18"/>
                    </a:cubicBezTo>
                    <a:cubicBezTo>
                      <a:pt x="216" y="18"/>
                      <a:pt x="216" y="18"/>
                      <a:pt x="216" y="18"/>
                    </a:cubicBezTo>
                    <a:cubicBezTo>
                      <a:pt x="226" y="18"/>
                      <a:pt x="235" y="27"/>
                      <a:pt x="235" y="37"/>
                    </a:cubicBezTo>
                    <a:cubicBezTo>
                      <a:pt x="235" y="271"/>
                      <a:pt x="235" y="271"/>
                      <a:pt x="235" y="271"/>
                    </a:cubicBezTo>
                    <a:lnTo>
                      <a:pt x="37"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grpSp>
          <p:nvGrpSpPr>
            <p:cNvPr id="47" name="Group 29"/>
            <p:cNvGrpSpPr>
              <a:grpSpLocks noChangeAspect="1"/>
            </p:cNvGrpSpPr>
            <p:nvPr/>
          </p:nvGrpSpPr>
          <p:grpSpPr bwMode="auto">
            <a:xfrm>
              <a:off x="8431219" y="3295653"/>
              <a:ext cx="641351" cy="515938"/>
              <a:chOff x="5311" y="2076"/>
              <a:chExt cx="404" cy="325"/>
            </a:xfrm>
            <a:solidFill>
              <a:srgbClr val="FFFFFF"/>
            </a:solidFill>
          </p:grpSpPr>
          <p:sp>
            <p:nvSpPr>
              <p:cNvPr id="48" name="Freeform 30"/>
              <p:cNvSpPr>
                <a:spLocks noEditPoints="1"/>
              </p:cNvSpPr>
              <p:nvPr/>
            </p:nvSpPr>
            <p:spPr bwMode="auto">
              <a:xfrm>
                <a:off x="5460" y="2145"/>
                <a:ext cx="255" cy="256"/>
              </a:xfrm>
              <a:custGeom>
                <a:avLst/>
                <a:gdLst>
                  <a:gd name="T0" fmla="*/ 160 w 182"/>
                  <a:gd name="T1" fmla="*/ 120 h 183"/>
                  <a:gd name="T2" fmla="*/ 181 w 182"/>
                  <a:gd name="T3" fmla="*/ 103 h 183"/>
                  <a:gd name="T4" fmla="*/ 181 w 182"/>
                  <a:gd name="T5" fmla="*/ 79 h 183"/>
                  <a:gd name="T6" fmla="*/ 160 w 182"/>
                  <a:gd name="T7" fmla="*/ 63 h 183"/>
                  <a:gd name="T8" fmla="*/ 164 w 182"/>
                  <a:gd name="T9" fmla="*/ 37 h 183"/>
                  <a:gd name="T10" fmla="*/ 147 w 182"/>
                  <a:gd name="T11" fmla="*/ 19 h 183"/>
                  <a:gd name="T12" fmla="*/ 120 w 182"/>
                  <a:gd name="T13" fmla="*/ 23 h 183"/>
                  <a:gd name="T14" fmla="*/ 104 w 182"/>
                  <a:gd name="T15" fmla="*/ 1 h 183"/>
                  <a:gd name="T16" fmla="*/ 78 w 182"/>
                  <a:gd name="T17" fmla="*/ 1 h 183"/>
                  <a:gd name="T18" fmla="*/ 62 w 182"/>
                  <a:gd name="T19" fmla="*/ 23 h 183"/>
                  <a:gd name="T20" fmla="*/ 35 w 182"/>
                  <a:gd name="T21" fmla="*/ 19 h 183"/>
                  <a:gd name="T22" fmla="*/ 18 w 182"/>
                  <a:gd name="T23" fmla="*/ 37 h 183"/>
                  <a:gd name="T24" fmla="*/ 22 w 182"/>
                  <a:gd name="T25" fmla="*/ 63 h 183"/>
                  <a:gd name="T26" fmla="*/ 1 w 182"/>
                  <a:gd name="T27" fmla="*/ 79 h 183"/>
                  <a:gd name="T28" fmla="*/ 1 w 182"/>
                  <a:gd name="T29" fmla="*/ 103 h 183"/>
                  <a:gd name="T30" fmla="*/ 22 w 182"/>
                  <a:gd name="T31" fmla="*/ 119 h 183"/>
                  <a:gd name="T32" fmla="*/ 18 w 182"/>
                  <a:gd name="T33" fmla="*/ 146 h 183"/>
                  <a:gd name="T34" fmla="*/ 35 w 182"/>
                  <a:gd name="T35" fmla="*/ 163 h 183"/>
                  <a:gd name="T36" fmla="*/ 62 w 182"/>
                  <a:gd name="T37" fmla="*/ 160 h 183"/>
                  <a:gd name="T38" fmla="*/ 78 w 182"/>
                  <a:gd name="T39" fmla="*/ 182 h 183"/>
                  <a:gd name="T40" fmla="*/ 104 w 182"/>
                  <a:gd name="T41" fmla="*/ 182 h 183"/>
                  <a:gd name="T42" fmla="*/ 120 w 182"/>
                  <a:gd name="T43" fmla="*/ 160 h 183"/>
                  <a:gd name="T44" fmla="*/ 147 w 182"/>
                  <a:gd name="T45" fmla="*/ 163 h 183"/>
                  <a:gd name="T46" fmla="*/ 164 w 182"/>
                  <a:gd name="T47" fmla="*/ 146 h 183"/>
                  <a:gd name="T48" fmla="*/ 160 w 182"/>
                  <a:gd name="T49" fmla="*/ 120 h 183"/>
                  <a:gd name="T50" fmla="*/ 69 w 182"/>
                  <a:gd name="T51" fmla="*/ 142 h 183"/>
                  <a:gd name="T52" fmla="*/ 40 w 182"/>
                  <a:gd name="T53" fmla="*/ 70 h 183"/>
                  <a:gd name="T54" fmla="*/ 113 w 182"/>
                  <a:gd name="T55" fmla="*/ 41 h 183"/>
                  <a:gd name="T56" fmla="*/ 142 w 182"/>
                  <a:gd name="T57" fmla="*/ 113 h 183"/>
                  <a:gd name="T58" fmla="*/ 69 w 182"/>
                  <a:gd name="T59" fmla="*/ 142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2" h="183">
                    <a:moveTo>
                      <a:pt x="160" y="120"/>
                    </a:moveTo>
                    <a:cubicBezTo>
                      <a:pt x="164" y="110"/>
                      <a:pt x="172" y="104"/>
                      <a:pt x="181" y="103"/>
                    </a:cubicBezTo>
                    <a:cubicBezTo>
                      <a:pt x="182" y="95"/>
                      <a:pt x="182" y="87"/>
                      <a:pt x="181" y="79"/>
                    </a:cubicBezTo>
                    <a:cubicBezTo>
                      <a:pt x="172" y="78"/>
                      <a:pt x="164" y="73"/>
                      <a:pt x="160" y="63"/>
                    </a:cubicBezTo>
                    <a:cubicBezTo>
                      <a:pt x="156" y="54"/>
                      <a:pt x="158" y="44"/>
                      <a:pt x="164" y="37"/>
                    </a:cubicBezTo>
                    <a:cubicBezTo>
                      <a:pt x="159" y="30"/>
                      <a:pt x="153" y="24"/>
                      <a:pt x="147" y="19"/>
                    </a:cubicBezTo>
                    <a:cubicBezTo>
                      <a:pt x="139" y="25"/>
                      <a:pt x="129" y="27"/>
                      <a:pt x="120" y="23"/>
                    </a:cubicBezTo>
                    <a:cubicBezTo>
                      <a:pt x="111" y="19"/>
                      <a:pt x="105" y="11"/>
                      <a:pt x="104" y="1"/>
                    </a:cubicBezTo>
                    <a:cubicBezTo>
                      <a:pt x="95" y="0"/>
                      <a:pt x="86" y="0"/>
                      <a:pt x="78" y="1"/>
                    </a:cubicBezTo>
                    <a:cubicBezTo>
                      <a:pt x="77" y="11"/>
                      <a:pt x="71" y="19"/>
                      <a:pt x="62" y="23"/>
                    </a:cubicBezTo>
                    <a:cubicBezTo>
                      <a:pt x="53" y="27"/>
                      <a:pt x="43" y="25"/>
                      <a:pt x="35" y="19"/>
                    </a:cubicBezTo>
                    <a:cubicBezTo>
                      <a:pt x="29" y="24"/>
                      <a:pt x="23" y="30"/>
                      <a:pt x="18" y="37"/>
                    </a:cubicBezTo>
                    <a:cubicBezTo>
                      <a:pt x="24" y="44"/>
                      <a:pt x="26" y="54"/>
                      <a:pt x="22" y="63"/>
                    </a:cubicBezTo>
                    <a:cubicBezTo>
                      <a:pt x="18" y="72"/>
                      <a:pt x="10" y="78"/>
                      <a:pt x="1" y="79"/>
                    </a:cubicBezTo>
                    <a:cubicBezTo>
                      <a:pt x="0" y="87"/>
                      <a:pt x="0" y="95"/>
                      <a:pt x="1" y="103"/>
                    </a:cubicBezTo>
                    <a:cubicBezTo>
                      <a:pt x="10" y="104"/>
                      <a:pt x="18" y="110"/>
                      <a:pt x="22" y="119"/>
                    </a:cubicBezTo>
                    <a:cubicBezTo>
                      <a:pt x="26" y="129"/>
                      <a:pt x="24" y="139"/>
                      <a:pt x="18" y="146"/>
                    </a:cubicBezTo>
                    <a:cubicBezTo>
                      <a:pt x="23" y="153"/>
                      <a:pt x="29" y="158"/>
                      <a:pt x="35" y="163"/>
                    </a:cubicBezTo>
                    <a:cubicBezTo>
                      <a:pt x="43" y="158"/>
                      <a:pt x="53" y="156"/>
                      <a:pt x="62" y="160"/>
                    </a:cubicBezTo>
                    <a:cubicBezTo>
                      <a:pt x="71" y="164"/>
                      <a:pt x="77" y="172"/>
                      <a:pt x="78" y="182"/>
                    </a:cubicBezTo>
                    <a:cubicBezTo>
                      <a:pt x="87" y="183"/>
                      <a:pt x="96" y="183"/>
                      <a:pt x="104" y="182"/>
                    </a:cubicBezTo>
                    <a:cubicBezTo>
                      <a:pt x="105" y="172"/>
                      <a:pt x="111" y="164"/>
                      <a:pt x="120" y="160"/>
                    </a:cubicBezTo>
                    <a:cubicBezTo>
                      <a:pt x="129" y="156"/>
                      <a:pt x="140" y="158"/>
                      <a:pt x="147" y="163"/>
                    </a:cubicBezTo>
                    <a:cubicBezTo>
                      <a:pt x="153" y="159"/>
                      <a:pt x="159" y="153"/>
                      <a:pt x="164" y="146"/>
                    </a:cubicBezTo>
                    <a:cubicBezTo>
                      <a:pt x="158" y="139"/>
                      <a:pt x="156" y="129"/>
                      <a:pt x="160" y="120"/>
                    </a:cubicBezTo>
                    <a:close/>
                    <a:moveTo>
                      <a:pt x="69" y="142"/>
                    </a:moveTo>
                    <a:cubicBezTo>
                      <a:pt x="41" y="130"/>
                      <a:pt x="28" y="98"/>
                      <a:pt x="40" y="70"/>
                    </a:cubicBezTo>
                    <a:cubicBezTo>
                      <a:pt x="52" y="42"/>
                      <a:pt x="85" y="29"/>
                      <a:pt x="113" y="41"/>
                    </a:cubicBezTo>
                    <a:cubicBezTo>
                      <a:pt x="141" y="52"/>
                      <a:pt x="154" y="85"/>
                      <a:pt x="142" y="113"/>
                    </a:cubicBezTo>
                    <a:cubicBezTo>
                      <a:pt x="130" y="141"/>
                      <a:pt x="98" y="154"/>
                      <a:pt x="69" y="1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49" name="Freeform 31"/>
              <p:cNvSpPr>
                <a:spLocks noEditPoints="1"/>
              </p:cNvSpPr>
              <p:nvPr/>
            </p:nvSpPr>
            <p:spPr bwMode="auto">
              <a:xfrm>
                <a:off x="5527" y="2212"/>
                <a:ext cx="121" cy="121"/>
              </a:xfrm>
              <a:custGeom>
                <a:avLst/>
                <a:gdLst>
                  <a:gd name="T0" fmla="*/ 58 w 86"/>
                  <a:gd name="T1" fmla="*/ 9 h 86"/>
                  <a:gd name="T2" fmla="*/ 8 w 86"/>
                  <a:gd name="T3" fmla="*/ 29 h 86"/>
                  <a:gd name="T4" fmla="*/ 28 w 86"/>
                  <a:gd name="T5" fmla="*/ 78 h 86"/>
                  <a:gd name="T6" fmla="*/ 78 w 86"/>
                  <a:gd name="T7" fmla="*/ 58 h 86"/>
                  <a:gd name="T8" fmla="*/ 58 w 86"/>
                  <a:gd name="T9" fmla="*/ 9 h 86"/>
                  <a:gd name="T10" fmla="*/ 35 w 86"/>
                  <a:gd name="T11" fmla="*/ 61 h 86"/>
                  <a:gd name="T12" fmla="*/ 25 w 86"/>
                  <a:gd name="T13" fmla="*/ 36 h 86"/>
                  <a:gd name="T14" fmla="*/ 51 w 86"/>
                  <a:gd name="T15" fmla="*/ 25 h 86"/>
                  <a:gd name="T16" fmla="*/ 61 w 86"/>
                  <a:gd name="T17" fmla="*/ 51 h 86"/>
                  <a:gd name="T18" fmla="*/ 35 w 86"/>
                  <a:gd name="T19" fmla="*/ 61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6" h="86">
                    <a:moveTo>
                      <a:pt x="58" y="9"/>
                    </a:moveTo>
                    <a:cubicBezTo>
                      <a:pt x="39" y="0"/>
                      <a:pt x="16" y="9"/>
                      <a:pt x="8" y="29"/>
                    </a:cubicBezTo>
                    <a:cubicBezTo>
                      <a:pt x="0" y="48"/>
                      <a:pt x="9" y="70"/>
                      <a:pt x="28" y="78"/>
                    </a:cubicBezTo>
                    <a:cubicBezTo>
                      <a:pt x="47" y="86"/>
                      <a:pt x="70" y="77"/>
                      <a:pt x="78" y="58"/>
                    </a:cubicBezTo>
                    <a:cubicBezTo>
                      <a:pt x="86" y="39"/>
                      <a:pt x="77" y="17"/>
                      <a:pt x="58" y="9"/>
                    </a:cubicBezTo>
                    <a:close/>
                    <a:moveTo>
                      <a:pt x="35" y="61"/>
                    </a:moveTo>
                    <a:cubicBezTo>
                      <a:pt x="26" y="57"/>
                      <a:pt x="21" y="46"/>
                      <a:pt x="25" y="36"/>
                    </a:cubicBezTo>
                    <a:cubicBezTo>
                      <a:pt x="29" y="26"/>
                      <a:pt x="41" y="21"/>
                      <a:pt x="51" y="25"/>
                    </a:cubicBezTo>
                    <a:cubicBezTo>
                      <a:pt x="61" y="30"/>
                      <a:pt x="65" y="41"/>
                      <a:pt x="61" y="51"/>
                    </a:cubicBezTo>
                    <a:cubicBezTo>
                      <a:pt x="57" y="61"/>
                      <a:pt x="45" y="65"/>
                      <a:pt x="35"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0" name="Freeform 32"/>
              <p:cNvSpPr>
                <a:spLocks noEditPoints="1"/>
              </p:cNvSpPr>
              <p:nvPr/>
            </p:nvSpPr>
            <p:spPr bwMode="auto">
              <a:xfrm>
                <a:off x="5311" y="2076"/>
                <a:ext cx="168" cy="168"/>
              </a:xfrm>
              <a:custGeom>
                <a:avLst/>
                <a:gdLst>
                  <a:gd name="T0" fmla="*/ 105 w 120"/>
                  <a:gd name="T1" fmla="*/ 79 h 120"/>
                  <a:gd name="T2" fmla="*/ 120 w 120"/>
                  <a:gd name="T3" fmla="*/ 68 h 120"/>
                  <a:gd name="T4" fmla="*/ 120 w 120"/>
                  <a:gd name="T5" fmla="*/ 53 h 120"/>
                  <a:gd name="T6" fmla="*/ 105 w 120"/>
                  <a:gd name="T7" fmla="*/ 42 h 120"/>
                  <a:gd name="T8" fmla="*/ 108 w 120"/>
                  <a:gd name="T9" fmla="*/ 25 h 120"/>
                  <a:gd name="T10" fmla="*/ 97 w 120"/>
                  <a:gd name="T11" fmla="*/ 13 h 120"/>
                  <a:gd name="T12" fmla="*/ 79 w 120"/>
                  <a:gd name="T13" fmla="*/ 16 h 120"/>
                  <a:gd name="T14" fmla="*/ 69 w 120"/>
                  <a:gd name="T15" fmla="*/ 1 h 120"/>
                  <a:gd name="T16" fmla="*/ 52 w 120"/>
                  <a:gd name="T17" fmla="*/ 1 h 120"/>
                  <a:gd name="T18" fmla="*/ 41 w 120"/>
                  <a:gd name="T19" fmla="*/ 16 h 120"/>
                  <a:gd name="T20" fmla="*/ 24 w 120"/>
                  <a:gd name="T21" fmla="*/ 13 h 120"/>
                  <a:gd name="T22" fmla="*/ 13 w 120"/>
                  <a:gd name="T23" fmla="*/ 24 h 120"/>
                  <a:gd name="T24" fmla="*/ 15 w 120"/>
                  <a:gd name="T25" fmla="*/ 42 h 120"/>
                  <a:gd name="T26" fmla="*/ 1 w 120"/>
                  <a:gd name="T27" fmla="*/ 53 h 120"/>
                  <a:gd name="T28" fmla="*/ 1 w 120"/>
                  <a:gd name="T29" fmla="*/ 68 h 120"/>
                  <a:gd name="T30" fmla="*/ 15 w 120"/>
                  <a:gd name="T31" fmla="*/ 79 h 120"/>
                  <a:gd name="T32" fmla="*/ 13 w 120"/>
                  <a:gd name="T33" fmla="*/ 96 h 120"/>
                  <a:gd name="T34" fmla="*/ 24 w 120"/>
                  <a:gd name="T35" fmla="*/ 108 h 120"/>
                  <a:gd name="T36" fmla="*/ 41 w 120"/>
                  <a:gd name="T37" fmla="*/ 105 h 120"/>
                  <a:gd name="T38" fmla="*/ 52 w 120"/>
                  <a:gd name="T39" fmla="*/ 120 h 120"/>
                  <a:gd name="T40" fmla="*/ 69 w 120"/>
                  <a:gd name="T41" fmla="*/ 120 h 120"/>
                  <a:gd name="T42" fmla="*/ 79 w 120"/>
                  <a:gd name="T43" fmla="*/ 105 h 120"/>
                  <a:gd name="T44" fmla="*/ 97 w 120"/>
                  <a:gd name="T45" fmla="*/ 108 h 120"/>
                  <a:gd name="T46" fmla="*/ 108 w 120"/>
                  <a:gd name="T47" fmla="*/ 96 h 120"/>
                  <a:gd name="T48" fmla="*/ 105 w 120"/>
                  <a:gd name="T49" fmla="*/ 79 h 120"/>
                  <a:gd name="T50" fmla="*/ 46 w 120"/>
                  <a:gd name="T51" fmla="*/ 94 h 120"/>
                  <a:gd name="T52" fmla="*/ 27 w 120"/>
                  <a:gd name="T53" fmla="*/ 46 h 120"/>
                  <a:gd name="T54" fmla="*/ 74 w 120"/>
                  <a:gd name="T55" fmla="*/ 27 h 120"/>
                  <a:gd name="T56" fmla="*/ 94 w 120"/>
                  <a:gd name="T57" fmla="*/ 75 h 120"/>
                  <a:gd name="T58" fmla="*/ 46 w 120"/>
                  <a:gd name="T59" fmla="*/ 94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20" h="120">
                    <a:moveTo>
                      <a:pt x="105" y="79"/>
                    </a:moveTo>
                    <a:cubicBezTo>
                      <a:pt x="108" y="73"/>
                      <a:pt x="113" y="69"/>
                      <a:pt x="120" y="68"/>
                    </a:cubicBezTo>
                    <a:cubicBezTo>
                      <a:pt x="120" y="63"/>
                      <a:pt x="120" y="58"/>
                      <a:pt x="120" y="53"/>
                    </a:cubicBezTo>
                    <a:cubicBezTo>
                      <a:pt x="113" y="52"/>
                      <a:pt x="108" y="48"/>
                      <a:pt x="105" y="42"/>
                    </a:cubicBezTo>
                    <a:cubicBezTo>
                      <a:pt x="103" y="36"/>
                      <a:pt x="104" y="29"/>
                      <a:pt x="108" y="25"/>
                    </a:cubicBezTo>
                    <a:cubicBezTo>
                      <a:pt x="105" y="20"/>
                      <a:pt x="101" y="16"/>
                      <a:pt x="97" y="13"/>
                    </a:cubicBezTo>
                    <a:cubicBezTo>
                      <a:pt x="92" y="17"/>
                      <a:pt x="85" y="18"/>
                      <a:pt x="79" y="16"/>
                    </a:cubicBezTo>
                    <a:cubicBezTo>
                      <a:pt x="73" y="13"/>
                      <a:pt x="70" y="7"/>
                      <a:pt x="69" y="1"/>
                    </a:cubicBezTo>
                    <a:cubicBezTo>
                      <a:pt x="63" y="0"/>
                      <a:pt x="57" y="0"/>
                      <a:pt x="52" y="1"/>
                    </a:cubicBezTo>
                    <a:cubicBezTo>
                      <a:pt x="51" y="7"/>
                      <a:pt x="47" y="13"/>
                      <a:pt x="41" y="16"/>
                    </a:cubicBezTo>
                    <a:cubicBezTo>
                      <a:pt x="35" y="18"/>
                      <a:pt x="29" y="17"/>
                      <a:pt x="24" y="13"/>
                    </a:cubicBezTo>
                    <a:cubicBezTo>
                      <a:pt x="20" y="16"/>
                      <a:pt x="16" y="20"/>
                      <a:pt x="13" y="24"/>
                    </a:cubicBezTo>
                    <a:cubicBezTo>
                      <a:pt x="16" y="29"/>
                      <a:pt x="18" y="36"/>
                      <a:pt x="15" y="42"/>
                    </a:cubicBezTo>
                    <a:cubicBezTo>
                      <a:pt x="13" y="48"/>
                      <a:pt x="7" y="52"/>
                      <a:pt x="1" y="53"/>
                    </a:cubicBezTo>
                    <a:cubicBezTo>
                      <a:pt x="0" y="58"/>
                      <a:pt x="0" y="63"/>
                      <a:pt x="1" y="68"/>
                    </a:cubicBezTo>
                    <a:cubicBezTo>
                      <a:pt x="7" y="69"/>
                      <a:pt x="13" y="73"/>
                      <a:pt x="15" y="79"/>
                    </a:cubicBezTo>
                    <a:cubicBezTo>
                      <a:pt x="18" y="85"/>
                      <a:pt x="16" y="92"/>
                      <a:pt x="13" y="96"/>
                    </a:cubicBezTo>
                    <a:cubicBezTo>
                      <a:pt x="16" y="101"/>
                      <a:pt x="19" y="104"/>
                      <a:pt x="24" y="108"/>
                    </a:cubicBezTo>
                    <a:cubicBezTo>
                      <a:pt x="29" y="104"/>
                      <a:pt x="35" y="103"/>
                      <a:pt x="41" y="105"/>
                    </a:cubicBezTo>
                    <a:cubicBezTo>
                      <a:pt x="47" y="108"/>
                      <a:pt x="51" y="113"/>
                      <a:pt x="52" y="120"/>
                    </a:cubicBezTo>
                    <a:cubicBezTo>
                      <a:pt x="57" y="120"/>
                      <a:pt x="63" y="120"/>
                      <a:pt x="69" y="120"/>
                    </a:cubicBezTo>
                    <a:cubicBezTo>
                      <a:pt x="70" y="113"/>
                      <a:pt x="73" y="108"/>
                      <a:pt x="79" y="105"/>
                    </a:cubicBezTo>
                    <a:cubicBezTo>
                      <a:pt x="85" y="103"/>
                      <a:pt x="92" y="104"/>
                      <a:pt x="97" y="108"/>
                    </a:cubicBezTo>
                    <a:cubicBezTo>
                      <a:pt x="101" y="104"/>
                      <a:pt x="105" y="101"/>
                      <a:pt x="108" y="96"/>
                    </a:cubicBezTo>
                    <a:cubicBezTo>
                      <a:pt x="104" y="92"/>
                      <a:pt x="103" y="85"/>
                      <a:pt x="105" y="79"/>
                    </a:cubicBezTo>
                    <a:close/>
                    <a:moveTo>
                      <a:pt x="46" y="94"/>
                    </a:moveTo>
                    <a:cubicBezTo>
                      <a:pt x="28" y="86"/>
                      <a:pt x="19" y="65"/>
                      <a:pt x="27" y="46"/>
                    </a:cubicBezTo>
                    <a:cubicBezTo>
                      <a:pt x="35" y="28"/>
                      <a:pt x="56" y="19"/>
                      <a:pt x="74" y="27"/>
                    </a:cubicBezTo>
                    <a:cubicBezTo>
                      <a:pt x="93" y="35"/>
                      <a:pt x="102" y="56"/>
                      <a:pt x="94" y="75"/>
                    </a:cubicBezTo>
                    <a:cubicBezTo>
                      <a:pt x="86" y="93"/>
                      <a:pt x="65" y="102"/>
                      <a:pt x="46" y="9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1" name="Freeform 33"/>
              <p:cNvSpPr>
                <a:spLocks noEditPoints="1"/>
              </p:cNvSpPr>
              <p:nvPr/>
            </p:nvSpPr>
            <p:spPr bwMode="auto">
              <a:xfrm>
                <a:off x="5355" y="2121"/>
                <a:ext cx="80" cy="80"/>
              </a:xfrm>
              <a:custGeom>
                <a:avLst/>
                <a:gdLst>
                  <a:gd name="T0" fmla="*/ 38 w 57"/>
                  <a:gd name="T1" fmla="*/ 6 h 57"/>
                  <a:gd name="T2" fmla="*/ 5 w 57"/>
                  <a:gd name="T3" fmla="*/ 19 h 57"/>
                  <a:gd name="T4" fmla="*/ 19 w 57"/>
                  <a:gd name="T5" fmla="*/ 51 h 57"/>
                  <a:gd name="T6" fmla="*/ 51 w 57"/>
                  <a:gd name="T7" fmla="*/ 38 h 57"/>
                  <a:gd name="T8" fmla="*/ 38 w 57"/>
                  <a:gd name="T9" fmla="*/ 6 h 57"/>
                  <a:gd name="T10" fmla="*/ 23 w 57"/>
                  <a:gd name="T11" fmla="*/ 40 h 57"/>
                  <a:gd name="T12" fmla="*/ 17 w 57"/>
                  <a:gd name="T13" fmla="*/ 23 h 57"/>
                  <a:gd name="T14" fmla="*/ 33 w 57"/>
                  <a:gd name="T15" fmla="*/ 17 h 57"/>
                  <a:gd name="T16" fmla="*/ 40 w 57"/>
                  <a:gd name="T17" fmla="*/ 33 h 57"/>
                  <a:gd name="T18" fmla="*/ 23 w 57"/>
                  <a:gd name="T19" fmla="*/ 4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7" h="57">
                    <a:moveTo>
                      <a:pt x="38" y="6"/>
                    </a:moveTo>
                    <a:cubicBezTo>
                      <a:pt x="25" y="0"/>
                      <a:pt x="11" y="6"/>
                      <a:pt x="5" y="19"/>
                    </a:cubicBezTo>
                    <a:cubicBezTo>
                      <a:pt x="0" y="31"/>
                      <a:pt x="6" y="46"/>
                      <a:pt x="19" y="51"/>
                    </a:cubicBezTo>
                    <a:cubicBezTo>
                      <a:pt x="31" y="57"/>
                      <a:pt x="46" y="51"/>
                      <a:pt x="51" y="38"/>
                    </a:cubicBezTo>
                    <a:cubicBezTo>
                      <a:pt x="57" y="25"/>
                      <a:pt x="51" y="11"/>
                      <a:pt x="38" y="6"/>
                    </a:cubicBezTo>
                    <a:close/>
                    <a:moveTo>
                      <a:pt x="23" y="40"/>
                    </a:moveTo>
                    <a:cubicBezTo>
                      <a:pt x="17" y="37"/>
                      <a:pt x="14" y="30"/>
                      <a:pt x="17" y="23"/>
                    </a:cubicBezTo>
                    <a:cubicBezTo>
                      <a:pt x="19" y="17"/>
                      <a:pt x="27" y="14"/>
                      <a:pt x="33" y="17"/>
                    </a:cubicBezTo>
                    <a:cubicBezTo>
                      <a:pt x="40" y="19"/>
                      <a:pt x="43" y="27"/>
                      <a:pt x="40" y="33"/>
                    </a:cubicBezTo>
                    <a:cubicBezTo>
                      <a:pt x="37" y="40"/>
                      <a:pt x="30" y="43"/>
                      <a:pt x="23" y="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grpSp>
      <p:grpSp>
        <p:nvGrpSpPr>
          <p:cNvPr id="57" name="Group 36"/>
          <p:cNvGrpSpPr>
            <a:grpSpLocks noChangeAspect="1"/>
          </p:cNvGrpSpPr>
          <p:nvPr/>
        </p:nvGrpSpPr>
        <p:grpSpPr bwMode="auto">
          <a:xfrm>
            <a:off x="4292914" y="3844434"/>
            <a:ext cx="857759" cy="531411"/>
            <a:chOff x="5435" y="2473"/>
            <a:chExt cx="686" cy="425"/>
          </a:xfrm>
          <a:solidFill>
            <a:srgbClr val="FFFFFF"/>
          </a:solidFill>
        </p:grpSpPr>
        <p:sp>
          <p:nvSpPr>
            <p:cNvPr id="58" name="Freeform 37"/>
            <p:cNvSpPr>
              <a:spLocks noEditPoints="1"/>
            </p:cNvSpPr>
            <p:nvPr/>
          </p:nvSpPr>
          <p:spPr bwMode="auto">
            <a:xfrm>
              <a:off x="5435" y="2473"/>
              <a:ext cx="686" cy="425"/>
            </a:xfrm>
            <a:custGeom>
              <a:avLst/>
              <a:gdLst>
                <a:gd name="T0" fmla="*/ 278 w 287"/>
                <a:gd name="T1" fmla="*/ 177 h 177"/>
                <a:gd name="T2" fmla="*/ 287 w 287"/>
                <a:gd name="T3" fmla="*/ 177 h 177"/>
                <a:gd name="T4" fmla="*/ 287 w 287"/>
                <a:gd name="T5" fmla="*/ 14 h 177"/>
                <a:gd name="T6" fmla="*/ 272 w 287"/>
                <a:gd name="T7" fmla="*/ 0 h 177"/>
                <a:gd name="T8" fmla="*/ 41 w 287"/>
                <a:gd name="T9" fmla="*/ 0 h 177"/>
                <a:gd name="T10" fmla="*/ 0 w 287"/>
                <a:gd name="T11" fmla="*/ 36 h 177"/>
                <a:gd name="T12" fmla="*/ 0 w 287"/>
                <a:gd name="T13" fmla="*/ 163 h 177"/>
                <a:gd name="T14" fmla="*/ 14 w 287"/>
                <a:gd name="T15" fmla="*/ 177 h 177"/>
                <a:gd name="T16" fmla="*/ 278 w 287"/>
                <a:gd name="T17" fmla="*/ 177 h 177"/>
                <a:gd name="T18" fmla="*/ 19 w 287"/>
                <a:gd name="T19" fmla="*/ 169 h 177"/>
                <a:gd name="T20" fmla="*/ 9 w 287"/>
                <a:gd name="T21" fmla="*/ 159 h 177"/>
                <a:gd name="T22" fmla="*/ 9 w 287"/>
                <a:gd name="T23" fmla="*/ 41 h 177"/>
                <a:gd name="T24" fmla="*/ 34 w 287"/>
                <a:gd name="T25" fmla="*/ 41 h 177"/>
                <a:gd name="T26" fmla="*/ 42 w 287"/>
                <a:gd name="T27" fmla="*/ 40 h 177"/>
                <a:gd name="T28" fmla="*/ 46 w 287"/>
                <a:gd name="T29" fmla="*/ 32 h 177"/>
                <a:gd name="T30" fmla="*/ 46 w 287"/>
                <a:gd name="T31" fmla="*/ 9 h 177"/>
                <a:gd name="T32" fmla="*/ 268 w 287"/>
                <a:gd name="T33" fmla="*/ 9 h 177"/>
                <a:gd name="T34" fmla="*/ 278 w 287"/>
                <a:gd name="T35" fmla="*/ 18 h 177"/>
                <a:gd name="T36" fmla="*/ 278 w 287"/>
                <a:gd name="T37" fmla="*/ 169 h 177"/>
                <a:gd name="T38" fmla="*/ 19 w 287"/>
                <a:gd name="T39" fmla="*/ 169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87" h="177">
                  <a:moveTo>
                    <a:pt x="278" y="177"/>
                  </a:moveTo>
                  <a:cubicBezTo>
                    <a:pt x="287" y="177"/>
                    <a:pt x="287" y="177"/>
                    <a:pt x="287" y="177"/>
                  </a:cubicBezTo>
                  <a:cubicBezTo>
                    <a:pt x="287" y="14"/>
                    <a:pt x="287" y="14"/>
                    <a:pt x="287" y="14"/>
                  </a:cubicBezTo>
                  <a:cubicBezTo>
                    <a:pt x="287" y="5"/>
                    <a:pt x="279" y="0"/>
                    <a:pt x="272" y="0"/>
                  </a:cubicBezTo>
                  <a:cubicBezTo>
                    <a:pt x="41" y="0"/>
                    <a:pt x="41" y="0"/>
                    <a:pt x="41" y="0"/>
                  </a:cubicBezTo>
                  <a:cubicBezTo>
                    <a:pt x="30" y="9"/>
                    <a:pt x="17" y="22"/>
                    <a:pt x="0" y="36"/>
                  </a:cubicBezTo>
                  <a:cubicBezTo>
                    <a:pt x="0" y="163"/>
                    <a:pt x="0" y="163"/>
                    <a:pt x="0" y="163"/>
                  </a:cubicBezTo>
                  <a:cubicBezTo>
                    <a:pt x="0" y="172"/>
                    <a:pt x="8" y="177"/>
                    <a:pt x="14" y="177"/>
                  </a:cubicBezTo>
                  <a:cubicBezTo>
                    <a:pt x="278" y="177"/>
                    <a:pt x="278" y="177"/>
                    <a:pt x="278" y="177"/>
                  </a:cubicBezTo>
                  <a:close/>
                  <a:moveTo>
                    <a:pt x="19" y="169"/>
                  </a:moveTo>
                  <a:cubicBezTo>
                    <a:pt x="13" y="169"/>
                    <a:pt x="9" y="165"/>
                    <a:pt x="9" y="159"/>
                  </a:cubicBezTo>
                  <a:cubicBezTo>
                    <a:pt x="9" y="41"/>
                    <a:pt x="9" y="41"/>
                    <a:pt x="9" y="41"/>
                  </a:cubicBezTo>
                  <a:cubicBezTo>
                    <a:pt x="34" y="41"/>
                    <a:pt x="34" y="41"/>
                    <a:pt x="34" y="41"/>
                  </a:cubicBezTo>
                  <a:cubicBezTo>
                    <a:pt x="34" y="41"/>
                    <a:pt x="40" y="41"/>
                    <a:pt x="42" y="40"/>
                  </a:cubicBezTo>
                  <a:cubicBezTo>
                    <a:pt x="46" y="37"/>
                    <a:pt x="46" y="32"/>
                    <a:pt x="46" y="32"/>
                  </a:cubicBezTo>
                  <a:cubicBezTo>
                    <a:pt x="46" y="9"/>
                    <a:pt x="46" y="9"/>
                    <a:pt x="46" y="9"/>
                  </a:cubicBezTo>
                  <a:cubicBezTo>
                    <a:pt x="268" y="9"/>
                    <a:pt x="268" y="9"/>
                    <a:pt x="268" y="9"/>
                  </a:cubicBezTo>
                  <a:cubicBezTo>
                    <a:pt x="274" y="9"/>
                    <a:pt x="278" y="13"/>
                    <a:pt x="278" y="18"/>
                  </a:cubicBezTo>
                  <a:cubicBezTo>
                    <a:pt x="278" y="169"/>
                    <a:pt x="278" y="169"/>
                    <a:pt x="278" y="169"/>
                  </a:cubicBezTo>
                  <a:lnTo>
                    <a:pt x="19"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59" name="Freeform 38"/>
            <p:cNvSpPr>
              <a:spLocks/>
            </p:cNvSpPr>
            <p:nvPr/>
          </p:nvSpPr>
          <p:spPr bwMode="auto">
            <a:xfrm>
              <a:off x="5571" y="2581"/>
              <a:ext cx="78" cy="21"/>
            </a:xfrm>
            <a:custGeom>
              <a:avLst/>
              <a:gdLst>
                <a:gd name="T0" fmla="*/ 29 w 33"/>
                <a:gd name="T1" fmla="*/ 0 h 9"/>
                <a:gd name="T2" fmla="*/ 4 w 33"/>
                <a:gd name="T3" fmla="*/ 0 h 9"/>
                <a:gd name="T4" fmla="*/ 0 w 33"/>
                <a:gd name="T5" fmla="*/ 4 h 9"/>
                <a:gd name="T6" fmla="*/ 4 w 33"/>
                <a:gd name="T7" fmla="*/ 9 h 9"/>
                <a:gd name="T8" fmla="*/ 29 w 33"/>
                <a:gd name="T9" fmla="*/ 9 h 9"/>
                <a:gd name="T10" fmla="*/ 33 w 33"/>
                <a:gd name="T11" fmla="*/ 4 h 9"/>
                <a:gd name="T12" fmla="*/ 29 w 3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33" h="9">
                  <a:moveTo>
                    <a:pt x="29" y="0"/>
                  </a:moveTo>
                  <a:cubicBezTo>
                    <a:pt x="4" y="0"/>
                    <a:pt x="4" y="0"/>
                    <a:pt x="4" y="0"/>
                  </a:cubicBezTo>
                  <a:cubicBezTo>
                    <a:pt x="2" y="0"/>
                    <a:pt x="0" y="2"/>
                    <a:pt x="0" y="4"/>
                  </a:cubicBezTo>
                  <a:cubicBezTo>
                    <a:pt x="0" y="7"/>
                    <a:pt x="2" y="9"/>
                    <a:pt x="4" y="9"/>
                  </a:cubicBezTo>
                  <a:cubicBezTo>
                    <a:pt x="29" y="9"/>
                    <a:pt x="29" y="9"/>
                    <a:pt x="29" y="9"/>
                  </a:cubicBezTo>
                  <a:cubicBezTo>
                    <a:pt x="31" y="9"/>
                    <a:pt x="33" y="7"/>
                    <a:pt x="33" y="4"/>
                  </a:cubicBezTo>
                  <a:cubicBezTo>
                    <a:pt x="33" y="2"/>
                    <a:pt x="31" y="0"/>
                    <a:pt x="2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0" name="Freeform 39"/>
            <p:cNvSpPr>
              <a:spLocks/>
            </p:cNvSpPr>
            <p:nvPr/>
          </p:nvSpPr>
          <p:spPr bwMode="auto">
            <a:xfrm>
              <a:off x="5499" y="2634"/>
              <a:ext cx="150" cy="19"/>
            </a:xfrm>
            <a:custGeom>
              <a:avLst/>
              <a:gdLst>
                <a:gd name="T0" fmla="*/ 59 w 63"/>
                <a:gd name="T1" fmla="*/ 0 h 8"/>
                <a:gd name="T2" fmla="*/ 4 w 63"/>
                <a:gd name="T3" fmla="*/ 0 h 8"/>
                <a:gd name="T4" fmla="*/ 0 w 63"/>
                <a:gd name="T5" fmla="*/ 4 h 8"/>
                <a:gd name="T6" fmla="*/ 4 w 63"/>
                <a:gd name="T7" fmla="*/ 8 h 8"/>
                <a:gd name="T8" fmla="*/ 59 w 63"/>
                <a:gd name="T9" fmla="*/ 8 h 8"/>
                <a:gd name="T10" fmla="*/ 63 w 63"/>
                <a:gd name="T11" fmla="*/ 4 h 8"/>
                <a:gd name="T12" fmla="*/ 59 w 6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3" h="8">
                  <a:moveTo>
                    <a:pt x="59" y="0"/>
                  </a:moveTo>
                  <a:cubicBezTo>
                    <a:pt x="4" y="0"/>
                    <a:pt x="4" y="0"/>
                    <a:pt x="4" y="0"/>
                  </a:cubicBezTo>
                  <a:cubicBezTo>
                    <a:pt x="2" y="0"/>
                    <a:pt x="0" y="2"/>
                    <a:pt x="0" y="4"/>
                  </a:cubicBezTo>
                  <a:cubicBezTo>
                    <a:pt x="0" y="6"/>
                    <a:pt x="2" y="8"/>
                    <a:pt x="4" y="8"/>
                  </a:cubicBezTo>
                  <a:cubicBezTo>
                    <a:pt x="59" y="8"/>
                    <a:pt x="59" y="8"/>
                    <a:pt x="59" y="8"/>
                  </a:cubicBezTo>
                  <a:cubicBezTo>
                    <a:pt x="61" y="8"/>
                    <a:pt x="63" y="6"/>
                    <a:pt x="63" y="4"/>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1" name="Freeform 40"/>
            <p:cNvSpPr>
              <a:spLocks/>
            </p:cNvSpPr>
            <p:nvPr/>
          </p:nvSpPr>
          <p:spPr bwMode="auto">
            <a:xfrm>
              <a:off x="5499" y="2684"/>
              <a:ext cx="150" cy="22"/>
            </a:xfrm>
            <a:custGeom>
              <a:avLst/>
              <a:gdLst>
                <a:gd name="T0" fmla="*/ 59 w 63"/>
                <a:gd name="T1" fmla="*/ 0 h 9"/>
                <a:gd name="T2" fmla="*/ 4 w 63"/>
                <a:gd name="T3" fmla="*/ 0 h 9"/>
                <a:gd name="T4" fmla="*/ 0 w 63"/>
                <a:gd name="T5" fmla="*/ 5 h 9"/>
                <a:gd name="T6" fmla="*/ 4 w 63"/>
                <a:gd name="T7" fmla="*/ 9 h 9"/>
                <a:gd name="T8" fmla="*/ 59 w 63"/>
                <a:gd name="T9" fmla="*/ 9 h 9"/>
                <a:gd name="T10" fmla="*/ 63 w 63"/>
                <a:gd name="T11" fmla="*/ 5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5"/>
                  </a:cubicBezTo>
                  <a:cubicBezTo>
                    <a:pt x="0" y="7"/>
                    <a:pt x="2" y="9"/>
                    <a:pt x="4" y="9"/>
                  </a:cubicBezTo>
                  <a:cubicBezTo>
                    <a:pt x="59" y="9"/>
                    <a:pt x="59" y="9"/>
                    <a:pt x="59" y="9"/>
                  </a:cubicBezTo>
                  <a:cubicBezTo>
                    <a:pt x="61" y="9"/>
                    <a:pt x="63" y="7"/>
                    <a:pt x="63" y="5"/>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2" name="Freeform 41"/>
            <p:cNvSpPr>
              <a:spLocks/>
            </p:cNvSpPr>
            <p:nvPr/>
          </p:nvSpPr>
          <p:spPr bwMode="auto">
            <a:xfrm>
              <a:off x="5499" y="2737"/>
              <a:ext cx="150" cy="21"/>
            </a:xfrm>
            <a:custGeom>
              <a:avLst/>
              <a:gdLst>
                <a:gd name="T0" fmla="*/ 59 w 63"/>
                <a:gd name="T1" fmla="*/ 0 h 9"/>
                <a:gd name="T2" fmla="*/ 4 w 63"/>
                <a:gd name="T3" fmla="*/ 0 h 9"/>
                <a:gd name="T4" fmla="*/ 0 w 63"/>
                <a:gd name="T5" fmla="*/ 4 h 9"/>
                <a:gd name="T6" fmla="*/ 4 w 63"/>
                <a:gd name="T7" fmla="*/ 9 h 9"/>
                <a:gd name="T8" fmla="*/ 59 w 63"/>
                <a:gd name="T9" fmla="*/ 9 h 9"/>
                <a:gd name="T10" fmla="*/ 63 w 63"/>
                <a:gd name="T11" fmla="*/ 4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4"/>
                  </a:cubicBezTo>
                  <a:cubicBezTo>
                    <a:pt x="0" y="7"/>
                    <a:pt x="2" y="9"/>
                    <a:pt x="4" y="9"/>
                  </a:cubicBezTo>
                  <a:cubicBezTo>
                    <a:pt x="59" y="9"/>
                    <a:pt x="59" y="9"/>
                    <a:pt x="59" y="9"/>
                  </a:cubicBezTo>
                  <a:cubicBezTo>
                    <a:pt x="61" y="9"/>
                    <a:pt x="63" y="7"/>
                    <a:pt x="63" y="4"/>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3" name="Freeform 42"/>
            <p:cNvSpPr>
              <a:spLocks/>
            </p:cNvSpPr>
            <p:nvPr/>
          </p:nvSpPr>
          <p:spPr bwMode="auto">
            <a:xfrm>
              <a:off x="5487" y="2787"/>
              <a:ext cx="150" cy="22"/>
            </a:xfrm>
            <a:custGeom>
              <a:avLst/>
              <a:gdLst>
                <a:gd name="T0" fmla="*/ 59 w 63"/>
                <a:gd name="T1" fmla="*/ 0 h 9"/>
                <a:gd name="T2" fmla="*/ 4 w 63"/>
                <a:gd name="T3" fmla="*/ 0 h 9"/>
                <a:gd name="T4" fmla="*/ 0 w 63"/>
                <a:gd name="T5" fmla="*/ 5 h 9"/>
                <a:gd name="T6" fmla="*/ 4 w 63"/>
                <a:gd name="T7" fmla="*/ 9 h 9"/>
                <a:gd name="T8" fmla="*/ 59 w 63"/>
                <a:gd name="T9" fmla="*/ 9 h 9"/>
                <a:gd name="T10" fmla="*/ 63 w 63"/>
                <a:gd name="T11" fmla="*/ 5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5"/>
                  </a:cubicBezTo>
                  <a:cubicBezTo>
                    <a:pt x="0" y="7"/>
                    <a:pt x="2" y="9"/>
                    <a:pt x="4" y="9"/>
                  </a:cubicBezTo>
                  <a:cubicBezTo>
                    <a:pt x="59" y="9"/>
                    <a:pt x="59" y="9"/>
                    <a:pt x="59" y="9"/>
                  </a:cubicBezTo>
                  <a:cubicBezTo>
                    <a:pt x="61" y="9"/>
                    <a:pt x="63" y="7"/>
                    <a:pt x="63" y="5"/>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4" name="Freeform 43"/>
            <p:cNvSpPr>
              <a:spLocks/>
            </p:cNvSpPr>
            <p:nvPr/>
          </p:nvSpPr>
          <p:spPr bwMode="auto">
            <a:xfrm>
              <a:off x="5700" y="2634"/>
              <a:ext cx="153" cy="19"/>
            </a:xfrm>
            <a:custGeom>
              <a:avLst/>
              <a:gdLst>
                <a:gd name="T0" fmla="*/ 59 w 64"/>
                <a:gd name="T1" fmla="*/ 0 h 8"/>
                <a:gd name="T2" fmla="*/ 5 w 64"/>
                <a:gd name="T3" fmla="*/ 0 h 8"/>
                <a:gd name="T4" fmla="*/ 0 w 64"/>
                <a:gd name="T5" fmla="*/ 4 h 8"/>
                <a:gd name="T6" fmla="*/ 5 w 64"/>
                <a:gd name="T7" fmla="*/ 8 h 8"/>
                <a:gd name="T8" fmla="*/ 59 w 64"/>
                <a:gd name="T9" fmla="*/ 8 h 8"/>
                <a:gd name="T10" fmla="*/ 64 w 64"/>
                <a:gd name="T11" fmla="*/ 4 h 8"/>
                <a:gd name="T12" fmla="*/ 59 w 6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4" h="8">
                  <a:moveTo>
                    <a:pt x="59" y="0"/>
                  </a:moveTo>
                  <a:cubicBezTo>
                    <a:pt x="5" y="0"/>
                    <a:pt x="5" y="0"/>
                    <a:pt x="5" y="0"/>
                  </a:cubicBezTo>
                  <a:cubicBezTo>
                    <a:pt x="2" y="0"/>
                    <a:pt x="0" y="2"/>
                    <a:pt x="0" y="4"/>
                  </a:cubicBezTo>
                  <a:cubicBezTo>
                    <a:pt x="0" y="6"/>
                    <a:pt x="2" y="8"/>
                    <a:pt x="5" y="8"/>
                  </a:cubicBezTo>
                  <a:cubicBezTo>
                    <a:pt x="59" y="8"/>
                    <a:pt x="59" y="8"/>
                    <a:pt x="59" y="8"/>
                  </a:cubicBezTo>
                  <a:cubicBezTo>
                    <a:pt x="62" y="8"/>
                    <a:pt x="64" y="6"/>
                    <a:pt x="64" y="4"/>
                  </a:cubicBezTo>
                  <a:cubicBezTo>
                    <a:pt x="64" y="2"/>
                    <a:pt x="6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5" name="Freeform 44"/>
            <p:cNvSpPr>
              <a:spLocks/>
            </p:cNvSpPr>
            <p:nvPr/>
          </p:nvSpPr>
          <p:spPr bwMode="auto">
            <a:xfrm>
              <a:off x="5700" y="2684"/>
              <a:ext cx="153" cy="22"/>
            </a:xfrm>
            <a:custGeom>
              <a:avLst/>
              <a:gdLst>
                <a:gd name="T0" fmla="*/ 59 w 64"/>
                <a:gd name="T1" fmla="*/ 0 h 9"/>
                <a:gd name="T2" fmla="*/ 5 w 64"/>
                <a:gd name="T3" fmla="*/ 0 h 9"/>
                <a:gd name="T4" fmla="*/ 0 w 64"/>
                <a:gd name="T5" fmla="*/ 5 h 9"/>
                <a:gd name="T6" fmla="*/ 5 w 64"/>
                <a:gd name="T7" fmla="*/ 9 h 9"/>
                <a:gd name="T8" fmla="*/ 59 w 64"/>
                <a:gd name="T9" fmla="*/ 9 h 9"/>
                <a:gd name="T10" fmla="*/ 64 w 64"/>
                <a:gd name="T11" fmla="*/ 5 h 9"/>
                <a:gd name="T12" fmla="*/ 59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59" y="0"/>
                  </a:moveTo>
                  <a:cubicBezTo>
                    <a:pt x="5" y="0"/>
                    <a:pt x="5" y="0"/>
                    <a:pt x="5" y="0"/>
                  </a:cubicBezTo>
                  <a:cubicBezTo>
                    <a:pt x="2" y="0"/>
                    <a:pt x="0" y="2"/>
                    <a:pt x="0" y="5"/>
                  </a:cubicBezTo>
                  <a:cubicBezTo>
                    <a:pt x="0" y="7"/>
                    <a:pt x="2" y="9"/>
                    <a:pt x="5" y="9"/>
                  </a:cubicBezTo>
                  <a:cubicBezTo>
                    <a:pt x="59" y="9"/>
                    <a:pt x="59" y="9"/>
                    <a:pt x="59" y="9"/>
                  </a:cubicBezTo>
                  <a:cubicBezTo>
                    <a:pt x="62" y="9"/>
                    <a:pt x="64" y="7"/>
                    <a:pt x="64" y="5"/>
                  </a:cubicBezTo>
                  <a:cubicBezTo>
                    <a:pt x="64" y="2"/>
                    <a:pt x="6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6" name="Freeform 45"/>
            <p:cNvSpPr>
              <a:spLocks/>
            </p:cNvSpPr>
            <p:nvPr/>
          </p:nvSpPr>
          <p:spPr bwMode="auto">
            <a:xfrm>
              <a:off x="5700" y="2737"/>
              <a:ext cx="153" cy="21"/>
            </a:xfrm>
            <a:custGeom>
              <a:avLst/>
              <a:gdLst>
                <a:gd name="T0" fmla="*/ 59 w 64"/>
                <a:gd name="T1" fmla="*/ 0 h 9"/>
                <a:gd name="T2" fmla="*/ 5 w 64"/>
                <a:gd name="T3" fmla="*/ 0 h 9"/>
                <a:gd name="T4" fmla="*/ 0 w 64"/>
                <a:gd name="T5" fmla="*/ 4 h 9"/>
                <a:gd name="T6" fmla="*/ 5 w 64"/>
                <a:gd name="T7" fmla="*/ 9 h 9"/>
                <a:gd name="T8" fmla="*/ 59 w 64"/>
                <a:gd name="T9" fmla="*/ 9 h 9"/>
                <a:gd name="T10" fmla="*/ 64 w 64"/>
                <a:gd name="T11" fmla="*/ 4 h 9"/>
                <a:gd name="T12" fmla="*/ 59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59" y="0"/>
                  </a:moveTo>
                  <a:cubicBezTo>
                    <a:pt x="5" y="0"/>
                    <a:pt x="5" y="0"/>
                    <a:pt x="5" y="0"/>
                  </a:cubicBezTo>
                  <a:cubicBezTo>
                    <a:pt x="2" y="0"/>
                    <a:pt x="0" y="2"/>
                    <a:pt x="0" y="4"/>
                  </a:cubicBezTo>
                  <a:cubicBezTo>
                    <a:pt x="0" y="7"/>
                    <a:pt x="2" y="9"/>
                    <a:pt x="5" y="9"/>
                  </a:cubicBezTo>
                  <a:cubicBezTo>
                    <a:pt x="59" y="9"/>
                    <a:pt x="59" y="9"/>
                    <a:pt x="59" y="9"/>
                  </a:cubicBezTo>
                  <a:cubicBezTo>
                    <a:pt x="62" y="9"/>
                    <a:pt x="64" y="7"/>
                    <a:pt x="64" y="4"/>
                  </a:cubicBezTo>
                  <a:cubicBezTo>
                    <a:pt x="64" y="2"/>
                    <a:pt x="6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7" name="Freeform 46"/>
            <p:cNvSpPr>
              <a:spLocks/>
            </p:cNvSpPr>
            <p:nvPr/>
          </p:nvSpPr>
          <p:spPr bwMode="auto">
            <a:xfrm>
              <a:off x="5688" y="2787"/>
              <a:ext cx="153" cy="22"/>
            </a:xfrm>
            <a:custGeom>
              <a:avLst/>
              <a:gdLst>
                <a:gd name="T0" fmla="*/ 59 w 64"/>
                <a:gd name="T1" fmla="*/ 0 h 9"/>
                <a:gd name="T2" fmla="*/ 5 w 64"/>
                <a:gd name="T3" fmla="*/ 0 h 9"/>
                <a:gd name="T4" fmla="*/ 0 w 64"/>
                <a:gd name="T5" fmla="*/ 5 h 9"/>
                <a:gd name="T6" fmla="*/ 5 w 64"/>
                <a:gd name="T7" fmla="*/ 9 h 9"/>
                <a:gd name="T8" fmla="*/ 59 w 64"/>
                <a:gd name="T9" fmla="*/ 9 h 9"/>
                <a:gd name="T10" fmla="*/ 64 w 64"/>
                <a:gd name="T11" fmla="*/ 5 h 9"/>
                <a:gd name="T12" fmla="*/ 59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59" y="0"/>
                  </a:moveTo>
                  <a:cubicBezTo>
                    <a:pt x="5" y="0"/>
                    <a:pt x="5" y="0"/>
                    <a:pt x="5" y="0"/>
                  </a:cubicBezTo>
                  <a:cubicBezTo>
                    <a:pt x="2" y="0"/>
                    <a:pt x="0" y="2"/>
                    <a:pt x="0" y="5"/>
                  </a:cubicBezTo>
                  <a:cubicBezTo>
                    <a:pt x="0" y="7"/>
                    <a:pt x="2" y="9"/>
                    <a:pt x="5" y="9"/>
                  </a:cubicBezTo>
                  <a:cubicBezTo>
                    <a:pt x="59" y="9"/>
                    <a:pt x="59" y="9"/>
                    <a:pt x="59" y="9"/>
                  </a:cubicBezTo>
                  <a:cubicBezTo>
                    <a:pt x="62" y="9"/>
                    <a:pt x="64" y="7"/>
                    <a:pt x="64" y="5"/>
                  </a:cubicBezTo>
                  <a:cubicBezTo>
                    <a:pt x="64" y="2"/>
                    <a:pt x="6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8" name="Freeform 47"/>
            <p:cNvSpPr>
              <a:spLocks/>
            </p:cNvSpPr>
            <p:nvPr/>
          </p:nvSpPr>
          <p:spPr bwMode="auto">
            <a:xfrm>
              <a:off x="5703" y="2581"/>
              <a:ext cx="153" cy="21"/>
            </a:xfrm>
            <a:custGeom>
              <a:avLst/>
              <a:gdLst>
                <a:gd name="T0" fmla="*/ 59 w 64"/>
                <a:gd name="T1" fmla="*/ 0 h 9"/>
                <a:gd name="T2" fmla="*/ 5 w 64"/>
                <a:gd name="T3" fmla="*/ 0 h 9"/>
                <a:gd name="T4" fmla="*/ 0 w 64"/>
                <a:gd name="T5" fmla="*/ 4 h 9"/>
                <a:gd name="T6" fmla="*/ 5 w 64"/>
                <a:gd name="T7" fmla="*/ 9 h 9"/>
                <a:gd name="T8" fmla="*/ 59 w 64"/>
                <a:gd name="T9" fmla="*/ 9 h 9"/>
                <a:gd name="T10" fmla="*/ 64 w 64"/>
                <a:gd name="T11" fmla="*/ 4 h 9"/>
                <a:gd name="T12" fmla="*/ 59 w 64"/>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4" h="9">
                  <a:moveTo>
                    <a:pt x="59" y="0"/>
                  </a:moveTo>
                  <a:cubicBezTo>
                    <a:pt x="5" y="0"/>
                    <a:pt x="5" y="0"/>
                    <a:pt x="5" y="0"/>
                  </a:cubicBezTo>
                  <a:cubicBezTo>
                    <a:pt x="2" y="0"/>
                    <a:pt x="0" y="2"/>
                    <a:pt x="0" y="4"/>
                  </a:cubicBezTo>
                  <a:cubicBezTo>
                    <a:pt x="0" y="7"/>
                    <a:pt x="2" y="9"/>
                    <a:pt x="5" y="9"/>
                  </a:cubicBezTo>
                  <a:cubicBezTo>
                    <a:pt x="59" y="9"/>
                    <a:pt x="59" y="9"/>
                    <a:pt x="59" y="9"/>
                  </a:cubicBezTo>
                  <a:cubicBezTo>
                    <a:pt x="62" y="9"/>
                    <a:pt x="64" y="7"/>
                    <a:pt x="64" y="4"/>
                  </a:cubicBezTo>
                  <a:cubicBezTo>
                    <a:pt x="64" y="2"/>
                    <a:pt x="62"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69" name="Freeform 48"/>
            <p:cNvSpPr>
              <a:spLocks/>
            </p:cNvSpPr>
            <p:nvPr/>
          </p:nvSpPr>
          <p:spPr bwMode="auto">
            <a:xfrm>
              <a:off x="5903" y="2634"/>
              <a:ext cx="150" cy="19"/>
            </a:xfrm>
            <a:custGeom>
              <a:avLst/>
              <a:gdLst>
                <a:gd name="T0" fmla="*/ 59 w 63"/>
                <a:gd name="T1" fmla="*/ 0 h 8"/>
                <a:gd name="T2" fmla="*/ 4 w 63"/>
                <a:gd name="T3" fmla="*/ 0 h 8"/>
                <a:gd name="T4" fmla="*/ 0 w 63"/>
                <a:gd name="T5" fmla="*/ 4 h 8"/>
                <a:gd name="T6" fmla="*/ 4 w 63"/>
                <a:gd name="T7" fmla="*/ 8 h 8"/>
                <a:gd name="T8" fmla="*/ 59 w 63"/>
                <a:gd name="T9" fmla="*/ 8 h 8"/>
                <a:gd name="T10" fmla="*/ 63 w 63"/>
                <a:gd name="T11" fmla="*/ 4 h 8"/>
                <a:gd name="T12" fmla="*/ 59 w 63"/>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63" h="8">
                  <a:moveTo>
                    <a:pt x="59" y="0"/>
                  </a:moveTo>
                  <a:cubicBezTo>
                    <a:pt x="4" y="0"/>
                    <a:pt x="4" y="0"/>
                    <a:pt x="4" y="0"/>
                  </a:cubicBezTo>
                  <a:cubicBezTo>
                    <a:pt x="2" y="0"/>
                    <a:pt x="0" y="2"/>
                    <a:pt x="0" y="4"/>
                  </a:cubicBezTo>
                  <a:cubicBezTo>
                    <a:pt x="0" y="6"/>
                    <a:pt x="2" y="8"/>
                    <a:pt x="4" y="8"/>
                  </a:cubicBezTo>
                  <a:cubicBezTo>
                    <a:pt x="59" y="8"/>
                    <a:pt x="59" y="8"/>
                    <a:pt x="59" y="8"/>
                  </a:cubicBezTo>
                  <a:cubicBezTo>
                    <a:pt x="61" y="8"/>
                    <a:pt x="63" y="6"/>
                    <a:pt x="63" y="4"/>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70" name="Freeform 49"/>
            <p:cNvSpPr>
              <a:spLocks/>
            </p:cNvSpPr>
            <p:nvPr/>
          </p:nvSpPr>
          <p:spPr bwMode="auto">
            <a:xfrm>
              <a:off x="5903" y="2684"/>
              <a:ext cx="150" cy="22"/>
            </a:xfrm>
            <a:custGeom>
              <a:avLst/>
              <a:gdLst>
                <a:gd name="T0" fmla="*/ 59 w 63"/>
                <a:gd name="T1" fmla="*/ 0 h 9"/>
                <a:gd name="T2" fmla="*/ 4 w 63"/>
                <a:gd name="T3" fmla="*/ 0 h 9"/>
                <a:gd name="T4" fmla="*/ 0 w 63"/>
                <a:gd name="T5" fmla="*/ 5 h 9"/>
                <a:gd name="T6" fmla="*/ 4 w 63"/>
                <a:gd name="T7" fmla="*/ 9 h 9"/>
                <a:gd name="T8" fmla="*/ 59 w 63"/>
                <a:gd name="T9" fmla="*/ 9 h 9"/>
                <a:gd name="T10" fmla="*/ 63 w 63"/>
                <a:gd name="T11" fmla="*/ 5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5"/>
                  </a:cubicBezTo>
                  <a:cubicBezTo>
                    <a:pt x="0" y="7"/>
                    <a:pt x="2" y="9"/>
                    <a:pt x="4" y="9"/>
                  </a:cubicBezTo>
                  <a:cubicBezTo>
                    <a:pt x="59" y="9"/>
                    <a:pt x="59" y="9"/>
                    <a:pt x="59" y="9"/>
                  </a:cubicBezTo>
                  <a:cubicBezTo>
                    <a:pt x="61" y="9"/>
                    <a:pt x="63" y="7"/>
                    <a:pt x="63" y="5"/>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71" name="Freeform 50"/>
            <p:cNvSpPr>
              <a:spLocks/>
            </p:cNvSpPr>
            <p:nvPr/>
          </p:nvSpPr>
          <p:spPr bwMode="auto">
            <a:xfrm>
              <a:off x="5903" y="2737"/>
              <a:ext cx="150" cy="21"/>
            </a:xfrm>
            <a:custGeom>
              <a:avLst/>
              <a:gdLst>
                <a:gd name="T0" fmla="*/ 59 w 63"/>
                <a:gd name="T1" fmla="*/ 0 h 9"/>
                <a:gd name="T2" fmla="*/ 4 w 63"/>
                <a:gd name="T3" fmla="*/ 0 h 9"/>
                <a:gd name="T4" fmla="*/ 0 w 63"/>
                <a:gd name="T5" fmla="*/ 4 h 9"/>
                <a:gd name="T6" fmla="*/ 4 w 63"/>
                <a:gd name="T7" fmla="*/ 9 h 9"/>
                <a:gd name="T8" fmla="*/ 59 w 63"/>
                <a:gd name="T9" fmla="*/ 9 h 9"/>
                <a:gd name="T10" fmla="*/ 63 w 63"/>
                <a:gd name="T11" fmla="*/ 4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4"/>
                  </a:cubicBezTo>
                  <a:cubicBezTo>
                    <a:pt x="0" y="7"/>
                    <a:pt x="2" y="9"/>
                    <a:pt x="4" y="9"/>
                  </a:cubicBezTo>
                  <a:cubicBezTo>
                    <a:pt x="59" y="9"/>
                    <a:pt x="59" y="9"/>
                    <a:pt x="59" y="9"/>
                  </a:cubicBezTo>
                  <a:cubicBezTo>
                    <a:pt x="61" y="9"/>
                    <a:pt x="63" y="7"/>
                    <a:pt x="63" y="4"/>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72" name="Freeform 51"/>
            <p:cNvSpPr>
              <a:spLocks/>
            </p:cNvSpPr>
            <p:nvPr/>
          </p:nvSpPr>
          <p:spPr bwMode="auto">
            <a:xfrm>
              <a:off x="5891" y="2787"/>
              <a:ext cx="150" cy="22"/>
            </a:xfrm>
            <a:custGeom>
              <a:avLst/>
              <a:gdLst>
                <a:gd name="T0" fmla="*/ 59 w 63"/>
                <a:gd name="T1" fmla="*/ 0 h 9"/>
                <a:gd name="T2" fmla="*/ 4 w 63"/>
                <a:gd name="T3" fmla="*/ 0 h 9"/>
                <a:gd name="T4" fmla="*/ 0 w 63"/>
                <a:gd name="T5" fmla="*/ 5 h 9"/>
                <a:gd name="T6" fmla="*/ 4 w 63"/>
                <a:gd name="T7" fmla="*/ 9 h 9"/>
                <a:gd name="T8" fmla="*/ 59 w 63"/>
                <a:gd name="T9" fmla="*/ 9 h 9"/>
                <a:gd name="T10" fmla="*/ 63 w 63"/>
                <a:gd name="T11" fmla="*/ 5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5"/>
                  </a:cubicBezTo>
                  <a:cubicBezTo>
                    <a:pt x="0" y="7"/>
                    <a:pt x="2" y="9"/>
                    <a:pt x="4" y="9"/>
                  </a:cubicBezTo>
                  <a:cubicBezTo>
                    <a:pt x="59" y="9"/>
                    <a:pt x="59" y="9"/>
                    <a:pt x="59" y="9"/>
                  </a:cubicBezTo>
                  <a:cubicBezTo>
                    <a:pt x="61" y="9"/>
                    <a:pt x="63" y="7"/>
                    <a:pt x="63" y="5"/>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sp>
          <p:nvSpPr>
            <p:cNvPr id="73" name="Freeform 52"/>
            <p:cNvSpPr>
              <a:spLocks/>
            </p:cNvSpPr>
            <p:nvPr/>
          </p:nvSpPr>
          <p:spPr bwMode="auto">
            <a:xfrm>
              <a:off x="5906" y="2581"/>
              <a:ext cx="150" cy="21"/>
            </a:xfrm>
            <a:custGeom>
              <a:avLst/>
              <a:gdLst>
                <a:gd name="T0" fmla="*/ 59 w 63"/>
                <a:gd name="T1" fmla="*/ 0 h 9"/>
                <a:gd name="T2" fmla="*/ 4 w 63"/>
                <a:gd name="T3" fmla="*/ 0 h 9"/>
                <a:gd name="T4" fmla="*/ 0 w 63"/>
                <a:gd name="T5" fmla="*/ 4 h 9"/>
                <a:gd name="T6" fmla="*/ 4 w 63"/>
                <a:gd name="T7" fmla="*/ 9 h 9"/>
                <a:gd name="T8" fmla="*/ 59 w 63"/>
                <a:gd name="T9" fmla="*/ 9 h 9"/>
                <a:gd name="T10" fmla="*/ 63 w 63"/>
                <a:gd name="T11" fmla="*/ 4 h 9"/>
                <a:gd name="T12" fmla="*/ 59 w 6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63" h="9">
                  <a:moveTo>
                    <a:pt x="59" y="0"/>
                  </a:moveTo>
                  <a:cubicBezTo>
                    <a:pt x="4" y="0"/>
                    <a:pt x="4" y="0"/>
                    <a:pt x="4" y="0"/>
                  </a:cubicBezTo>
                  <a:cubicBezTo>
                    <a:pt x="2" y="0"/>
                    <a:pt x="0" y="2"/>
                    <a:pt x="0" y="4"/>
                  </a:cubicBezTo>
                  <a:cubicBezTo>
                    <a:pt x="0" y="7"/>
                    <a:pt x="2" y="9"/>
                    <a:pt x="4" y="9"/>
                  </a:cubicBezTo>
                  <a:cubicBezTo>
                    <a:pt x="59" y="9"/>
                    <a:pt x="59" y="9"/>
                    <a:pt x="59" y="9"/>
                  </a:cubicBezTo>
                  <a:cubicBezTo>
                    <a:pt x="61" y="9"/>
                    <a:pt x="63" y="7"/>
                    <a:pt x="63" y="4"/>
                  </a:cubicBezTo>
                  <a:cubicBezTo>
                    <a:pt x="63" y="2"/>
                    <a:pt x="61" y="0"/>
                    <a:pt x="59"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1109758">
                <a:defRPr/>
              </a:pPr>
              <a:endParaRPr lang="en-US" sz="2244" kern="0" dirty="0">
                <a:solidFill>
                  <a:srgbClr val="505050"/>
                </a:solidFill>
              </a:endParaRPr>
            </a:p>
          </p:txBody>
        </p:sp>
      </p:grpSp>
      <p:sp>
        <p:nvSpPr>
          <p:cNvPr id="74" name="TextBox 73"/>
          <p:cNvSpPr txBox="1"/>
          <p:nvPr/>
        </p:nvSpPr>
        <p:spPr>
          <a:xfrm>
            <a:off x="596857" y="3542045"/>
            <a:ext cx="1283112" cy="468548"/>
          </a:xfrm>
          <a:prstGeom prst="rect">
            <a:avLst/>
          </a:prstGeom>
          <a:solidFill>
            <a:schemeClr val="bg2">
              <a:alpha val="0"/>
            </a:schemeClr>
          </a:solidFill>
        </p:spPr>
        <p:txBody>
          <a:bodyPr vert="horz" wrap="square" lIns="91440" tIns="182880" rIns="91440" bIns="45720" rtlCol="0">
            <a:noAutofit/>
          </a:bodyPr>
          <a:lstStyle/>
          <a:p>
            <a:pPr algn="ctr"/>
            <a:r>
              <a:rPr lang="ru-RU" sz="1400" b="1" dirty="0">
                <a:solidFill>
                  <a:srgbClr val="FFFFFF"/>
                </a:solidFill>
                <a:latin typeface="Segoe UI Light"/>
              </a:rPr>
              <a:t>Мобильность</a:t>
            </a:r>
            <a:endParaRPr lang="en-US" sz="1400" b="1" dirty="0">
              <a:solidFill>
                <a:srgbClr val="FFFFFF"/>
              </a:solidFill>
              <a:latin typeface="Segoe UI Light"/>
            </a:endParaRPr>
          </a:p>
        </p:txBody>
      </p:sp>
      <p:sp>
        <p:nvSpPr>
          <p:cNvPr id="75" name="TextBox 74"/>
          <p:cNvSpPr txBox="1"/>
          <p:nvPr/>
        </p:nvSpPr>
        <p:spPr>
          <a:xfrm>
            <a:off x="2054838" y="3396015"/>
            <a:ext cx="1490620" cy="547121"/>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Социальные сети</a:t>
            </a:r>
            <a:endParaRPr lang="en-US" sz="1400" b="1" kern="0" dirty="0">
              <a:solidFill>
                <a:srgbClr val="FFFFFF"/>
              </a:solidFill>
              <a:latin typeface="Segoe UI Light"/>
            </a:endParaRPr>
          </a:p>
        </p:txBody>
      </p:sp>
      <p:sp>
        <p:nvSpPr>
          <p:cNvPr id="76" name="Rectangle 75"/>
          <p:cNvSpPr/>
          <p:nvPr/>
        </p:nvSpPr>
        <p:spPr>
          <a:xfrm>
            <a:off x="404943" y="2712910"/>
            <a:ext cx="1555113" cy="1305040"/>
          </a:xfrm>
          <a:prstGeom prst="rect">
            <a:avLst/>
          </a:prstGeom>
          <a:solidFill>
            <a:srgbClr val="002050"/>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rgbClr val="00BCF2"/>
              </a:solidFill>
            </a:endParaRPr>
          </a:p>
        </p:txBody>
      </p:sp>
      <p:pic>
        <p:nvPicPr>
          <p:cNvPr id="77" name="Picture 7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0889" y="2769963"/>
            <a:ext cx="786717" cy="770401"/>
          </a:xfrm>
          <a:prstGeom prst="rect">
            <a:avLst/>
          </a:prstGeom>
        </p:spPr>
      </p:pic>
      <p:sp>
        <p:nvSpPr>
          <p:cNvPr id="78" name="TextBox 77"/>
          <p:cNvSpPr txBox="1"/>
          <p:nvPr/>
        </p:nvSpPr>
        <p:spPr>
          <a:xfrm>
            <a:off x="481039" y="3421432"/>
            <a:ext cx="1298422" cy="518799"/>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Облака</a:t>
            </a:r>
            <a:endParaRPr lang="en-US" sz="1400" b="1" kern="0" dirty="0">
              <a:solidFill>
                <a:srgbClr val="FFFFFF"/>
              </a:solidFill>
              <a:latin typeface="Segoe UI Light"/>
            </a:endParaRPr>
          </a:p>
        </p:txBody>
      </p:sp>
      <p:sp>
        <p:nvSpPr>
          <p:cNvPr id="79" name="Rectangle 78"/>
          <p:cNvSpPr/>
          <p:nvPr/>
        </p:nvSpPr>
        <p:spPr>
          <a:xfrm>
            <a:off x="2122316" y="2725748"/>
            <a:ext cx="1529299" cy="1246025"/>
          </a:xfrm>
          <a:prstGeom prst="rect">
            <a:avLst/>
          </a:prstGeom>
          <a:solidFill>
            <a:srgbClr val="009E49"/>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rgbClr val="00BCF2"/>
              </a:solidFill>
            </a:endParaRPr>
          </a:p>
        </p:txBody>
      </p:sp>
      <p:pic>
        <p:nvPicPr>
          <p:cNvPr id="80" name="Picture 7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81227" y="2742005"/>
            <a:ext cx="804114" cy="771373"/>
          </a:xfrm>
          <a:prstGeom prst="rect">
            <a:avLst/>
          </a:prstGeom>
        </p:spPr>
      </p:pic>
      <p:sp>
        <p:nvSpPr>
          <p:cNvPr id="81" name="TextBox 80"/>
          <p:cNvSpPr txBox="1"/>
          <p:nvPr/>
        </p:nvSpPr>
        <p:spPr>
          <a:xfrm>
            <a:off x="2069035" y="3317719"/>
            <a:ext cx="1630064" cy="477743"/>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Большие данные и аналитика</a:t>
            </a:r>
            <a:endParaRPr lang="en-US" sz="1400" b="1" kern="0" dirty="0">
              <a:solidFill>
                <a:srgbClr val="FFFFFF"/>
              </a:solidFill>
              <a:latin typeface="Segoe UI Light"/>
            </a:endParaRPr>
          </a:p>
        </p:txBody>
      </p:sp>
      <p:sp>
        <p:nvSpPr>
          <p:cNvPr id="82" name="Rectangle 81"/>
          <p:cNvSpPr/>
          <p:nvPr/>
        </p:nvSpPr>
        <p:spPr>
          <a:xfrm>
            <a:off x="410075" y="4142589"/>
            <a:ext cx="1538304" cy="1241995"/>
          </a:xfrm>
          <a:prstGeom prst="rect">
            <a:avLst/>
          </a:prstGeom>
          <a:solidFill>
            <a:srgbClr val="00BCF2"/>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dirty="0">
              <a:solidFill>
                <a:srgbClr val="00BCF2"/>
              </a:solidFill>
            </a:endParaRPr>
          </a:p>
        </p:txBody>
      </p:sp>
      <p:pic>
        <p:nvPicPr>
          <p:cNvPr id="83" name="Picture 8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0835" y="4226375"/>
            <a:ext cx="730937" cy="640612"/>
          </a:xfrm>
          <a:prstGeom prst="rect">
            <a:avLst/>
          </a:prstGeom>
        </p:spPr>
      </p:pic>
      <p:sp>
        <p:nvSpPr>
          <p:cNvPr id="84" name="Rectangle 83"/>
          <p:cNvSpPr/>
          <p:nvPr/>
        </p:nvSpPr>
        <p:spPr>
          <a:xfrm>
            <a:off x="2102789" y="4099712"/>
            <a:ext cx="1565609" cy="1248436"/>
          </a:xfrm>
          <a:prstGeom prst="rect">
            <a:avLst/>
          </a:prstGeom>
          <a:solidFill>
            <a:srgbClr val="B4009E"/>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rgbClr val="00BCF2"/>
              </a:solidFill>
            </a:endParaRPr>
          </a:p>
        </p:txBody>
      </p:sp>
      <p:pic>
        <p:nvPicPr>
          <p:cNvPr id="85" name="Picture 8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533884" y="4210019"/>
            <a:ext cx="709210" cy="626665"/>
          </a:xfrm>
          <a:prstGeom prst="rect">
            <a:avLst/>
          </a:prstGeom>
        </p:spPr>
      </p:pic>
      <p:sp>
        <p:nvSpPr>
          <p:cNvPr id="86" name="Rectangle 85"/>
          <p:cNvSpPr/>
          <p:nvPr/>
        </p:nvSpPr>
        <p:spPr>
          <a:xfrm>
            <a:off x="369874" y="5516580"/>
            <a:ext cx="1576315" cy="1227163"/>
          </a:xfrm>
          <a:prstGeom prst="rect">
            <a:avLst/>
          </a:prstGeom>
          <a:solidFill>
            <a:srgbClr val="008272">
              <a:lumMod val="75000"/>
            </a:srgbClr>
          </a:solidFill>
          <a:ln w="9525" cap="flat" cmpd="sng" algn="ctr">
            <a:noFill/>
            <a:prstDash val="soli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defRPr/>
            </a:pPr>
            <a:endParaRPr lang="en-US" kern="0">
              <a:solidFill>
                <a:srgbClr val="00BCF2"/>
              </a:solidFill>
            </a:endParaRPr>
          </a:p>
        </p:txBody>
      </p:sp>
      <p:sp>
        <p:nvSpPr>
          <p:cNvPr id="87" name="Freeform 239"/>
          <p:cNvSpPr>
            <a:spLocks/>
          </p:cNvSpPr>
          <p:nvPr/>
        </p:nvSpPr>
        <p:spPr bwMode="auto">
          <a:xfrm>
            <a:off x="754185" y="5582085"/>
            <a:ext cx="790525" cy="626944"/>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algn="ctr">
              <a:defRPr/>
            </a:pPr>
            <a:endParaRPr lang="en-US" sz="1176" b="1" kern="0" dirty="0">
              <a:solidFill>
                <a:srgbClr val="00D8CC"/>
              </a:solidFill>
            </a:endParaRPr>
          </a:p>
        </p:txBody>
      </p:sp>
      <p:sp>
        <p:nvSpPr>
          <p:cNvPr id="88" name="TextBox 87"/>
          <p:cNvSpPr txBox="1"/>
          <p:nvPr/>
        </p:nvSpPr>
        <p:spPr>
          <a:xfrm>
            <a:off x="524521" y="4791397"/>
            <a:ext cx="1227322" cy="468548"/>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Мобильность</a:t>
            </a:r>
            <a:endParaRPr lang="en-US" sz="1400" b="1" kern="0" dirty="0">
              <a:solidFill>
                <a:srgbClr val="FFFFFF"/>
              </a:solidFill>
              <a:latin typeface="Segoe UI Light"/>
            </a:endParaRPr>
          </a:p>
        </p:txBody>
      </p:sp>
      <p:sp>
        <p:nvSpPr>
          <p:cNvPr id="89" name="TextBox 88"/>
          <p:cNvSpPr txBox="1"/>
          <p:nvPr/>
        </p:nvSpPr>
        <p:spPr>
          <a:xfrm>
            <a:off x="2057690" y="4741217"/>
            <a:ext cx="1593925" cy="760962"/>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Социальные коммуникации</a:t>
            </a:r>
            <a:endParaRPr lang="en-US" sz="1400" b="1" kern="0" dirty="0">
              <a:solidFill>
                <a:srgbClr val="FFFFFF"/>
              </a:solidFill>
              <a:latin typeface="Segoe UI Light"/>
            </a:endParaRPr>
          </a:p>
        </p:txBody>
      </p:sp>
      <p:sp>
        <p:nvSpPr>
          <p:cNvPr id="90" name="TextBox 89"/>
          <p:cNvSpPr txBox="1"/>
          <p:nvPr/>
        </p:nvSpPr>
        <p:spPr>
          <a:xfrm>
            <a:off x="269815" y="6209028"/>
            <a:ext cx="1662799" cy="506157"/>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Интернет вещей»</a:t>
            </a:r>
            <a:endParaRPr lang="en-US" sz="1400" b="1" kern="0" dirty="0">
              <a:solidFill>
                <a:srgbClr val="FFFFFF"/>
              </a:solidFill>
              <a:latin typeface="Segoe UI Light"/>
            </a:endParaRPr>
          </a:p>
        </p:txBody>
      </p:sp>
      <p:sp>
        <p:nvSpPr>
          <p:cNvPr id="91" name="TextBox 90"/>
          <p:cNvSpPr txBox="1"/>
          <p:nvPr/>
        </p:nvSpPr>
        <p:spPr>
          <a:xfrm>
            <a:off x="7590165" y="4377995"/>
            <a:ext cx="2164269" cy="613402"/>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Открытые данные и вовлечение граждан</a:t>
            </a:r>
            <a:endParaRPr lang="en-US" sz="1400" b="1" kern="0" dirty="0">
              <a:solidFill>
                <a:srgbClr val="FFFFFF"/>
              </a:solidFill>
              <a:latin typeface="Segoe UI Light"/>
            </a:endParaRPr>
          </a:p>
        </p:txBody>
      </p:sp>
      <p:sp>
        <p:nvSpPr>
          <p:cNvPr id="92" name="TextBox 91"/>
          <p:cNvSpPr txBox="1"/>
          <p:nvPr/>
        </p:nvSpPr>
        <p:spPr>
          <a:xfrm>
            <a:off x="5760336" y="4263133"/>
            <a:ext cx="1982934" cy="803085"/>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Интегрированные </a:t>
            </a:r>
            <a:r>
              <a:rPr lang="ru-RU" sz="1400" b="1" kern="0" dirty="0" err="1">
                <a:solidFill>
                  <a:srgbClr val="FFFFFF"/>
                </a:solidFill>
                <a:latin typeface="Segoe UI Light"/>
              </a:rPr>
              <a:t>госуслуги</a:t>
            </a:r>
            <a:r>
              <a:rPr lang="ru-RU" sz="1400" b="1" kern="0" dirty="0">
                <a:solidFill>
                  <a:srgbClr val="FFFFFF"/>
                </a:solidFill>
                <a:latin typeface="Segoe UI Light"/>
              </a:rPr>
              <a:t> и взаимодействие </a:t>
            </a:r>
            <a:endParaRPr lang="en-US" sz="1400" b="1" kern="0" dirty="0">
              <a:solidFill>
                <a:srgbClr val="FFFFFF"/>
              </a:solidFill>
              <a:latin typeface="Segoe UI Light"/>
            </a:endParaRPr>
          </a:p>
        </p:txBody>
      </p:sp>
      <p:sp>
        <p:nvSpPr>
          <p:cNvPr id="93" name="TextBox 92"/>
          <p:cNvSpPr txBox="1"/>
          <p:nvPr/>
        </p:nvSpPr>
        <p:spPr>
          <a:xfrm>
            <a:off x="3753271" y="4246580"/>
            <a:ext cx="1982934" cy="836189"/>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Операционная  деятельность и гос. услуги</a:t>
            </a:r>
            <a:endParaRPr lang="en-US" sz="1400" b="1" kern="0" dirty="0">
              <a:solidFill>
                <a:srgbClr val="FFFFFF"/>
              </a:solidFill>
              <a:latin typeface="Segoe UI Light"/>
            </a:endParaRPr>
          </a:p>
        </p:txBody>
      </p:sp>
      <p:sp>
        <p:nvSpPr>
          <p:cNvPr id="94" name="Rectangle 93"/>
          <p:cNvSpPr/>
          <p:nvPr/>
        </p:nvSpPr>
        <p:spPr bwMode="auto">
          <a:xfrm>
            <a:off x="3893193" y="5511392"/>
            <a:ext cx="8298808" cy="799172"/>
          </a:xfrm>
          <a:prstGeom prst="rect">
            <a:avLst/>
          </a:prstGeom>
          <a:solidFill>
            <a:srgbClr val="442359">
              <a:alpha val="80000"/>
            </a:srgbClr>
          </a:solidFill>
          <a:ln w="6350" cap="flat" cmpd="sng" algn="ctr">
            <a:noFill/>
            <a:prstDash val="solid"/>
            <a:headEnd type="none" w="med" len="med"/>
            <a:tailEnd type="none" w="med" len="med"/>
          </a:ln>
          <a:effectLst/>
        </p:spPr>
        <p:txBody>
          <a:bodyPr vert="horz" wrap="square" lIns="95096" tIns="47549" rIns="95096" bIns="47549" numCol="1" rtlCol="0" anchor="b" anchorCtr="0" compatLnSpc="1">
            <a:prstTxWarp prst="textNoShape">
              <a:avLst/>
            </a:prstTxWarp>
          </a:bodyPr>
          <a:lstStyle/>
          <a:p>
            <a:pPr algn="ctr" defTabSz="950628" fontAlgn="base">
              <a:spcBef>
                <a:spcPct val="0"/>
              </a:spcBef>
              <a:spcAft>
                <a:spcPct val="0"/>
              </a:spcAft>
              <a:defRPr/>
            </a:pPr>
            <a:r>
              <a:rPr lang="ru-RU" sz="1200" kern="0" dirty="0">
                <a:solidFill>
                  <a:prstClr val="white"/>
                </a:solidFill>
              </a:rPr>
              <a:t>Эти технологические тренды определяют </a:t>
            </a:r>
            <a:r>
              <a:rPr lang="ru-RU" sz="1200" b="1" kern="0" dirty="0">
                <a:solidFill>
                  <a:prstClr val="white"/>
                </a:solidFill>
              </a:rPr>
              <a:t>«Цифровое Правительство»</a:t>
            </a:r>
            <a:r>
              <a:rPr lang="ru-RU" sz="1200" kern="0" dirty="0">
                <a:solidFill>
                  <a:prstClr val="white"/>
                </a:solidFill>
              </a:rPr>
              <a:t> – следующую фазу после </a:t>
            </a:r>
            <a:r>
              <a:rPr lang="ru-RU" sz="1200" b="1" kern="0" dirty="0">
                <a:solidFill>
                  <a:prstClr val="white"/>
                </a:solidFill>
              </a:rPr>
              <a:t>«Электронного</a:t>
            </a:r>
          </a:p>
          <a:p>
            <a:pPr algn="ctr" defTabSz="950628" fontAlgn="base">
              <a:spcBef>
                <a:spcPct val="0"/>
              </a:spcBef>
              <a:spcAft>
                <a:spcPct val="0"/>
              </a:spcAft>
              <a:defRPr/>
            </a:pPr>
            <a:r>
              <a:rPr lang="ru-RU" sz="1200" b="1" kern="0" dirty="0">
                <a:solidFill>
                  <a:prstClr val="white"/>
                </a:solidFill>
              </a:rPr>
              <a:t>правительства» (2000)</a:t>
            </a:r>
            <a:r>
              <a:rPr lang="ru-RU" sz="1200" kern="0" dirty="0">
                <a:solidFill>
                  <a:prstClr val="white"/>
                </a:solidFill>
              </a:rPr>
              <a:t>, </a:t>
            </a:r>
            <a:r>
              <a:rPr lang="ru-RU" sz="1200" b="1" kern="0" dirty="0">
                <a:solidFill>
                  <a:prstClr val="white"/>
                </a:solidFill>
              </a:rPr>
              <a:t>«Интегрированного правительства» (2005)</a:t>
            </a:r>
            <a:r>
              <a:rPr lang="ru-RU" sz="1200" kern="0" dirty="0">
                <a:solidFill>
                  <a:prstClr val="white"/>
                </a:solidFill>
              </a:rPr>
              <a:t> и </a:t>
            </a:r>
            <a:r>
              <a:rPr lang="ru-RU" sz="1200" b="1" kern="0" dirty="0">
                <a:solidFill>
                  <a:prstClr val="white"/>
                </a:solidFill>
              </a:rPr>
              <a:t>«Открытого Правительства» (2010)</a:t>
            </a:r>
            <a:r>
              <a:rPr lang="ru-RU" sz="1200" kern="0" dirty="0">
                <a:solidFill>
                  <a:prstClr val="white"/>
                </a:solidFill>
              </a:rPr>
              <a:t>.</a:t>
            </a:r>
          </a:p>
          <a:p>
            <a:pPr algn="ctr" defTabSz="950628" fontAlgn="base">
              <a:spcBef>
                <a:spcPct val="0"/>
              </a:spcBef>
              <a:spcAft>
                <a:spcPct val="0"/>
              </a:spcAft>
              <a:defRPr/>
            </a:pPr>
            <a:r>
              <a:rPr lang="ru-RU" sz="1200" kern="0" dirty="0">
                <a:solidFill>
                  <a:prstClr val="white"/>
                </a:solidFill>
              </a:rPr>
              <a:t>Фокус «цифрового правительства» на </a:t>
            </a:r>
            <a:r>
              <a:rPr lang="ru-RU" sz="1200" b="1" kern="0" dirty="0">
                <a:solidFill>
                  <a:prstClr val="white"/>
                </a:solidFill>
              </a:rPr>
              <a:t>информации и данных</a:t>
            </a:r>
            <a:r>
              <a:rPr lang="ru-RU" sz="1200" kern="0" dirty="0">
                <a:solidFill>
                  <a:prstClr val="white"/>
                </a:solidFill>
              </a:rPr>
              <a:t>, а не на процессах и услугах (как это было в начале волны «электронного правительства») (</a:t>
            </a:r>
            <a:r>
              <a:rPr lang="en-US" sz="1200" kern="0" dirty="0">
                <a:solidFill>
                  <a:prstClr val="white"/>
                </a:solidFill>
              </a:rPr>
              <a:t>Gartner Group</a:t>
            </a:r>
            <a:r>
              <a:rPr lang="ru-RU" sz="1200" kern="0" dirty="0">
                <a:solidFill>
                  <a:prstClr val="white"/>
                </a:solidFill>
              </a:rPr>
              <a:t>)</a:t>
            </a:r>
            <a:endParaRPr lang="en-US" sz="1200" kern="0" dirty="0">
              <a:solidFill>
                <a:prstClr val="white"/>
              </a:solidFill>
            </a:endParaRPr>
          </a:p>
        </p:txBody>
      </p:sp>
      <p:sp>
        <p:nvSpPr>
          <p:cNvPr id="95" name="Rectangle 94"/>
          <p:cNvSpPr/>
          <p:nvPr/>
        </p:nvSpPr>
        <p:spPr bwMode="auto">
          <a:xfrm>
            <a:off x="3893193" y="6346304"/>
            <a:ext cx="8291550" cy="475163"/>
          </a:xfrm>
          <a:prstGeom prst="rect">
            <a:avLst/>
          </a:prstGeom>
          <a:solidFill>
            <a:srgbClr val="002050">
              <a:lumMod val="75000"/>
              <a:lumOff val="25000"/>
              <a:alpha val="80000"/>
            </a:srgbClr>
          </a:solidFill>
          <a:ln w="6350" cap="flat" cmpd="sng" algn="ctr">
            <a:noFill/>
            <a:prstDash val="solid"/>
            <a:headEnd type="none" w="med" len="med"/>
            <a:tailEnd type="none" w="med" len="med"/>
          </a:ln>
          <a:effectLst/>
        </p:spPr>
        <p:txBody>
          <a:bodyPr vert="horz" wrap="square" lIns="95096" tIns="47549" rIns="95096" bIns="47549" numCol="1" rtlCol="0" anchor="b" anchorCtr="0" compatLnSpc="1">
            <a:prstTxWarp prst="textNoShape">
              <a:avLst/>
            </a:prstTxWarp>
          </a:bodyPr>
          <a:lstStyle/>
          <a:p>
            <a:pPr algn="ctr" defTabSz="950628" fontAlgn="base">
              <a:spcBef>
                <a:spcPct val="0"/>
              </a:spcBef>
              <a:spcAft>
                <a:spcPct val="0"/>
              </a:spcAft>
              <a:defRPr/>
            </a:pPr>
            <a:r>
              <a:rPr lang="ru-RU" sz="1200" kern="0" dirty="0">
                <a:solidFill>
                  <a:prstClr val="white"/>
                </a:solidFill>
              </a:rPr>
              <a:t>Данные, в частности </a:t>
            </a:r>
            <a:r>
              <a:rPr lang="ru-RU" sz="1200" b="1" kern="0" dirty="0">
                <a:solidFill>
                  <a:prstClr val="white"/>
                </a:solidFill>
              </a:rPr>
              <a:t>большие массивы данных</a:t>
            </a:r>
            <a:r>
              <a:rPr lang="ru-RU" sz="1200" kern="0" dirty="0">
                <a:solidFill>
                  <a:prstClr val="white"/>
                </a:solidFill>
              </a:rPr>
              <a:t> (</a:t>
            </a:r>
            <a:r>
              <a:rPr lang="ru-RU" sz="1200" kern="0" dirty="0" err="1">
                <a:solidFill>
                  <a:prstClr val="white"/>
                </a:solidFill>
              </a:rPr>
              <a:t>big</a:t>
            </a:r>
            <a:r>
              <a:rPr lang="ru-RU" sz="1200" kern="0" dirty="0">
                <a:solidFill>
                  <a:prstClr val="white"/>
                </a:solidFill>
              </a:rPr>
              <a:t> </a:t>
            </a:r>
            <a:r>
              <a:rPr lang="ru-RU" sz="1200" kern="0" dirty="0" err="1">
                <a:solidFill>
                  <a:prstClr val="white"/>
                </a:solidFill>
              </a:rPr>
              <a:t>data</a:t>
            </a:r>
            <a:r>
              <a:rPr lang="ru-RU" sz="1200" kern="0" dirty="0">
                <a:solidFill>
                  <a:prstClr val="white"/>
                </a:solidFill>
              </a:rPr>
              <a:t>), генерируемые </a:t>
            </a:r>
            <a:r>
              <a:rPr lang="ru-RU" sz="1200" b="1" kern="0" dirty="0">
                <a:solidFill>
                  <a:prstClr val="white"/>
                </a:solidFill>
              </a:rPr>
              <a:t>«интернетом вещей»</a:t>
            </a:r>
            <a:r>
              <a:rPr lang="ru-RU" sz="1200" kern="0" dirty="0">
                <a:solidFill>
                  <a:prstClr val="white"/>
                </a:solidFill>
              </a:rPr>
              <a:t> и операционными устройствами – это то, что делает города </a:t>
            </a:r>
            <a:r>
              <a:rPr lang="ru-RU" sz="1200" b="1" kern="0" dirty="0">
                <a:solidFill>
                  <a:prstClr val="white"/>
                </a:solidFill>
              </a:rPr>
              <a:t>«умными городами»</a:t>
            </a:r>
            <a:r>
              <a:rPr lang="ru-RU" sz="1200" kern="0" dirty="0">
                <a:solidFill>
                  <a:prstClr val="white"/>
                </a:solidFill>
              </a:rPr>
              <a:t> (</a:t>
            </a:r>
            <a:r>
              <a:rPr lang="en-US" sz="1200" kern="0" dirty="0">
                <a:solidFill>
                  <a:prstClr val="white"/>
                </a:solidFill>
              </a:rPr>
              <a:t>Gartner Group)</a:t>
            </a:r>
            <a:endParaRPr lang="ru-RU" sz="1200" kern="0" dirty="0">
              <a:solidFill>
                <a:prstClr val="white"/>
              </a:solidFill>
            </a:endParaRPr>
          </a:p>
        </p:txBody>
      </p:sp>
      <p:sp>
        <p:nvSpPr>
          <p:cNvPr id="96" name="Rectangle 95"/>
          <p:cNvSpPr/>
          <p:nvPr/>
        </p:nvSpPr>
        <p:spPr bwMode="auto">
          <a:xfrm>
            <a:off x="2069034" y="5498507"/>
            <a:ext cx="1604959" cy="1255822"/>
          </a:xfrm>
          <a:prstGeom prst="rect">
            <a:avLst/>
          </a:prstGeom>
          <a:solidFill>
            <a:srgbClr val="002050">
              <a:alpha val="80000"/>
            </a:srgbClr>
          </a:solidFill>
          <a:ln w="6350">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93240" tIns="46621" rIns="93240" bIns="46621" numCol="1" rtlCol="0" anchor="b" anchorCtr="0" compatLnSpc="1">
            <a:prstTxWarp prst="textNoShape">
              <a:avLst/>
            </a:prstTxWarp>
          </a:bodyPr>
          <a:lstStyle/>
          <a:p>
            <a:pPr algn="ctr" defTabSz="932134" fontAlgn="base">
              <a:lnSpc>
                <a:spcPts val="2347"/>
              </a:lnSpc>
              <a:spcBef>
                <a:spcPct val="0"/>
              </a:spcBef>
              <a:spcAft>
                <a:spcPct val="0"/>
              </a:spcAft>
            </a:pPr>
            <a:endParaRPr lang="en-US" sz="2448" dirty="0">
              <a:solidFill>
                <a:srgbClr val="FFFFFF"/>
              </a:solidFill>
              <a:latin typeface="Segoe UI Light" pitchFamily="34" charset="0"/>
            </a:endParaRPr>
          </a:p>
        </p:txBody>
      </p:sp>
      <p:pic>
        <p:nvPicPr>
          <p:cNvPr id="97" name="Picture 96"/>
          <p:cNvPicPr>
            <a:picLocks noChangeAspect="1"/>
          </p:cNvPicPr>
          <p:nvPr/>
        </p:nvPicPr>
        <p:blipFill rotWithShape="1">
          <a:blip r:embed="rId9" cstate="print">
            <a:extLst>
              <a:ext uri="{28A0092B-C50C-407E-A947-70E740481C1C}">
                <a14:useLocalDpi xmlns:a14="http://schemas.microsoft.com/office/drawing/2010/main" val="0"/>
              </a:ext>
            </a:extLst>
          </a:blip>
          <a:srcRect t="-3149" b="-3632"/>
          <a:stretch/>
        </p:blipFill>
        <p:spPr>
          <a:xfrm>
            <a:off x="2405771" y="5498507"/>
            <a:ext cx="877936" cy="864101"/>
          </a:xfrm>
          <a:prstGeom prst="rect">
            <a:avLst/>
          </a:prstGeom>
        </p:spPr>
      </p:pic>
      <p:sp>
        <p:nvSpPr>
          <p:cNvPr id="98" name="TextBox 97"/>
          <p:cNvSpPr txBox="1"/>
          <p:nvPr/>
        </p:nvSpPr>
        <p:spPr>
          <a:xfrm>
            <a:off x="2028970" y="6246638"/>
            <a:ext cx="1741378" cy="468548"/>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err="1">
                <a:solidFill>
                  <a:srgbClr val="FFFFFF"/>
                </a:solidFill>
                <a:latin typeface="Segoe UI Light"/>
              </a:rPr>
              <a:t>Кибербезопасность</a:t>
            </a:r>
            <a:endParaRPr lang="en-US" sz="1400" b="1" kern="0" dirty="0">
              <a:solidFill>
                <a:srgbClr val="FFFFFF"/>
              </a:solidFill>
              <a:latin typeface="Segoe UI Light"/>
            </a:endParaRPr>
          </a:p>
        </p:txBody>
      </p:sp>
      <p:sp>
        <p:nvSpPr>
          <p:cNvPr id="99" name="TextBox 98"/>
          <p:cNvSpPr txBox="1"/>
          <p:nvPr/>
        </p:nvSpPr>
        <p:spPr>
          <a:xfrm>
            <a:off x="9692461" y="2546790"/>
            <a:ext cx="1994563" cy="2519429"/>
          </a:xfrm>
          <a:prstGeom prst="rect">
            <a:avLst/>
          </a:prstGeom>
          <a:solidFill>
            <a:srgbClr val="00BCF2"/>
          </a:solidFill>
        </p:spPr>
        <p:txBody>
          <a:bodyPr vert="horz" wrap="square" lIns="93236" tIns="93236" rIns="93236" bIns="93236" rtlCol="0" anchor="b">
            <a:noAutofit/>
          </a:bodyPr>
          <a:lstStyle/>
          <a:p>
            <a:pPr defTabSz="1109758">
              <a:defRPr/>
            </a:pPr>
            <a:endParaRPr lang="en-US" sz="2040" kern="0" dirty="0">
              <a:solidFill>
                <a:prstClr val="white"/>
              </a:solidFill>
              <a:latin typeface="Segoe UI Light" panose="020B0502040204020203" pitchFamily="34" charset="0"/>
              <a:ea typeface="Segoe UI" pitchFamily="34" charset="0"/>
              <a:cs typeface="Segoe UI" pitchFamily="34" charset="0"/>
            </a:endParaRPr>
          </a:p>
        </p:txBody>
      </p:sp>
      <p:sp>
        <p:nvSpPr>
          <p:cNvPr id="100" name="Rectangle 24"/>
          <p:cNvSpPr/>
          <p:nvPr/>
        </p:nvSpPr>
        <p:spPr bwMode="auto">
          <a:xfrm flipH="1">
            <a:off x="10341008" y="3323633"/>
            <a:ext cx="598930" cy="829743"/>
          </a:xfrm>
          <a:custGeom>
            <a:avLst/>
            <a:gdLst/>
            <a:ahLst/>
            <a:cxnLst/>
            <a:rect l="l" t="t" r="r" b="b"/>
            <a:pathLst>
              <a:path w="1518158" h="2102639">
                <a:moveTo>
                  <a:pt x="664962" y="48"/>
                </a:moveTo>
                <a:cubicBezTo>
                  <a:pt x="990735" y="4734"/>
                  <a:pt x="1250103" y="195355"/>
                  <a:pt x="1311820" y="389100"/>
                </a:cubicBezTo>
                <a:cubicBezTo>
                  <a:pt x="1373537" y="582844"/>
                  <a:pt x="1310258" y="419568"/>
                  <a:pt x="1400880" y="656280"/>
                </a:cubicBezTo>
                <a:cubicBezTo>
                  <a:pt x="1411818" y="757059"/>
                  <a:pt x="1339163" y="742996"/>
                  <a:pt x="1358694" y="815651"/>
                </a:cubicBezTo>
                <a:cubicBezTo>
                  <a:pt x="1378225" y="888305"/>
                  <a:pt x="1514158" y="1033614"/>
                  <a:pt x="1518064" y="1092206"/>
                </a:cubicBezTo>
                <a:cubicBezTo>
                  <a:pt x="1521971" y="1150798"/>
                  <a:pt x="1404005" y="1135955"/>
                  <a:pt x="1382130" y="1167204"/>
                </a:cubicBezTo>
                <a:cubicBezTo>
                  <a:pt x="1360256" y="1198453"/>
                  <a:pt x="1390724" y="1255483"/>
                  <a:pt x="1386818" y="1279701"/>
                </a:cubicBezTo>
                <a:cubicBezTo>
                  <a:pt x="1382912" y="1303919"/>
                  <a:pt x="1361038" y="1303137"/>
                  <a:pt x="1358694" y="1312512"/>
                </a:cubicBezTo>
                <a:cubicBezTo>
                  <a:pt x="1356350" y="1321887"/>
                  <a:pt x="1382912" y="1320325"/>
                  <a:pt x="1372756" y="1335949"/>
                </a:cubicBezTo>
                <a:cubicBezTo>
                  <a:pt x="1362600" y="1351574"/>
                  <a:pt x="1313382" y="1359387"/>
                  <a:pt x="1297758" y="1406260"/>
                </a:cubicBezTo>
                <a:cubicBezTo>
                  <a:pt x="1282134" y="1453134"/>
                  <a:pt x="1409474" y="1567974"/>
                  <a:pt x="1279008" y="1617192"/>
                </a:cubicBezTo>
                <a:cubicBezTo>
                  <a:pt x="1148544" y="1666410"/>
                  <a:pt x="978235" y="1565631"/>
                  <a:pt x="936830" y="1645316"/>
                </a:cubicBezTo>
                <a:cubicBezTo>
                  <a:pt x="895425" y="1725002"/>
                  <a:pt x="843864" y="1864060"/>
                  <a:pt x="1030577" y="2095304"/>
                </a:cubicBezTo>
                <a:cubicBezTo>
                  <a:pt x="762616" y="2092179"/>
                  <a:pt x="244660" y="2113272"/>
                  <a:pt x="18105" y="2095304"/>
                </a:cubicBezTo>
                <a:cubicBezTo>
                  <a:pt x="72790" y="1927340"/>
                  <a:pt x="250130" y="1765625"/>
                  <a:pt x="247786" y="1537506"/>
                </a:cubicBezTo>
                <a:cubicBezTo>
                  <a:pt x="245442" y="1309387"/>
                  <a:pt x="51697" y="1118768"/>
                  <a:pt x="4042" y="726591"/>
                </a:cubicBezTo>
                <a:cubicBezTo>
                  <a:pt x="-20283" y="526408"/>
                  <a:pt x="67548" y="340065"/>
                  <a:pt x="203379" y="206900"/>
                </a:cubicBezTo>
                <a:lnTo>
                  <a:pt x="203379" y="206708"/>
                </a:lnTo>
                <a:lnTo>
                  <a:pt x="203605" y="206708"/>
                </a:lnTo>
                <a:cubicBezTo>
                  <a:pt x="332512" y="77755"/>
                  <a:pt x="505564" y="-2246"/>
                  <a:pt x="664962" y="48"/>
                </a:cubicBezTo>
                <a:close/>
              </a:path>
            </a:pathLst>
          </a:custGeom>
          <a:solidFill>
            <a:srgbClr val="FFFFFF"/>
          </a:solidFill>
          <a:ln w="10795" cap="flat" cmpd="sng" algn="ctr">
            <a:noFill/>
            <a:prstDash val="solid"/>
          </a:ln>
          <a:effectLst/>
        </p:spPr>
        <p:txBody>
          <a:bodyPr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defRPr/>
            </a:pPr>
            <a:endParaRPr lang="en-US" dirty="0">
              <a:gradFill>
                <a:gsLst>
                  <a:gs pos="0">
                    <a:srgbClr val="FFFFFF"/>
                  </a:gs>
                  <a:gs pos="100000">
                    <a:srgbClr val="FFFFFF"/>
                  </a:gs>
                </a:gsLst>
                <a:lin ang="5400000" scaled="0"/>
              </a:gradFill>
            </a:endParaRPr>
          </a:p>
        </p:txBody>
      </p:sp>
      <p:sp>
        <p:nvSpPr>
          <p:cNvPr id="101" name="Freeform 100"/>
          <p:cNvSpPr>
            <a:spLocks noEditPoints="1"/>
          </p:cNvSpPr>
          <p:nvPr/>
        </p:nvSpPr>
        <p:spPr bwMode="black">
          <a:xfrm rot="3604394" flipH="1">
            <a:off x="10543390" y="3118962"/>
            <a:ext cx="321755" cy="252582"/>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chemeClr val="accent2">
              <a:lumMod val="60000"/>
              <a:lumOff val="40000"/>
            </a:schemeClr>
          </a:solidFill>
          <a:ln>
            <a:noFill/>
          </a:ln>
          <a:extLst/>
        </p:spPr>
        <p:txBody>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defRPr/>
            </a:pPr>
            <a:endParaRPr lang="en-US" sz="1600" dirty="0">
              <a:ln>
                <a:solidFill>
                  <a:srgbClr val="505050">
                    <a:alpha val="0"/>
                  </a:srgbClr>
                </a:solidFill>
              </a:ln>
              <a:gradFill>
                <a:gsLst>
                  <a:gs pos="0">
                    <a:srgbClr val="FFFFFF"/>
                  </a:gs>
                  <a:gs pos="100000">
                    <a:srgbClr val="FFFFFF"/>
                  </a:gs>
                </a:gsLst>
                <a:lin ang="5400000" scaled="0"/>
              </a:gradFill>
            </a:endParaRPr>
          </a:p>
        </p:txBody>
      </p:sp>
      <p:pic>
        <p:nvPicPr>
          <p:cNvPr id="102" name="Picture 3"/>
          <p:cNvPicPr>
            <a:picLocks noChangeAspect="1" noChangeArrowheads="1"/>
          </p:cNvPicPr>
          <p:nvPr/>
        </p:nvPicPr>
        <p:blipFill>
          <a:blip r:embed="rId10">
            <a:grayscl/>
            <a:extLst>
              <a:ext uri="{28A0092B-C50C-407E-A947-70E740481C1C}">
                <a14:useLocalDpi xmlns:a14="http://schemas.microsoft.com/office/drawing/2010/main" val="0"/>
              </a:ext>
            </a:extLst>
          </a:blip>
          <a:srcRect/>
          <a:stretch>
            <a:fillRect/>
          </a:stretch>
        </p:blipFill>
        <p:spPr bwMode="auto">
          <a:xfrm>
            <a:off x="11004631" y="3461799"/>
            <a:ext cx="559562" cy="5607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 name="Picture 7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9781450" y="3415477"/>
            <a:ext cx="559562" cy="5589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7" name="TextBox 106"/>
          <p:cNvSpPr txBox="1"/>
          <p:nvPr/>
        </p:nvSpPr>
        <p:spPr>
          <a:xfrm>
            <a:off x="9617626" y="4327341"/>
            <a:ext cx="1982934" cy="687799"/>
          </a:xfrm>
          <a:prstGeom prst="rect">
            <a:avLst/>
          </a:prstGeom>
          <a:solidFill>
            <a:srgbClr val="FFFFFF">
              <a:alpha val="0"/>
            </a:srgbClr>
          </a:solidFill>
        </p:spPr>
        <p:txBody>
          <a:bodyPr vert="horz" wrap="square" lIns="91440" tIns="182880" rIns="91440" bIns="45720" rtlCol="0">
            <a:noAutofit/>
          </a:bodyPr>
          <a:lstStyle/>
          <a:p>
            <a:pPr algn="ctr">
              <a:defRPr/>
            </a:pPr>
            <a:r>
              <a:rPr lang="ru-RU" sz="1400" b="1" kern="0" dirty="0">
                <a:solidFill>
                  <a:srgbClr val="FFFFFF"/>
                </a:solidFill>
                <a:latin typeface="Segoe UI Light"/>
              </a:rPr>
              <a:t>Анализ информации и прогнозирование</a:t>
            </a:r>
            <a:endParaRPr lang="en-US" sz="1400" b="1" kern="0" dirty="0">
              <a:solidFill>
                <a:srgbClr val="FFFFFF"/>
              </a:solidFill>
              <a:latin typeface="Segoe UI Light"/>
            </a:endParaRPr>
          </a:p>
        </p:txBody>
      </p:sp>
      <p:cxnSp>
        <p:nvCxnSpPr>
          <p:cNvPr id="108" name="Straight Arrow Connector 107"/>
          <p:cNvCxnSpPr/>
          <p:nvPr/>
        </p:nvCxnSpPr>
        <p:spPr>
          <a:xfrm flipV="1">
            <a:off x="3928932" y="5359698"/>
            <a:ext cx="8255811" cy="24334"/>
          </a:xfrm>
          <a:prstGeom prst="straightConnector1">
            <a:avLst/>
          </a:prstGeom>
          <a:ln w="63500">
            <a:solidFill>
              <a:schemeClr val="tx1"/>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111" name="TextBox 110"/>
          <p:cNvSpPr txBox="1"/>
          <p:nvPr/>
        </p:nvSpPr>
        <p:spPr>
          <a:xfrm>
            <a:off x="11597832" y="4521067"/>
            <a:ext cx="560090" cy="904863"/>
          </a:xfrm>
          <a:prstGeom prst="rect">
            <a:avLst/>
          </a:prstGeom>
          <a:noFill/>
        </p:spPr>
        <p:txBody>
          <a:bodyPr wrap="none" lIns="182880" tIns="146304" rIns="182880" bIns="146304" rtlCol="0">
            <a:spAutoFit/>
          </a:bodyPr>
          <a:lstStyle/>
          <a:p>
            <a:pPr>
              <a:lnSpc>
                <a:spcPct val="90000"/>
              </a:lnSpc>
              <a:spcAft>
                <a:spcPts val="600"/>
              </a:spcAft>
            </a:pPr>
            <a:r>
              <a:rPr lang="en-US" sz="4400" dirty="0">
                <a:gradFill>
                  <a:gsLst>
                    <a:gs pos="2917">
                      <a:srgbClr val="505050"/>
                    </a:gs>
                    <a:gs pos="30000">
                      <a:srgbClr val="505050"/>
                    </a:gs>
                  </a:gsLst>
                  <a:lin ang="5400000" scaled="0"/>
                </a:gradFill>
              </a:rPr>
              <a:t>t</a:t>
            </a:r>
            <a:endParaRPr lang="ru-RU" sz="4400" dirty="0" err="1">
              <a:gradFill>
                <a:gsLst>
                  <a:gs pos="2917">
                    <a:srgbClr val="505050"/>
                  </a:gs>
                  <a:gs pos="30000">
                    <a:srgbClr val="505050"/>
                  </a:gs>
                </a:gsLst>
                <a:lin ang="5400000" scaled="0"/>
              </a:gradFill>
            </a:endParaRPr>
          </a:p>
        </p:txBody>
      </p:sp>
      <p:sp>
        <p:nvSpPr>
          <p:cNvPr id="110" name="TextBox 109"/>
          <p:cNvSpPr txBox="1"/>
          <p:nvPr/>
        </p:nvSpPr>
        <p:spPr>
          <a:xfrm>
            <a:off x="3944082" y="2384020"/>
            <a:ext cx="1638007" cy="713164"/>
          </a:xfrm>
          <a:prstGeom prst="rect">
            <a:avLst/>
          </a:prstGeom>
          <a:solidFill>
            <a:srgbClr val="FFFFFF">
              <a:alpha val="0"/>
            </a:srgbClr>
          </a:solidFill>
        </p:spPr>
        <p:txBody>
          <a:bodyPr vert="horz" wrap="square" lIns="91440" tIns="182880" rIns="91440" bIns="45720" rtlCol="0">
            <a:noAutofit/>
          </a:bodyPr>
          <a:lstStyle/>
          <a:p>
            <a:pPr algn="ctr">
              <a:defRPr/>
            </a:pPr>
            <a:r>
              <a:rPr lang="ru-RU" sz="1600" b="1" kern="0" dirty="0">
                <a:solidFill>
                  <a:srgbClr val="FFFFFF"/>
                </a:solidFill>
                <a:latin typeface="Segoe UI Light"/>
              </a:rPr>
              <a:t>Электронное правительство</a:t>
            </a:r>
            <a:endParaRPr lang="en-US" sz="1600" b="1" kern="0" dirty="0">
              <a:solidFill>
                <a:srgbClr val="FFFFFF"/>
              </a:solidFill>
              <a:latin typeface="Segoe UI Light"/>
            </a:endParaRPr>
          </a:p>
        </p:txBody>
      </p:sp>
      <p:sp>
        <p:nvSpPr>
          <p:cNvPr id="112" name="TextBox 111"/>
          <p:cNvSpPr txBox="1"/>
          <p:nvPr/>
        </p:nvSpPr>
        <p:spPr>
          <a:xfrm>
            <a:off x="5760336" y="2381439"/>
            <a:ext cx="1869789" cy="713164"/>
          </a:xfrm>
          <a:prstGeom prst="rect">
            <a:avLst/>
          </a:prstGeom>
          <a:solidFill>
            <a:srgbClr val="FFFFFF">
              <a:alpha val="0"/>
            </a:srgbClr>
          </a:solidFill>
        </p:spPr>
        <p:txBody>
          <a:bodyPr vert="horz" wrap="square" lIns="91440" tIns="182880" rIns="91440" bIns="45720" rtlCol="0">
            <a:noAutofit/>
          </a:bodyPr>
          <a:lstStyle/>
          <a:p>
            <a:pPr algn="ctr">
              <a:defRPr/>
            </a:pPr>
            <a:r>
              <a:rPr lang="ru-RU" sz="1600" b="1" kern="0" dirty="0">
                <a:solidFill>
                  <a:srgbClr val="FFFFFF"/>
                </a:solidFill>
                <a:latin typeface="Segoe UI Light"/>
              </a:rPr>
              <a:t>Интегрированное правительство</a:t>
            </a:r>
            <a:endParaRPr lang="en-US" sz="1600" b="1" kern="0" dirty="0">
              <a:solidFill>
                <a:srgbClr val="FFFFFF"/>
              </a:solidFill>
              <a:latin typeface="Segoe UI Light"/>
            </a:endParaRPr>
          </a:p>
        </p:txBody>
      </p:sp>
      <p:sp>
        <p:nvSpPr>
          <p:cNvPr id="113" name="TextBox 112"/>
          <p:cNvSpPr txBox="1"/>
          <p:nvPr/>
        </p:nvSpPr>
        <p:spPr>
          <a:xfrm>
            <a:off x="7688841" y="2409853"/>
            <a:ext cx="1869789" cy="713164"/>
          </a:xfrm>
          <a:prstGeom prst="rect">
            <a:avLst/>
          </a:prstGeom>
          <a:solidFill>
            <a:srgbClr val="FFFFFF">
              <a:alpha val="0"/>
            </a:srgbClr>
          </a:solidFill>
        </p:spPr>
        <p:txBody>
          <a:bodyPr vert="horz" wrap="square" lIns="91440" tIns="182880" rIns="91440" bIns="45720" rtlCol="0">
            <a:noAutofit/>
          </a:bodyPr>
          <a:lstStyle/>
          <a:p>
            <a:pPr algn="ctr">
              <a:defRPr/>
            </a:pPr>
            <a:r>
              <a:rPr lang="ru-RU" sz="1600" b="1" kern="0" dirty="0">
                <a:solidFill>
                  <a:srgbClr val="FFFFFF"/>
                </a:solidFill>
                <a:latin typeface="Segoe UI Light"/>
              </a:rPr>
              <a:t>Открытое правительство</a:t>
            </a:r>
            <a:endParaRPr lang="en-US" sz="1600" b="1" kern="0" dirty="0">
              <a:solidFill>
                <a:srgbClr val="FFFFFF"/>
              </a:solidFill>
              <a:latin typeface="Segoe UI Light"/>
            </a:endParaRPr>
          </a:p>
        </p:txBody>
      </p:sp>
      <p:sp>
        <p:nvSpPr>
          <p:cNvPr id="114" name="TextBox 113"/>
          <p:cNvSpPr txBox="1"/>
          <p:nvPr/>
        </p:nvSpPr>
        <p:spPr>
          <a:xfrm>
            <a:off x="9716538" y="2422774"/>
            <a:ext cx="1869789" cy="713164"/>
          </a:xfrm>
          <a:prstGeom prst="rect">
            <a:avLst/>
          </a:prstGeom>
          <a:solidFill>
            <a:srgbClr val="FFFFFF">
              <a:alpha val="0"/>
            </a:srgbClr>
          </a:solidFill>
        </p:spPr>
        <p:txBody>
          <a:bodyPr vert="horz" wrap="square" lIns="91440" tIns="182880" rIns="91440" bIns="45720" rtlCol="0">
            <a:noAutofit/>
          </a:bodyPr>
          <a:lstStyle/>
          <a:p>
            <a:pPr algn="ctr">
              <a:defRPr/>
            </a:pPr>
            <a:r>
              <a:rPr lang="ru-RU" sz="1600" b="1" kern="0" dirty="0">
                <a:solidFill>
                  <a:srgbClr val="FFFFFF"/>
                </a:solidFill>
                <a:latin typeface="Segoe UI Light"/>
              </a:rPr>
              <a:t>Цифровое правительство</a:t>
            </a:r>
            <a:endParaRPr lang="en-US" sz="1600" b="1" kern="0" dirty="0">
              <a:solidFill>
                <a:srgbClr val="FFFFFF"/>
              </a:solidFill>
              <a:latin typeface="Segoe UI Light"/>
            </a:endParaRPr>
          </a:p>
        </p:txBody>
      </p:sp>
      <p:sp>
        <p:nvSpPr>
          <p:cNvPr id="115" name="TextBox 114"/>
          <p:cNvSpPr txBox="1"/>
          <p:nvPr/>
        </p:nvSpPr>
        <p:spPr>
          <a:xfrm>
            <a:off x="4317245" y="4963832"/>
            <a:ext cx="869469"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2000</a:t>
            </a:r>
            <a:endParaRPr lang="ru-RU" dirty="0" err="1">
              <a:gradFill>
                <a:gsLst>
                  <a:gs pos="2917">
                    <a:schemeClr val="tx1"/>
                  </a:gs>
                  <a:gs pos="30000">
                    <a:schemeClr val="tx1"/>
                  </a:gs>
                </a:gsLst>
                <a:lin ang="5400000" scaled="0"/>
              </a:gradFill>
            </a:endParaRPr>
          </a:p>
        </p:txBody>
      </p:sp>
      <p:sp>
        <p:nvSpPr>
          <p:cNvPr id="116" name="TextBox 115"/>
          <p:cNvSpPr txBox="1"/>
          <p:nvPr/>
        </p:nvSpPr>
        <p:spPr>
          <a:xfrm>
            <a:off x="6261648" y="4971945"/>
            <a:ext cx="869469"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200</a:t>
            </a:r>
            <a:r>
              <a:rPr lang="ru-RU" dirty="0">
                <a:gradFill>
                  <a:gsLst>
                    <a:gs pos="2917">
                      <a:schemeClr val="tx1"/>
                    </a:gs>
                    <a:gs pos="30000">
                      <a:schemeClr val="tx1"/>
                    </a:gs>
                  </a:gsLst>
                  <a:lin ang="5400000" scaled="0"/>
                </a:gradFill>
              </a:rPr>
              <a:t>5</a:t>
            </a:r>
          </a:p>
        </p:txBody>
      </p:sp>
      <p:sp>
        <p:nvSpPr>
          <p:cNvPr id="117" name="TextBox 116"/>
          <p:cNvSpPr txBox="1"/>
          <p:nvPr/>
        </p:nvSpPr>
        <p:spPr>
          <a:xfrm>
            <a:off x="8230206" y="4949952"/>
            <a:ext cx="869469"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20</a:t>
            </a:r>
            <a:r>
              <a:rPr lang="ru-RU" dirty="0">
                <a:gradFill>
                  <a:gsLst>
                    <a:gs pos="2917">
                      <a:schemeClr val="tx1"/>
                    </a:gs>
                    <a:gs pos="30000">
                      <a:schemeClr val="tx1"/>
                    </a:gs>
                  </a:gsLst>
                  <a:lin ang="5400000" scaled="0"/>
                </a:gradFill>
              </a:rPr>
              <a:t>1</a:t>
            </a:r>
            <a:r>
              <a:rPr lang="en-US" dirty="0">
                <a:gradFill>
                  <a:gsLst>
                    <a:gs pos="2917">
                      <a:schemeClr val="tx1"/>
                    </a:gs>
                    <a:gs pos="30000">
                      <a:schemeClr val="tx1"/>
                    </a:gs>
                  </a:gsLst>
                  <a:lin ang="5400000" scaled="0"/>
                </a:gradFill>
              </a:rPr>
              <a:t>0</a:t>
            </a:r>
            <a:endParaRPr lang="ru-RU" dirty="0" err="1">
              <a:gradFill>
                <a:gsLst>
                  <a:gs pos="2917">
                    <a:schemeClr val="tx1"/>
                  </a:gs>
                  <a:gs pos="30000">
                    <a:schemeClr val="tx1"/>
                  </a:gs>
                </a:gsLst>
                <a:lin ang="5400000" scaled="0"/>
              </a:gradFill>
            </a:endParaRPr>
          </a:p>
        </p:txBody>
      </p:sp>
      <p:sp>
        <p:nvSpPr>
          <p:cNvPr id="118" name="TextBox 117"/>
          <p:cNvSpPr txBox="1"/>
          <p:nvPr/>
        </p:nvSpPr>
        <p:spPr>
          <a:xfrm>
            <a:off x="10339589" y="4948757"/>
            <a:ext cx="869469" cy="544765"/>
          </a:xfrm>
          <a:prstGeom prst="rect">
            <a:avLst/>
          </a:prstGeom>
          <a:noFill/>
        </p:spPr>
        <p:txBody>
          <a:bodyPr wrap="none" lIns="182880" tIns="146304" rIns="182880" bIns="146304" rtlCol="0">
            <a:spAutoFit/>
          </a:bodyPr>
          <a:lstStyle/>
          <a:p>
            <a:pPr>
              <a:lnSpc>
                <a:spcPct val="90000"/>
              </a:lnSpc>
              <a:spcAft>
                <a:spcPts val="600"/>
              </a:spcAft>
            </a:pPr>
            <a:r>
              <a:rPr lang="en-US" dirty="0">
                <a:gradFill>
                  <a:gsLst>
                    <a:gs pos="2917">
                      <a:schemeClr val="tx1"/>
                    </a:gs>
                    <a:gs pos="30000">
                      <a:schemeClr val="tx1"/>
                    </a:gs>
                  </a:gsLst>
                  <a:lin ang="5400000" scaled="0"/>
                </a:gradFill>
              </a:rPr>
              <a:t>20</a:t>
            </a:r>
            <a:r>
              <a:rPr lang="ru-RU" dirty="0">
                <a:gradFill>
                  <a:gsLst>
                    <a:gs pos="2917">
                      <a:schemeClr val="tx1"/>
                    </a:gs>
                    <a:gs pos="30000">
                      <a:schemeClr val="tx1"/>
                    </a:gs>
                  </a:gsLst>
                  <a:lin ang="5400000" scaled="0"/>
                </a:gradFill>
              </a:rPr>
              <a:t>15</a:t>
            </a:r>
          </a:p>
        </p:txBody>
      </p:sp>
    </p:spTree>
    <p:extLst>
      <p:ext uri="{BB962C8B-B14F-4D97-AF65-F5344CB8AC3E}">
        <p14:creationId xmlns:p14="http://schemas.microsoft.com/office/powerpoint/2010/main" val="366388835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1999" cy="1249003"/>
          </a:xfrm>
        </p:spPr>
        <p:txBody>
          <a:bodyPr/>
          <a:lstStyle/>
          <a:p>
            <a:r>
              <a:rPr lang="ru-RU" sz="3600" dirty="0"/>
              <a:t>Технологические </a:t>
            </a:r>
            <a:r>
              <a:rPr lang="ru-RU" sz="3600" dirty="0" err="1"/>
              <a:t>мегатренды</a:t>
            </a:r>
            <a:r>
              <a:rPr lang="ru-RU" sz="3600" dirty="0"/>
              <a:t> обеспечивают следующий этап инноваций (как это работает)</a:t>
            </a:r>
          </a:p>
        </p:txBody>
      </p:sp>
      <p:sp>
        <p:nvSpPr>
          <p:cNvPr id="5" name="Rectangle 4"/>
          <p:cNvSpPr/>
          <p:nvPr/>
        </p:nvSpPr>
        <p:spPr bwMode="auto">
          <a:xfrm>
            <a:off x="8939628" y="2636647"/>
            <a:ext cx="2862072" cy="3047844"/>
          </a:xfrm>
          <a:prstGeom prst="rect">
            <a:avLst/>
          </a:prstGeom>
          <a:solidFill>
            <a:schemeClr val="accent4">
              <a:lumMod val="50000"/>
            </a:schemeClr>
          </a:solidFill>
          <a:ln w="10795" cap="flat" cmpd="sng" algn="ctr">
            <a:noFill/>
            <a:prstDash val="solid"/>
            <a:headEnd type="none" w="med" len="med"/>
            <a:tailEnd type="none" w="med" len="med"/>
          </a:ln>
          <a:effectLst/>
        </p:spPr>
        <p:txBody>
          <a:bodyPr vert="horz" wrap="square" lIns="131802" tIns="87868" rIns="131802" bIns="87868" numCol="1" rtlCol="0" anchor="t" anchorCtr="0" compatLnSpc="1">
            <a:prstTxWarp prst="textNoShape">
              <a:avLst/>
            </a:prstTxWarp>
          </a:bodyPr>
          <a:lstStyle/>
          <a:p>
            <a:pPr marL="0" marR="0" lvl="0" indent="0" algn="ctr" defTabSz="896334" eaLnBrk="1" fontAlgn="auto" latinLnBrk="0" hangingPunct="1">
              <a:lnSpc>
                <a:spcPct val="100000"/>
              </a:lnSpc>
              <a:spcBef>
                <a:spcPts val="0"/>
              </a:spcBef>
              <a:spcAft>
                <a:spcPts val="578"/>
              </a:spcAft>
              <a:buClrTx/>
              <a:buSzTx/>
              <a:buFontTx/>
              <a:buNone/>
              <a:tabLst/>
              <a:defRPr/>
            </a:pPr>
            <a:r>
              <a:rPr kumimoji="0" lang="ru-RU" sz="1800" b="1" i="0" u="none" strike="noStrike" kern="0" cap="none" spc="0" normalizeH="0" baseline="0" noProof="0">
                <a:ln>
                  <a:noFill/>
                </a:ln>
                <a:solidFill>
                  <a:prstClr val="white"/>
                </a:solidFill>
                <a:effectLst/>
                <a:uLnTx/>
                <a:uFillTx/>
                <a:latin typeface="Segoe UI Light"/>
              </a:rPr>
              <a:t>Принятие решений</a:t>
            </a:r>
            <a:endParaRPr kumimoji="0" lang="en-US" sz="1800" b="1" i="0" u="none" strike="noStrike" kern="0" cap="none" spc="0" normalizeH="0" baseline="0" noProof="0" dirty="0">
              <a:ln>
                <a:noFill/>
              </a:ln>
              <a:solidFill>
                <a:prstClr val="white"/>
              </a:solidFill>
              <a:effectLst/>
              <a:uLnTx/>
              <a:uFillTx/>
              <a:latin typeface="Segoe UI Light"/>
            </a:endParaRPr>
          </a:p>
        </p:txBody>
      </p:sp>
      <p:sp>
        <p:nvSpPr>
          <p:cNvPr id="6" name="Rectangle 5"/>
          <p:cNvSpPr/>
          <p:nvPr/>
        </p:nvSpPr>
        <p:spPr bwMode="auto">
          <a:xfrm>
            <a:off x="6084756" y="2636647"/>
            <a:ext cx="2862072" cy="3047844"/>
          </a:xfrm>
          <a:prstGeom prst="rect">
            <a:avLst/>
          </a:prstGeom>
          <a:solidFill>
            <a:srgbClr val="00B050"/>
          </a:solidFill>
          <a:ln w="10795" cap="flat" cmpd="sng" algn="ctr">
            <a:noFill/>
            <a:prstDash val="solid"/>
            <a:headEnd type="none" w="med" len="med"/>
            <a:tailEnd type="none" w="med" len="med"/>
          </a:ln>
          <a:effectLst/>
        </p:spPr>
        <p:txBody>
          <a:bodyPr vert="horz" wrap="square" lIns="131802" tIns="87868" rIns="131802" bIns="87868" numCol="1" rtlCol="0" anchor="t" anchorCtr="0" compatLnSpc="1">
            <a:prstTxWarp prst="textNoShape">
              <a:avLst/>
            </a:prstTxWarp>
          </a:bodyPr>
          <a:lstStyle/>
          <a:p>
            <a:pPr marL="0" marR="0" lvl="0" indent="0" algn="ctr" defTabSz="896334" eaLnBrk="1" fontAlgn="auto" latinLnBrk="0" hangingPunct="1">
              <a:lnSpc>
                <a:spcPct val="100000"/>
              </a:lnSpc>
              <a:spcBef>
                <a:spcPts val="0"/>
              </a:spcBef>
              <a:spcAft>
                <a:spcPts val="578"/>
              </a:spcAft>
              <a:buClrTx/>
              <a:buSzTx/>
              <a:buFontTx/>
              <a:buNone/>
              <a:tabLst/>
              <a:defRPr/>
            </a:pPr>
            <a:r>
              <a:rPr kumimoji="0" lang="ru-RU" sz="1800" b="1" i="0" u="none" strike="noStrike" kern="0" cap="none" spc="0" normalizeH="0" baseline="0" noProof="0" dirty="0">
                <a:ln>
                  <a:noFill/>
                </a:ln>
                <a:solidFill>
                  <a:prstClr val="white"/>
                </a:solidFill>
                <a:effectLst/>
                <a:uLnTx/>
                <a:uFillTx/>
                <a:latin typeface="Segoe UI Light"/>
              </a:rPr>
              <a:t>Большие данные, аналитика, предсказание</a:t>
            </a:r>
            <a:endParaRPr kumimoji="0" lang="en-US" sz="1800" b="1" i="0" u="none" strike="noStrike" kern="0" cap="none" spc="0" normalizeH="0" baseline="0" noProof="0" dirty="0">
              <a:ln>
                <a:noFill/>
              </a:ln>
              <a:solidFill>
                <a:prstClr val="white"/>
              </a:solidFill>
              <a:effectLst/>
              <a:uLnTx/>
              <a:uFillTx/>
              <a:latin typeface="Segoe UI Light"/>
            </a:endParaRPr>
          </a:p>
        </p:txBody>
      </p:sp>
      <p:sp>
        <p:nvSpPr>
          <p:cNvPr id="7" name="Rectangle 6"/>
          <p:cNvSpPr/>
          <p:nvPr/>
        </p:nvSpPr>
        <p:spPr bwMode="auto">
          <a:xfrm>
            <a:off x="3229884" y="2636647"/>
            <a:ext cx="2862072" cy="3047844"/>
          </a:xfrm>
          <a:prstGeom prst="rect">
            <a:avLst/>
          </a:prstGeom>
          <a:solidFill>
            <a:schemeClr val="accent2">
              <a:lumMod val="75000"/>
            </a:schemeClr>
          </a:solidFill>
          <a:ln w="10795" cap="flat" cmpd="sng" algn="ctr">
            <a:noFill/>
            <a:prstDash val="solid"/>
            <a:headEnd type="none" w="med" len="med"/>
            <a:tailEnd type="none" w="med" len="med"/>
          </a:ln>
          <a:effectLst/>
        </p:spPr>
        <p:txBody>
          <a:bodyPr vert="horz" wrap="square" lIns="131802" tIns="87868" rIns="131821" bIns="87868" numCol="1" rtlCol="0" anchor="t" anchorCtr="0" compatLnSpc="1">
            <a:prstTxWarp prst="textNoShape">
              <a:avLst/>
            </a:prstTxWarp>
          </a:bodyPr>
          <a:lstStyle/>
          <a:p>
            <a:pPr marL="0" marR="0" lvl="0" indent="0" algn="ctr" defTabSz="896334" eaLnBrk="1" fontAlgn="auto" latinLnBrk="0" hangingPunct="1">
              <a:lnSpc>
                <a:spcPct val="90000"/>
              </a:lnSpc>
              <a:spcBef>
                <a:spcPts val="0"/>
              </a:spcBef>
              <a:spcAft>
                <a:spcPts val="578"/>
              </a:spcAft>
              <a:buClrTx/>
              <a:buSzTx/>
              <a:buFontTx/>
              <a:buNone/>
              <a:tabLst/>
              <a:defRPr/>
            </a:pPr>
            <a:r>
              <a:rPr kumimoji="0" lang="ru-RU" sz="1800" b="1" i="0" u="none" strike="noStrike" kern="0" cap="none" spc="0" normalizeH="0" baseline="0" noProof="0" dirty="0">
                <a:ln>
                  <a:noFill/>
                </a:ln>
                <a:solidFill>
                  <a:prstClr val="white"/>
                </a:solidFill>
                <a:effectLst/>
                <a:uLnTx/>
                <a:uFillTx/>
                <a:latin typeface="Segoe UI Light"/>
              </a:rPr>
              <a:t>Облака</a:t>
            </a:r>
            <a:endParaRPr kumimoji="0" lang="en-US" sz="1800" b="1" i="0" u="none" strike="noStrike" kern="0" cap="none" spc="0" normalizeH="0" baseline="0" noProof="0" dirty="0">
              <a:ln>
                <a:noFill/>
              </a:ln>
              <a:solidFill>
                <a:prstClr val="white"/>
              </a:solidFill>
              <a:effectLst/>
              <a:uLnTx/>
              <a:uFillTx/>
              <a:latin typeface="Segoe UI Light"/>
            </a:endParaRPr>
          </a:p>
        </p:txBody>
      </p:sp>
      <p:sp>
        <p:nvSpPr>
          <p:cNvPr id="8" name="Rectangle 7"/>
          <p:cNvSpPr/>
          <p:nvPr/>
        </p:nvSpPr>
        <p:spPr bwMode="auto">
          <a:xfrm>
            <a:off x="375012" y="2636647"/>
            <a:ext cx="2862072" cy="3047844"/>
          </a:xfrm>
          <a:prstGeom prst="rect">
            <a:avLst/>
          </a:prstGeom>
          <a:solidFill>
            <a:schemeClr val="accent2">
              <a:lumMod val="40000"/>
              <a:lumOff val="60000"/>
            </a:schemeClr>
          </a:solidFill>
          <a:ln w="10795" cap="flat" cmpd="sng" algn="ctr">
            <a:noFill/>
            <a:prstDash val="solid"/>
            <a:headEnd type="none" w="med" len="med"/>
            <a:tailEnd type="none" w="med" len="med"/>
          </a:ln>
          <a:effectLst/>
        </p:spPr>
        <p:txBody>
          <a:bodyPr vert="horz" wrap="square" lIns="131802" tIns="87868" rIns="131802" bIns="87868" numCol="1" rtlCol="0" anchor="t" anchorCtr="0" compatLnSpc="1">
            <a:prstTxWarp prst="textNoShape">
              <a:avLst/>
            </a:prstTxWarp>
          </a:bodyPr>
          <a:lstStyle/>
          <a:p>
            <a:pPr marL="0" marR="0" lvl="0" indent="0" algn="ctr" defTabSz="896334" eaLnBrk="1" fontAlgn="auto" latinLnBrk="0" hangingPunct="1">
              <a:lnSpc>
                <a:spcPct val="100000"/>
              </a:lnSpc>
              <a:spcBef>
                <a:spcPts val="0"/>
              </a:spcBef>
              <a:spcAft>
                <a:spcPts val="578"/>
              </a:spcAft>
              <a:buClrTx/>
              <a:buSzTx/>
              <a:buFontTx/>
              <a:buNone/>
              <a:tabLst/>
              <a:defRPr/>
            </a:pPr>
            <a:r>
              <a:rPr kumimoji="0" lang="ru-RU" sz="1800" b="1" i="0" u="none" strike="noStrike" kern="0" cap="none" spc="0" normalizeH="0" baseline="0" noProof="0" dirty="0">
                <a:ln>
                  <a:noFill/>
                </a:ln>
                <a:solidFill>
                  <a:sysClr val="windowText" lastClr="000000"/>
                </a:solidFill>
                <a:effectLst/>
                <a:uLnTx/>
                <a:uFillTx/>
                <a:latin typeface="Segoe UI Light"/>
              </a:rPr>
              <a:t>Мобильность, устройства,</a:t>
            </a:r>
          </a:p>
          <a:p>
            <a:pPr marL="0" marR="0" lvl="0" indent="0" algn="ctr" defTabSz="896334" eaLnBrk="1" fontAlgn="auto" latinLnBrk="0" hangingPunct="1">
              <a:lnSpc>
                <a:spcPct val="100000"/>
              </a:lnSpc>
              <a:spcBef>
                <a:spcPts val="0"/>
              </a:spcBef>
              <a:spcAft>
                <a:spcPts val="578"/>
              </a:spcAft>
              <a:buClrTx/>
              <a:buSzTx/>
              <a:buFontTx/>
              <a:buNone/>
              <a:tabLst/>
              <a:defRPr/>
            </a:pPr>
            <a:r>
              <a:rPr kumimoji="0" lang="ru-RU" sz="1800" b="1" i="0" u="none" strike="noStrike" kern="0" cap="none" spc="0" normalizeH="0" baseline="0" noProof="0" dirty="0">
                <a:ln>
                  <a:noFill/>
                </a:ln>
                <a:solidFill>
                  <a:sysClr val="windowText" lastClr="000000"/>
                </a:solidFill>
                <a:effectLst/>
                <a:uLnTx/>
                <a:uFillTx/>
                <a:latin typeface="Segoe UI Light"/>
              </a:rPr>
              <a:t>«интернет вещей»</a:t>
            </a:r>
            <a:r>
              <a:rPr lang="ru-RU" b="1" kern="0" dirty="0">
                <a:solidFill>
                  <a:sysClr val="windowText" lastClr="000000"/>
                </a:solidFill>
                <a:latin typeface="Segoe UI Light"/>
              </a:rPr>
              <a:t>, сообщества</a:t>
            </a:r>
            <a:endParaRPr kumimoji="0" lang="en-US" sz="1800" b="1" i="0" u="none" strike="noStrike" kern="0" cap="none" spc="0" normalizeH="0" baseline="0" noProof="0" dirty="0">
              <a:ln>
                <a:noFill/>
              </a:ln>
              <a:solidFill>
                <a:prstClr val="white"/>
              </a:solidFill>
              <a:effectLst/>
              <a:uLnTx/>
              <a:uFillTx/>
              <a:latin typeface="Segoe UI Light"/>
            </a:endParaRPr>
          </a:p>
        </p:txBody>
      </p:sp>
      <p:sp>
        <p:nvSpPr>
          <p:cNvPr id="9" name="Right Arrow 8"/>
          <p:cNvSpPr/>
          <p:nvPr/>
        </p:nvSpPr>
        <p:spPr>
          <a:xfrm>
            <a:off x="2424710" y="4074135"/>
            <a:ext cx="7157768" cy="445746"/>
          </a:xfrm>
          <a:prstGeom prst="rightArrow">
            <a:avLst>
              <a:gd name="adj1" fmla="val 71906"/>
              <a:gd name="adj2" fmla="val 50000"/>
            </a:avLst>
          </a:prstGeom>
          <a:solidFill>
            <a:sysClr val="window" lastClr="FFFFFF">
              <a:lumMod val="95000"/>
            </a:sysClr>
          </a:solidFill>
          <a:ln w="6350" cap="flat" cmpd="sng" algn="ctr">
            <a:noFill/>
            <a:prstDash val="solid"/>
            <a:miter lim="800000"/>
          </a:ln>
          <a:effectLst/>
        </p:spPr>
        <p:txBody>
          <a:bodyPr rot="0" spcFirstLastPara="0" vertOverflow="overflow" horzOverflow="overflow" vert="horz" wrap="square" lIns="0" tIns="52728"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40000"/>
              </a:lnSpc>
              <a:spcBef>
                <a:spcPts val="0"/>
              </a:spcBef>
              <a:spcAft>
                <a:spcPts val="0"/>
              </a:spcAft>
              <a:buClrTx/>
              <a:buSzTx/>
              <a:buFontTx/>
              <a:buNone/>
              <a:tabLst/>
              <a:defRPr/>
            </a:pPr>
            <a:r>
              <a:rPr kumimoji="0" lang="en-US" sz="961" b="0" i="0" u="none" strike="noStrike" kern="0" cap="none" spc="0" normalizeH="0" baseline="0" noProof="0" dirty="0">
                <a:ln>
                  <a:noFill/>
                </a:ln>
                <a:solidFill>
                  <a:prstClr val="white">
                    <a:lumMod val="50000"/>
                  </a:prstClr>
                </a:solidFill>
                <a:effectLst/>
                <a:uLnTx/>
                <a:uFillTx/>
                <a:latin typeface="Calibri" panose="020F0502020204030204"/>
                <a:ea typeface="+mn-ea"/>
                <a:cs typeface="+mn-cs"/>
              </a:rPr>
              <a:t>1010101001100011010101011101001101010101010011011101111011100101010000110101010111010011010</a:t>
            </a:r>
          </a:p>
          <a:p>
            <a:pPr marL="0" marR="0" lvl="0" indent="0" algn="ctr" defTabSz="914400" eaLnBrk="1" fontAlgn="auto" latinLnBrk="0" hangingPunct="1">
              <a:lnSpc>
                <a:spcPct val="40000"/>
              </a:lnSpc>
              <a:spcBef>
                <a:spcPts val="0"/>
              </a:spcBef>
              <a:spcAft>
                <a:spcPts val="0"/>
              </a:spcAft>
              <a:buClrTx/>
              <a:buSzTx/>
              <a:buFontTx/>
              <a:buNone/>
              <a:tabLst/>
              <a:defRPr/>
            </a:pPr>
            <a:endParaRPr kumimoji="0" lang="en-US" sz="961" b="0" i="0" u="none" strike="noStrike" kern="0" cap="none" spc="0" normalizeH="0" baseline="0" noProof="0" dirty="0">
              <a:ln>
                <a:noFill/>
              </a:ln>
              <a:solidFill>
                <a:prstClr val="white">
                  <a:lumMod val="50000"/>
                </a:prstClr>
              </a:solidFill>
              <a:effectLst/>
              <a:uLnTx/>
              <a:uFillTx/>
              <a:latin typeface="Calibri" panose="020F0502020204030204"/>
              <a:ea typeface="+mn-ea"/>
              <a:cs typeface="+mn-cs"/>
            </a:endParaRPr>
          </a:p>
          <a:p>
            <a:pPr marL="0" marR="0" lvl="0" indent="0" algn="ctr" defTabSz="914400" eaLnBrk="1" fontAlgn="auto" latinLnBrk="0" hangingPunct="1">
              <a:lnSpc>
                <a:spcPct val="40000"/>
              </a:lnSpc>
              <a:spcBef>
                <a:spcPts val="0"/>
              </a:spcBef>
              <a:spcAft>
                <a:spcPts val="0"/>
              </a:spcAft>
              <a:buClrTx/>
              <a:buSzTx/>
              <a:buFontTx/>
              <a:buNone/>
              <a:tabLst/>
              <a:defRPr/>
            </a:pPr>
            <a:r>
              <a:rPr kumimoji="0" lang="en-US" sz="961" b="0" i="0" u="none" strike="noStrike" kern="0" cap="none" spc="0" normalizeH="0" baseline="0" noProof="0" dirty="0">
                <a:ln>
                  <a:noFill/>
                </a:ln>
                <a:solidFill>
                  <a:prstClr val="white">
                    <a:lumMod val="50000"/>
                  </a:prstClr>
                </a:solidFill>
                <a:effectLst/>
                <a:uLnTx/>
                <a:uFillTx/>
                <a:latin typeface="Calibri" panose="020F0502020204030204"/>
                <a:ea typeface="+mn-ea"/>
                <a:cs typeface="+mn-cs"/>
              </a:rPr>
              <a:t>1010111010011101010101011010011010101010101001101100010101111010011101010101011011110100111</a:t>
            </a:r>
          </a:p>
        </p:txBody>
      </p:sp>
      <p:sp>
        <p:nvSpPr>
          <p:cNvPr id="10" name="Right Arrow 9"/>
          <p:cNvSpPr/>
          <p:nvPr/>
        </p:nvSpPr>
        <p:spPr>
          <a:xfrm flipH="1">
            <a:off x="2560198" y="4550152"/>
            <a:ext cx="7209443" cy="445746"/>
          </a:xfrm>
          <a:prstGeom prst="rightArrow">
            <a:avLst>
              <a:gd name="adj1" fmla="val 71906"/>
              <a:gd name="adj2" fmla="val 50000"/>
            </a:avLst>
          </a:prstGeom>
          <a:solidFill>
            <a:sysClr val="window" lastClr="FFFFFF">
              <a:lumMod val="95000"/>
            </a:sysClr>
          </a:solidFill>
          <a:ln w="6350" cap="flat" cmpd="sng" algn="ctr">
            <a:noFill/>
            <a:prstDash val="solid"/>
            <a:miter lim="800000"/>
          </a:ln>
          <a:effectLst/>
        </p:spPr>
        <p:txBody>
          <a:bodyPr rot="0" spcFirstLastPara="0" vertOverflow="overflow" horzOverflow="overflow" vert="horz" wrap="square" lIns="0" tIns="52728"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40000"/>
              </a:lnSpc>
              <a:spcBef>
                <a:spcPts val="0"/>
              </a:spcBef>
              <a:spcAft>
                <a:spcPts val="0"/>
              </a:spcAft>
              <a:buClrTx/>
              <a:buSzTx/>
              <a:buFontTx/>
              <a:buNone/>
              <a:tabLst/>
              <a:defRPr/>
            </a:pPr>
            <a:r>
              <a:rPr kumimoji="0" lang="en-US" sz="961" b="0" i="0" u="none" strike="noStrike" kern="0" cap="none" spc="0" normalizeH="0" baseline="0" noProof="0" dirty="0">
                <a:ln>
                  <a:noFill/>
                </a:ln>
                <a:solidFill>
                  <a:prstClr val="white">
                    <a:lumMod val="50000"/>
                  </a:prstClr>
                </a:solidFill>
                <a:effectLst/>
                <a:uLnTx/>
                <a:uFillTx/>
                <a:latin typeface="Calibri" panose="020F0502020204030204"/>
                <a:ea typeface="+mn-ea"/>
                <a:cs typeface="+mn-cs"/>
              </a:rPr>
              <a:t>1010101001100011010101011101001101010101010011011101111011100101010000110101010111010011010</a:t>
            </a:r>
          </a:p>
          <a:p>
            <a:pPr marL="0" marR="0" lvl="0" indent="0" algn="ctr" defTabSz="914400" eaLnBrk="1" fontAlgn="auto" latinLnBrk="0" hangingPunct="1">
              <a:lnSpc>
                <a:spcPct val="40000"/>
              </a:lnSpc>
              <a:spcBef>
                <a:spcPts val="0"/>
              </a:spcBef>
              <a:spcAft>
                <a:spcPts val="0"/>
              </a:spcAft>
              <a:buClrTx/>
              <a:buSzTx/>
              <a:buFontTx/>
              <a:buNone/>
              <a:tabLst/>
              <a:defRPr/>
            </a:pPr>
            <a:endParaRPr kumimoji="0" lang="en-US" sz="961" b="0" i="0" u="none" strike="noStrike" kern="0" cap="none" spc="0" normalizeH="0" baseline="0" noProof="0" dirty="0">
              <a:ln>
                <a:noFill/>
              </a:ln>
              <a:solidFill>
                <a:prstClr val="white">
                  <a:lumMod val="50000"/>
                </a:prstClr>
              </a:solidFill>
              <a:effectLst/>
              <a:uLnTx/>
              <a:uFillTx/>
              <a:latin typeface="Calibri" panose="020F0502020204030204"/>
              <a:ea typeface="+mn-ea"/>
              <a:cs typeface="+mn-cs"/>
            </a:endParaRPr>
          </a:p>
          <a:p>
            <a:pPr marL="0" marR="0" lvl="0" indent="0" algn="ctr" defTabSz="914400" eaLnBrk="1" fontAlgn="auto" latinLnBrk="0" hangingPunct="1">
              <a:lnSpc>
                <a:spcPct val="40000"/>
              </a:lnSpc>
              <a:spcBef>
                <a:spcPts val="0"/>
              </a:spcBef>
              <a:spcAft>
                <a:spcPts val="0"/>
              </a:spcAft>
              <a:buClrTx/>
              <a:buSzTx/>
              <a:buFontTx/>
              <a:buNone/>
              <a:tabLst/>
              <a:defRPr/>
            </a:pPr>
            <a:r>
              <a:rPr kumimoji="0" lang="en-US" sz="961" b="0" i="0" u="none" strike="noStrike" kern="0" cap="none" spc="0" normalizeH="0" baseline="0" noProof="0" dirty="0">
                <a:ln>
                  <a:noFill/>
                </a:ln>
                <a:solidFill>
                  <a:prstClr val="white">
                    <a:lumMod val="50000"/>
                  </a:prstClr>
                </a:solidFill>
                <a:effectLst/>
                <a:uLnTx/>
                <a:uFillTx/>
                <a:latin typeface="Calibri" panose="020F0502020204030204"/>
                <a:ea typeface="+mn-ea"/>
                <a:cs typeface="+mn-cs"/>
              </a:rPr>
              <a:t>1010111010011101010101011010011010101010101001101100010101111010011101010101011011110100111</a:t>
            </a:r>
          </a:p>
        </p:txBody>
      </p:sp>
      <p:grpSp>
        <p:nvGrpSpPr>
          <p:cNvPr id="11" name="Group 10"/>
          <p:cNvGrpSpPr/>
          <p:nvPr/>
        </p:nvGrpSpPr>
        <p:grpSpPr>
          <a:xfrm>
            <a:off x="9556326" y="3573642"/>
            <a:ext cx="1669726" cy="1875549"/>
            <a:chOff x="9025576" y="2423485"/>
            <a:chExt cx="1703207" cy="1913158"/>
          </a:xfrm>
        </p:grpSpPr>
        <p:grpSp>
          <p:nvGrpSpPr>
            <p:cNvPr id="12" name="Group 11"/>
            <p:cNvGrpSpPr/>
            <p:nvPr/>
          </p:nvGrpSpPr>
          <p:grpSpPr>
            <a:xfrm>
              <a:off x="9025576" y="2423485"/>
              <a:ext cx="1703207" cy="1913158"/>
              <a:chOff x="9025576" y="2423485"/>
              <a:chExt cx="1703207" cy="1913158"/>
            </a:xfrm>
          </p:grpSpPr>
          <p:sp>
            <p:nvSpPr>
              <p:cNvPr id="14" name="Oval 13"/>
              <p:cNvSpPr>
                <a:spLocks noChangeAspect="1"/>
              </p:cNvSpPr>
              <p:nvPr/>
            </p:nvSpPr>
            <p:spPr>
              <a:xfrm>
                <a:off x="9025576" y="2522401"/>
                <a:ext cx="1703207" cy="1703207"/>
              </a:xfrm>
              <a:prstGeom prst="ellipse">
                <a:avLst/>
              </a:prstGeom>
              <a:solidFill>
                <a:sysClr val="window" lastClr="FFFFFF">
                  <a:lumMod val="65000"/>
                </a:sysClr>
              </a:solidFill>
              <a:ln w="6350" cap="flat" cmpd="sng" algn="ctr">
                <a:solidFill>
                  <a:sysClr val="window" lastClr="FFFFFF"/>
                </a:solidFill>
                <a:prstDash val="solid"/>
                <a:miter lim="800000"/>
              </a:ln>
              <a:effectLst/>
            </p:spPr>
            <p:txBody>
              <a:bodyPr rot="0" spcFirstLastPara="0" vertOverflow="overflow" horzOverflow="overflow" vert="horz" wrap="square" lIns="87880" tIns="43940" rIns="87880" bIns="439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15" name="Group 14"/>
              <p:cNvGrpSpPr/>
              <p:nvPr/>
            </p:nvGrpSpPr>
            <p:grpSpPr>
              <a:xfrm>
                <a:off x="9777788" y="2423485"/>
                <a:ext cx="228392" cy="1913158"/>
                <a:chOff x="9777788" y="2423485"/>
                <a:chExt cx="228392" cy="1913158"/>
              </a:xfrm>
            </p:grpSpPr>
            <p:sp>
              <p:nvSpPr>
                <p:cNvPr id="16" name="Isosceles Triangle 15"/>
                <p:cNvSpPr/>
                <p:nvPr/>
              </p:nvSpPr>
              <p:spPr>
                <a:xfrm rot="5400000">
                  <a:off x="9804416" y="2445584"/>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7" name="Isosceles Triangle 16"/>
                <p:cNvSpPr/>
                <p:nvPr/>
              </p:nvSpPr>
              <p:spPr>
                <a:xfrm rot="16200000" flipH="1">
                  <a:off x="9755689" y="4134879"/>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sp>
          <p:nvSpPr>
            <p:cNvPr id="13" name="Freeform 12"/>
            <p:cNvSpPr>
              <a:spLocks noChangeAspect="1"/>
            </p:cNvSpPr>
            <p:nvPr/>
          </p:nvSpPr>
          <p:spPr bwMode="auto">
            <a:xfrm rot="3757204">
              <a:off x="9521748" y="3257425"/>
              <a:ext cx="710864" cy="454577"/>
            </a:xfrm>
            <a:custGeom>
              <a:avLst/>
              <a:gdLst>
                <a:gd name="connsiteX0" fmla="*/ 101198 w 710864"/>
                <a:gd name="connsiteY0" fmla="*/ 186577 h 454577"/>
                <a:gd name="connsiteX1" fmla="*/ 178306 w 710864"/>
                <a:gd name="connsiteY1" fmla="*/ 37694 h 454577"/>
                <a:gd name="connsiteX2" fmla="*/ 264349 w 710864"/>
                <a:gd name="connsiteY2" fmla="*/ 6480 h 454577"/>
                <a:gd name="connsiteX3" fmla="*/ 287899 w 710864"/>
                <a:gd name="connsiteY3" fmla="*/ 18677 h 454577"/>
                <a:gd name="connsiteX4" fmla="*/ 376482 w 710864"/>
                <a:gd name="connsiteY4" fmla="*/ 64555 h 454577"/>
                <a:gd name="connsiteX5" fmla="*/ 454770 w 710864"/>
                <a:gd name="connsiteY5" fmla="*/ 102767 h 454577"/>
                <a:gd name="connsiteX6" fmla="*/ 457711 w 710864"/>
                <a:gd name="connsiteY6" fmla="*/ 127910 h 454577"/>
                <a:gd name="connsiteX7" fmla="*/ 436873 w 710864"/>
                <a:gd name="connsiteY7" fmla="*/ 141905 h 454577"/>
                <a:gd name="connsiteX8" fmla="*/ 320409 w 710864"/>
                <a:gd name="connsiteY8" fmla="*/ 81720 h 454577"/>
                <a:gd name="connsiteX9" fmla="*/ 302562 w 710864"/>
                <a:gd name="connsiteY9" fmla="*/ 88195 h 454577"/>
                <a:gd name="connsiteX10" fmla="*/ 307571 w 710864"/>
                <a:gd name="connsiteY10" fmla="*/ 106507 h 454577"/>
                <a:gd name="connsiteX11" fmla="*/ 695708 w 710864"/>
                <a:gd name="connsiteY11" fmla="*/ 307246 h 454577"/>
                <a:gd name="connsiteX12" fmla="*/ 707263 w 710864"/>
                <a:gd name="connsiteY12" fmla="*/ 349484 h 454577"/>
                <a:gd name="connsiteX13" fmla="*/ 707263 w 710864"/>
                <a:gd name="connsiteY13" fmla="*/ 349484 h 454577"/>
                <a:gd name="connsiteX14" fmla="*/ 666098 w 710864"/>
                <a:gd name="connsiteY14" fmla="*/ 364418 h 454577"/>
                <a:gd name="connsiteX15" fmla="*/ 445820 w 710864"/>
                <a:gd name="connsiteY15" fmla="*/ 251462 h 454577"/>
                <a:gd name="connsiteX16" fmla="*/ 433960 w 710864"/>
                <a:gd name="connsiteY16" fmla="*/ 255764 h 454577"/>
                <a:gd name="connsiteX17" fmla="*/ 426818 w 710864"/>
                <a:gd name="connsiteY17" fmla="*/ 269553 h 454577"/>
                <a:gd name="connsiteX18" fmla="*/ 430148 w 710864"/>
                <a:gd name="connsiteY18" fmla="*/ 281722 h 454577"/>
                <a:gd name="connsiteX19" fmla="*/ 437743 w 710864"/>
                <a:gd name="connsiteY19" fmla="*/ 285655 h 454577"/>
                <a:gd name="connsiteX20" fmla="*/ 650618 w 710864"/>
                <a:gd name="connsiteY20" fmla="*/ 394306 h 454577"/>
                <a:gd name="connsiteX21" fmla="*/ 662174 w 710864"/>
                <a:gd name="connsiteY21" fmla="*/ 436544 h 454577"/>
                <a:gd name="connsiteX22" fmla="*/ 662174 w 710864"/>
                <a:gd name="connsiteY22" fmla="*/ 436544 h 454577"/>
                <a:gd name="connsiteX23" fmla="*/ 621009 w 710864"/>
                <a:gd name="connsiteY23" fmla="*/ 451477 h 454577"/>
                <a:gd name="connsiteX24" fmla="*/ 234570 w 710864"/>
                <a:gd name="connsiteY24" fmla="*/ 251461 h 454577"/>
                <a:gd name="connsiteX25" fmla="*/ 214173 w 710864"/>
                <a:gd name="connsiteY25" fmla="*/ 258860 h 454577"/>
                <a:gd name="connsiteX26" fmla="*/ 219898 w 710864"/>
                <a:gd name="connsiteY26" fmla="*/ 279788 h 454577"/>
                <a:gd name="connsiteX27" fmla="*/ 336441 w 710864"/>
                <a:gd name="connsiteY27" fmla="*/ 338112 h 454577"/>
                <a:gd name="connsiteX28" fmla="*/ 338922 w 710864"/>
                <a:gd name="connsiteY28" fmla="*/ 361852 h 454577"/>
                <a:gd name="connsiteX29" fmla="*/ 315279 w 710864"/>
                <a:gd name="connsiteY29" fmla="*/ 374393 h 454577"/>
                <a:gd name="connsiteX30" fmla="*/ 237485 w 710864"/>
                <a:gd name="connsiteY30" fmla="*/ 332937 h 454577"/>
                <a:gd name="connsiteX31" fmla="*/ 148902 w 710864"/>
                <a:gd name="connsiteY31" fmla="*/ 287059 h 454577"/>
                <a:gd name="connsiteX32" fmla="*/ 125352 w 710864"/>
                <a:gd name="connsiteY32" fmla="*/ 274862 h 454577"/>
                <a:gd name="connsiteX33" fmla="*/ 101198 w 710864"/>
                <a:gd name="connsiteY33" fmla="*/ 186577 h 454577"/>
                <a:gd name="connsiteX34" fmla="*/ 7322 w 710864"/>
                <a:gd name="connsiteY34" fmla="*/ 45881 h 454577"/>
                <a:gd name="connsiteX35" fmla="*/ 95248 w 710864"/>
                <a:gd name="connsiteY35" fmla="*/ 17956 h 454577"/>
                <a:gd name="connsiteX36" fmla="*/ 123173 w 710864"/>
                <a:gd name="connsiteY36" fmla="*/ 105881 h 454577"/>
                <a:gd name="connsiteX37" fmla="*/ 35248 w 710864"/>
                <a:gd name="connsiteY37" fmla="*/ 133807 h 454577"/>
                <a:gd name="connsiteX38" fmla="*/ 7322 w 710864"/>
                <a:gd name="connsiteY38" fmla="*/ 45881 h 454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710864" h="454577">
                  <a:moveTo>
                    <a:pt x="101198" y="186577"/>
                  </a:moveTo>
                  <a:lnTo>
                    <a:pt x="178306" y="37694"/>
                  </a:lnTo>
                  <a:cubicBezTo>
                    <a:pt x="195396" y="4696"/>
                    <a:pt x="233918" y="-9279"/>
                    <a:pt x="264349" y="6480"/>
                  </a:cubicBezTo>
                  <a:lnTo>
                    <a:pt x="287899" y="18677"/>
                  </a:lnTo>
                  <a:lnTo>
                    <a:pt x="376482" y="64555"/>
                  </a:lnTo>
                  <a:lnTo>
                    <a:pt x="454770" y="102767"/>
                  </a:lnTo>
                  <a:cubicBezTo>
                    <a:pt x="463787" y="107437"/>
                    <a:pt x="460694" y="121387"/>
                    <a:pt x="457711" y="127910"/>
                  </a:cubicBezTo>
                  <a:cubicBezTo>
                    <a:pt x="454728" y="134433"/>
                    <a:pt x="445889" y="146574"/>
                    <a:pt x="436873" y="141905"/>
                  </a:cubicBezTo>
                  <a:cubicBezTo>
                    <a:pt x="398051" y="121844"/>
                    <a:pt x="359230" y="101782"/>
                    <a:pt x="320409" y="81720"/>
                  </a:cubicBezTo>
                  <a:cubicBezTo>
                    <a:pt x="314097" y="78451"/>
                    <a:pt x="306107" y="81351"/>
                    <a:pt x="302562" y="88195"/>
                  </a:cubicBezTo>
                  <a:cubicBezTo>
                    <a:pt x="299017" y="95040"/>
                    <a:pt x="301260" y="103238"/>
                    <a:pt x="307571" y="106507"/>
                  </a:cubicBezTo>
                  <a:cubicBezTo>
                    <a:pt x="436950" y="173421"/>
                    <a:pt x="682527" y="300258"/>
                    <a:pt x="695708" y="307246"/>
                  </a:cubicBezTo>
                  <a:cubicBezTo>
                    <a:pt x="708888" y="314235"/>
                    <a:pt x="715440" y="333697"/>
                    <a:pt x="707263" y="349484"/>
                  </a:cubicBezTo>
                  <a:lnTo>
                    <a:pt x="707263" y="349484"/>
                  </a:lnTo>
                  <a:cubicBezTo>
                    <a:pt x="699086" y="365271"/>
                    <a:pt x="680656" y="371958"/>
                    <a:pt x="666098" y="364418"/>
                  </a:cubicBezTo>
                  <a:lnTo>
                    <a:pt x="445820" y="251462"/>
                  </a:lnTo>
                  <a:cubicBezTo>
                    <a:pt x="441626" y="249289"/>
                    <a:pt x="436316" y="251215"/>
                    <a:pt x="433960" y="255764"/>
                  </a:cubicBezTo>
                  <a:lnTo>
                    <a:pt x="426818" y="269553"/>
                  </a:lnTo>
                  <a:cubicBezTo>
                    <a:pt x="424463" y="274101"/>
                    <a:pt x="425954" y="279550"/>
                    <a:pt x="430148" y="281722"/>
                  </a:cubicBezTo>
                  <a:lnTo>
                    <a:pt x="437743" y="285655"/>
                  </a:lnTo>
                  <a:lnTo>
                    <a:pt x="650618" y="394306"/>
                  </a:lnTo>
                  <a:cubicBezTo>
                    <a:pt x="665177" y="401846"/>
                    <a:pt x="670350" y="420757"/>
                    <a:pt x="662174" y="436544"/>
                  </a:cubicBezTo>
                  <a:lnTo>
                    <a:pt x="662174" y="436544"/>
                  </a:lnTo>
                  <a:cubicBezTo>
                    <a:pt x="653998" y="452331"/>
                    <a:pt x="635568" y="459017"/>
                    <a:pt x="621009" y="451477"/>
                  </a:cubicBezTo>
                  <a:lnTo>
                    <a:pt x="234570" y="251461"/>
                  </a:lnTo>
                  <a:cubicBezTo>
                    <a:pt x="227356" y="247725"/>
                    <a:pt x="218224" y="251037"/>
                    <a:pt x="214173" y="258860"/>
                  </a:cubicBezTo>
                  <a:cubicBezTo>
                    <a:pt x="210122" y="266683"/>
                    <a:pt x="212685" y="276052"/>
                    <a:pt x="219898" y="279788"/>
                  </a:cubicBezTo>
                  <a:cubicBezTo>
                    <a:pt x="278535" y="309868"/>
                    <a:pt x="277804" y="308033"/>
                    <a:pt x="336441" y="338112"/>
                  </a:cubicBezTo>
                  <a:cubicBezTo>
                    <a:pt x="345458" y="342782"/>
                    <a:pt x="342449" y="355804"/>
                    <a:pt x="338922" y="361852"/>
                  </a:cubicBezTo>
                  <a:cubicBezTo>
                    <a:pt x="335395" y="367898"/>
                    <a:pt x="324296" y="379063"/>
                    <a:pt x="315279" y="374393"/>
                  </a:cubicBezTo>
                  <a:lnTo>
                    <a:pt x="237485" y="332937"/>
                  </a:lnTo>
                  <a:lnTo>
                    <a:pt x="148902" y="287059"/>
                  </a:lnTo>
                  <a:lnTo>
                    <a:pt x="125352" y="274862"/>
                  </a:lnTo>
                  <a:cubicBezTo>
                    <a:pt x="94922" y="259102"/>
                    <a:pt x="84108" y="219576"/>
                    <a:pt x="101198" y="186577"/>
                  </a:cubicBezTo>
                  <a:close/>
                  <a:moveTo>
                    <a:pt x="7322" y="45881"/>
                  </a:moveTo>
                  <a:cubicBezTo>
                    <a:pt x="23891" y="13890"/>
                    <a:pt x="63256" y="1387"/>
                    <a:pt x="95248" y="17956"/>
                  </a:cubicBezTo>
                  <a:cubicBezTo>
                    <a:pt x="127239" y="34525"/>
                    <a:pt x="139741" y="73890"/>
                    <a:pt x="123173" y="105881"/>
                  </a:cubicBezTo>
                  <a:cubicBezTo>
                    <a:pt x="106604" y="137872"/>
                    <a:pt x="67239" y="150375"/>
                    <a:pt x="35248" y="133807"/>
                  </a:cubicBezTo>
                  <a:cubicBezTo>
                    <a:pt x="3256" y="117238"/>
                    <a:pt x="-9247" y="77872"/>
                    <a:pt x="7322" y="45881"/>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2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grpSp>
        <p:nvGrpSpPr>
          <p:cNvPr id="18" name="Group 17"/>
          <p:cNvGrpSpPr/>
          <p:nvPr/>
        </p:nvGrpSpPr>
        <p:grpSpPr>
          <a:xfrm>
            <a:off x="6701831" y="3573642"/>
            <a:ext cx="1669726" cy="1875549"/>
            <a:chOff x="6274996" y="2423485"/>
            <a:chExt cx="1703207" cy="1913158"/>
          </a:xfrm>
        </p:grpSpPr>
        <p:grpSp>
          <p:nvGrpSpPr>
            <p:cNvPr id="19" name="Group 18"/>
            <p:cNvGrpSpPr/>
            <p:nvPr/>
          </p:nvGrpSpPr>
          <p:grpSpPr>
            <a:xfrm>
              <a:off x="6274996" y="2423485"/>
              <a:ext cx="1703207" cy="1913158"/>
              <a:chOff x="6274996" y="2423485"/>
              <a:chExt cx="1703207" cy="1913158"/>
            </a:xfrm>
          </p:grpSpPr>
          <p:sp>
            <p:nvSpPr>
              <p:cNvPr id="32" name="Oval 31"/>
              <p:cNvSpPr>
                <a:spLocks noChangeAspect="1"/>
              </p:cNvSpPr>
              <p:nvPr/>
            </p:nvSpPr>
            <p:spPr>
              <a:xfrm>
                <a:off x="6274996" y="2522401"/>
                <a:ext cx="1703207" cy="1703207"/>
              </a:xfrm>
              <a:prstGeom prst="ellipse">
                <a:avLst/>
              </a:prstGeom>
              <a:solidFill>
                <a:sysClr val="windowText" lastClr="000000">
                  <a:lumMod val="65000"/>
                  <a:lumOff val="35000"/>
                </a:sysClr>
              </a:solidFill>
              <a:ln w="6350" cap="flat" cmpd="sng" algn="ctr">
                <a:solidFill>
                  <a:sysClr val="window" lastClr="FFFFFF"/>
                </a:solidFill>
                <a:prstDash val="solid"/>
                <a:miter lim="800000"/>
              </a:ln>
              <a:effectLst/>
            </p:spPr>
            <p:txBody>
              <a:bodyPr rot="0" spcFirstLastPara="0" vertOverflow="overflow" horzOverflow="overflow" vert="horz" wrap="square" lIns="87880" tIns="43940" rIns="87880" bIns="439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33" name="Group 32"/>
              <p:cNvGrpSpPr/>
              <p:nvPr/>
            </p:nvGrpSpPr>
            <p:grpSpPr>
              <a:xfrm>
                <a:off x="7024428" y="2423485"/>
                <a:ext cx="228392" cy="1913158"/>
                <a:chOff x="7024428" y="2423485"/>
                <a:chExt cx="228392" cy="1913158"/>
              </a:xfrm>
            </p:grpSpPr>
            <p:sp>
              <p:nvSpPr>
                <p:cNvPr id="34" name="Isosceles Triangle 33"/>
                <p:cNvSpPr/>
                <p:nvPr/>
              </p:nvSpPr>
              <p:spPr>
                <a:xfrm rot="5400000">
                  <a:off x="7051056" y="2445584"/>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35" name="Isosceles Triangle 34"/>
                <p:cNvSpPr/>
                <p:nvPr/>
              </p:nvSpPr>
              <p:spPr>
                <a:xfrm rot="16200000" flipH="1">
                  <a:off x="7002329" y="4134879"/>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20" name="Group 19"/>
            <p:cNvGrpSpPr/>
            <p:nvPr/>
          </p:nvGrpSpPr>
          <p:grpSpPr>
            <a:xfrm>
              <a:off x="6463567" y="3098010"/>
              <a:ext cx="1313569" cy="564109"/>
              <a:chOff x="6463567" y="2869811"/>
              <a:chExt cx="1313569" cy="564109"/>
            </a:xfrm>
          </p:grpSpPr>
          <p:cxnSp>
            <p:nvCxnSpPr>
              <p:cNvPr id="21" name="Straight Connector 20"/>
              <p:cNvCxnSpPr/>
              <p:nvPr/>
            </p:nvCxnSpPr>
            <p:spPr>
              <a:xfrm flipH="1">
                <a:off x="6669823" y="3327898"/>
                <a:ext cx="113832" cy="0"/>
              </a:xfrm>
              <a:prstGeom prst="line">
                <a:avLst/>
              </a:prstGeom>
              <a:noFill/>
              <a:ln w="19050" cap="sq" cmpd="sng" algn="ctr">
                <a:solidFill>
                  <a:sysClr val="window" lastClr="FFFFFF"/>
                </a:solidFill>
                <a:prstDash val="sysDot"/>
                <a:miter lim="800000"/>
                <a:headEnd type="none"/>
                <a:tailEnd type="none"/>
              </a:ln>
              <a:effectLst/>
            </p:spPr>
          </p:cxnSp>
          <p:cxnSp>
            <p:nvCxnSpPr>
              <p:cNvPr id="22" name="Straight Connector 21"/>
              <p:cNvCxnSpPr/>
              <p:nvPr/>
            </p:nvCxnSpPr>
            <p:spPr>
              <a:xfrm flipH="1">
                <a:off x="7163708" y="3327898"/>
                <a:ext cx="113832" cy="0"/>
              </a:xfrm>
              <a:prstGeom prst="line">
                <a:avLst/>
              </a:prstGeom>
              <a:noFill/>
              <a:ln w="19050" cap="sq" cmpd="sng" algn="ctr">
                <a:solidFill>
                  <a:sysClr val="window" lastClr="FFFFFF"/>
                </a:solidFill>
                <a:prstDash val="sysDot"/>
                <a:miter lim="800000"/>
                <a:headEnd type="none"/>
                <a:tailEnd type="none"/>
              </a:ln>
              <a:effectLst/>
            </p:spPr>
          </p:cxnSp>
          <p:grpSp>
            <p:nvGrpSpPr>
              <p:cNvPr id="23" name="Group 22"/>
              <p:cNvGrpSpPr/>
              <p:nvPr/>
            </p:nvGrpSpPr>
            <p:grpSpPr>
              <a:xfrm>
                <a:off x="6864728" y="3122085"/>
                <a:ext cx="240132" cy="311835"/>
                <a:chOff x="1670280" y="5265135"/>
                <a:chExt cx="708282" cy="919777"/>
              </a:xfrm>
              <a:solidFill>
                <a:sysClr val="window" lastClr="FFFFFF"/>
              </a:solidFill>
            </p:grpSpPr>
            <p:sp>
              <p:nvSpPr>
                <p:cNvPr id="30" name="Oval 122"/>
                <p:cNvSpPr>
                  <a:spLocks noChangeArrowheads="1"/>
                </p:cNvSpPr>
                <p:nvPr/>
              </p:nvSpPr>
              <p:spPr bwMode="auto">
                <a:xfrm>
                  <a:off x="1682397" y="5265135"/>
                  <a:ext cx="684048" cy="1299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ndParaRPr>
                </a:p>
              </p:txBody>
            </p:sp>
            <p:sp>
              <p:nvSpPr>
                <p:cNvPr id="31" name="Freeform 123"/>
                <p:cNvSpPr>
                  <a:spLocks noEditPoints="1"/>
                </p:cNvSpPr>
                <p:nvPr/>
              </p:nvSpPr>
              <p:spPr bwMode="auto">
                <a:xfrm>
                  <a:off x="1670280" y="5355462"/>
                  <a:ext cx="708282" cy="8294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ndParaRPr>
                </a:p>
              </p:txBody>
            </p:sp>
          </p:grpSp>
          <p:grpSp>
            <p:nvGrpSpPr>
              <p:cNvPr id="24" name="Group 23"/>
              <p:cNvGrpSpPr/>
              <p:nvPr/>
            </p:nvGrpSpPr>
            <p:grpSpPr>
              <a:xfrm>
                <a:off x="7342739" y="2869811"/>
                <a:ext cx="434397" cy="564109"/>
                <a:chOff x="1670280" y="5265134"/>
                <a:chExt cx="708282" cy="919778"/>
              </a:xfrm>
              <a:solidFill>
                <a:sysClr val="window" lastClr="FFFFFF"/>
              </a:solidFill>
            </p:grpSpPr>
            <p:sp>
              <p:nvSpPr>
                <p:cNvPr id="28" name="Oval 122"/>
                <p:cNvSpPr>
                  <a:spLocks noChangeArrowheads="1"/>
                </p:cNvSpPr>
                <p:nvPr/>
              </p:nvSpPr>
              <p:spPr bwMode="auto">
                <a:xfrm>
                  <a:off x="1682396" y="5265134"/>
                  <a:ext cx="684048" cy="12998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ndParaRPr>
                </a:p>
              </p:txBody>
            </p:sp>
            <p:sp>
              <p:nvSpPr>
                <p:cNvPr id="29" name="Freeform 123"/>
                <p:cNvSpPr>
                  <a:spLocks noEditPoints="1"/>
                </p:cNvSpPr>
                <p:nvPr/>
              </p:nvSpPr>
              <p:spPr bwMode="auto">
                <a:xfrm>
                  <a:off x="1670280" y="5355462"/>
                  <a:ext cx="708282" cy="8294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ndParaRPr>
                </a:p>
              </p:txBody>
            </p:sp>
          </p:grpSp>
          <p:grpSp>
            <p:nvGrpSpPr>
              <p:cNvPr id="25" name="Group 24"/>
              <p:cNvGrpSpPr/>
              <p:nvPr/>
            </p:nvGrpSpPr>
            <p:grpSpPr>
              <a:xfrm>
                <a:off x="6463567" y="3221881"/>
                <a:ext cx="163283" cy="212039"/>
                <a:chOff x="1670280" y="5265137"/>
                <a:chExt cx="708282" cy="919775"/>
              </a:xfrm>
              <a:solidFill>
                <a:sysClr val="window" lastClr="FFFFFF"/>
              </a:solidFill>
            </p:grpSpPr>
            <p:sp>
              <p:nvSpPr>
                <p:cNvPr id="26" name="Oval 122"/>
                <p:cNvSpPr>
                  <a:spLocks noChangeArrowheads="1"/>
                </p:cNvSpPr>
                <p:nvPr/>
              </p:nvSpPr>
              <p:spPr bwMode="auto">
                <a:xfrm>
                  <a:off x="1682395" y="5265137"/>
                  <a:ext cx="684047" cy="12998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ndParaRPr>
                </a:p>
              </p:txBody>
            </p:sp>
            <p:sp>
              <p:nvSpPr>
                <p:cNvPr id="27" name="Freeform 123"/>
                <p:cNvSpPr>
                  <a:spLocks noEditPoints="1"/>
                </p:cNvSpPr>
                <p:nvPr/>
              </p:nvSpPr>
              <p:spPr bwMode="auto">
                <a:xfrm>
                  <a:off x="1670280" y="5355462"/>
                  <a:ext cx="708282" cy="829450"/>
                </a:xfrm>
                <a:custGeom>
                  <a:avLst/>
                  <a:gdLst>
                    <a:gd name="T0" fmla="*/ 480 w 480"/>
                    <a:gd name="T1" fmla="*/ 135 h 562"/>
                    <a:gd name="T2" fmla="*/ 480 w 480"/>
                    <a:gd name="T3" fmla="*/ 0 h 562"/>
                    <a:gd name="T4" fmla="*/ 240 w 480"/>
                    <a:gd name="T5" fmla="*/ 43 h 562"/>
                    <a:gd name="T6" fmla="*/ 0 w 480"/>
                    <a:gd name="T7" fmla="*/ 0 h 562"/>
                    <a:gd name="T8" fmla="*/ 0 w 480"/>
                    <a:gd name="T9" fmla="*/ 135 h 562"/>
                    <a:gd name="T10" fmla="*/ 15 w 480"/>
                    <a:gd name="T11" fmla="*/ 153 h 562"/>
                    <a:gd name="T12" fmla="*/ 0 w 480"/>
                    <a:gd name="T13" fmla="*/ 170 h 562"/>
                    <a:gd name="T14" fmla="*/ 0 w 480"/>
                    <a:gd name="T15" fmla="*/ 322 h 562"/>
                    <a:gd name="T16" fmla="*/ 15 w 480"/>
                    <a:gd name="T17" fmla="*/ 340 h 562"/>
                    <a:gd name="T18" fmla="*/ 0 w 480"/>
                    <a:gd name="T19" fmla="*/ 358 h 562"/>
                    <a:gd name="T20" fmla="*/ 0 w 480"/>
                    <a:gd name="T21" fmla="*/ 510 h 562"/>
                    <a:gd name="T22" fmla="*/ 240 w 480"/>
                    <a:gd name="T23" fmla="*/ 562 h 562"/>
                    <a:gd name="T24" fmla="*/ 480 w 480"/>
                    <a:gd name="T25" fmla="*/ 510 h 562"/>
                    <a:gd name="T26" fmla="*/ 480 w 480"/>
                    <a:gd name="T27" fmla="*/ 358 h 562"/>
                    <a:gd name="T28" fmla="*/ 466 w 480"/>
                    <a:gd name="T29" fmla="*/ 340 h 562"/>
                    <a:gd name="T30" fmla="*/ 480 w 480"/>
                    <a:gd name="T31" fmla="*/ 322 h 562"/>
                    <a:gd name="T32" fmla="*/ 480 w 480"/>
                    <a:gd name="T33" fmla="*/ 170 h 562"/>
                    <a:gd name="T34" fmla="*/ 466 w 480"/>
                    <a:gd name="T35" fmla="*/ 153 h 562"/>
                    <a:gd name="T36" fmla="*/ 480 w 480"/>
                    <a:gd name="T37" fmla="*/ 135 h 562"/>
                    <a:gd name="T38" fmla="*/ 458 w 480"/>
                    <a:gd name="T39" fmla="*/ 352 h 562"/>
                    <a:gd name="T40" fmla="*/ 240 w 480"/>
                    <a:gd name="T41" fmla="*/ 380 h 562"/>
                    <a:gd name="T42" fmla="*/ 23 w 480"/>
                    <a:gd name="T43" fmla="*/ 352 h 562"/>
                    <a:gd name="T44" fmla="*/ 23 w 480"/>
                    <a:gd name="T45" fmla="*/ 333 h 562"/>
                    <a:gd name="T46" fmla="*/ 240 w 480"/>
                    <a:gd name="T47" fmla="*/ 361 h 562"/>
                    <a:gd name="T48" fmla="*/ 458 w 480"/>
                    <a:gd name="T49" fmla="*/ 333 h 562"/>
                    <a:gd name="T50" fmla="*/ 458 w 480"/>
                    <a:gd name="T51" fmla="*/ 352 h 562"/>
                    <a:gd name="T52" fmla="*/ 458 w 480"/>
                    <a:gd name="T53" fmla="*/ 166 h 562"/>
                    <a:gd name="T54" fmla="*/ 240 w 480"/>
                    <a:gd name="T55" fmla="*/ 195 h 562"/>
                    <a:gd name="T56" fmla="*/ 23 w 480"/>
                    <a:gd name="T57" fmla="*/ 166 h 562"/>
                    <a:gd name="T58" fmla="*/ 23 w 480"/>
                    <a:gd name="T59" fmla="*/ 147 h 562"/>
                    <a:gd name="T60" fmla="*/ 240 w 480"/>
                    <a:gd name="T61" fmla="*/ 176 h 562"/>
                    <a:gd name="T62" fmla="*/ 458 w 480"/>
                    <a:gd name="T63" fmla="*/ 147 h 562"/>
                    <a:gd name="T64" fmla="*/ 458 w 480"/>
                    <a:gd name="T65" fmla="*/ 166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80" h="562">
                      <a:moveTo>
                        <a:pt x="480" y="135"/>
                      </a:moveTo>
                      <a:cubicBezTo>
                        <a:pt x="480" y="0"/>
                        <a:pt x="480" y="0"/>
                        <a:pt x="480" y="0"/>
                      </a:cubicBezTo>
                      <a:cubicBezTo>
                        <a:pt x="448" y="31"/>
                        <a:pt x="326" y="43"/>
                        <a:pt x="240" y="43"/>
                      </a:cubicBezTo>
                      <a:cubicBezTo>
                        <a:pt x="154" y="43"/>
                        <a:pt x="32" y="31"/>
                        <a:pt x="0" y="0"/>
                      </a:cubicBezTo>
                      <a:cubicBezTo>
                        <a:pt x="0" y="135"/>
                        <a:pt x="0" y="135"/>
                        <a:pt x="0" y="135"/>
                      </a:cubicBezTo>
                      <a:cubicBezTo>
                        <a:pt x="0" y="141"/>
                        <a:pt x="5" y="147"/>
                        <a:pt x="15" y="153"/>
                      </a:cubicBezTo>
                      <a:cubicBezTo>
                        <a:pt x="5" y="158"/>
                        <a:pt x="0" y="164"/>
                        <a:pt x="0" y="170"/>
                      </a:cubicBezTo>
                      <a:cubicBezTo>
                        <a:pt x="0" y="322"/>
                        <a:pt x="0" y="322"/>
                        <a:pt x="0" y="322"/>
                      </a:cubicBezTo>
                      <a:cubicBezTo>
                        <a:pt x="0" y="329"/>
                        <a:pt x="5" y="335"/>
                        <a:pt x="15" y="340"/>
                      </a:cubicBezTo>
                      <a:cubicBezTo>
                        <a:pt x="5" y="346"/>
                        <a:pt x="0" y="351"/>
                        <a:pt x="0" y="358"/>
                      </a:cubicBezTo>
                      <a:cubicBezTo>
                        <a:pt x="0" y="510"/>
                        <a:pt x="0" y="510"/>
                        <a:pt x="0" y="510"/>
                      </a:cubicBezTo>
                      <a:cubicBezTo>
                        <a:pt x="0" y="538"/>
                        <a:pt x="108" y="562"/>
                        <a:pt x="240" y="562"/>
                      </a:cubicBezTo>
                      <a:cubicBezTo>
                        <a:pt x="373" y="562"/>
                        <a:pt x="480" y="538"/>
                        <a:pt x="480" y="510"/>
                      </a:cubicBezTo>
                      <a:cubicBezTo>
                        <a:pt x="480" y="358"/>
                        <a:pt x="480" y="358"/>
                        <a:pt x="480" y="358"/>
                      </a:cubicBezTo>
                      <a:cubicBezTo>
                        <a:pt x="480" y="351"/>
                        <a:pt x="475" y="346"/>
                        <a:pt x="466" y="340"/>
                      </a:cubicBezTo>
                      <a:cubicBezTo>
                        <a:pt x="475" y="335"/>
                        <a:pt x="480" y="329"/>
                        <a:pt x="480" y="322"/>
                      </a:cubicBezTo>
                      <a:cubicBezTo>
                        <a:pt x="480" y="170"/>
                        <a:pt x="480" y="170"/>
                        <a:pt x="480" y="170"/>
                      </a:cubicBezTo>
                      <a:cubicBezTo>
                        <a:pt x="480" y="164"/>
                        <a:pt x="475" y="158"/>
                        <a:pt x="466" y="153"/>
                      </a:cubicBezTo>
                      <a:cubicBezTo>
                        <a:pt x="475" y="147"/>
                        <a:pt x="480" y="141"/>
                        <a:pt x="480" y="135"/>
                      </a:cubicBezTo>
                      <a:close/>
                      <a:moveTo>
                        <a:pt x="458" y="352"/>
                      </a:moveTo>
                      <a:cubicBezTo>
                        <a:pt x="458" y="368"/>
                        <a:pt x="361" y="380"/>
                        <a:pt x="240" y="380"/>
                      </a:cubicBezTo>
                      <a:cubicBezTo>
                        <a:pt x="120" y="380"/>
                        <a:pt x="23" y="368"/>
                        <a:pt x="23" y="352"/>
                      </a:cubicBezTo>
                      <a:cubicBezTo>
                        <a:pt x="23" y="333"/>
                        <a:pt x="23" y="333"/>
                        <a:pt x="23" y="333"/>
                      </a:cubicBezTo>
                      <a:cubicBezTo>
                        <a:pt x="23" y="349"/>
                        <a:pt x="120" y="361"/>
                        <a:pt x="240" y="361"/>
                      </a:cubicBezTo>
                      <a:cubicBezTo>
                        <a:pt x="361" y="361"/>
                        <a:pt x="458" y="349"/>
                        <a:pt x="458" y="333"/>
                      </a:cubicBezTo>
                      <a:lnTo>
                        <a:pt x="458" y="352"/>
                      </a:lnTo>
                      <a:close/>
                      <a:moveTo>
                        <a:pt x="458" y="166"/>
                      </a:moveTo>
                      <a:cubicBezTo>
                        <a:pt x="458" y="182"/>
                        <a:pt x="361" y="195"/>
                        <a:pt x="240" y="195"/>
                      </a:cubicBezTo>
                      <a:cubicBezTo>
                        <a:pt x="120" y="195"/>
                        <a:pt x="23" y="182"/>
                        <a:pt x="23" y="166"/>
                      </a:cubicBezTo>
                      <a:cubicBezTo>
                        <a:pt x="23" y="147"/>
                        <a:pt x="23" y="147"/>
                        <a:pt x="23" y="147"/>
                      </a:cubicBezTo>
                      <a:cubicBezTo>
                        <a:pt x="23" y="163"/>
                        <a:pt x="120" y="176"/>
                        <a:pt x="240" y="176"/>
                      </a:cubicBezTo>
                      <a:cubicBezTo>
                        <a:pt x="361" y="176"/>
                        <a:pt x="458" y="163"/>
                        <a:pt x="458" y="147"/>
                      </a:cubicBezTo>
                      <a:lnTo>
                        <a:pt x="458" y="1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ndParaRPr>
                </a:p>
              </p:txBody>
            </p:sp>
          </p:grpSp>
        </p:grpSp>
      </p:grpSp>
      <p:grpSp>
        <p:nvGrpSpPr>
          <p:cNvPr id="36" name="Group 35"/>
          <p:cNvGrpSpPr/>
          <p:nvPr/>
        </p:nvGrpSpPr>
        <p:grpSpPr>
          <a:xfrm>
            <a:off x="3837246" y="3573642"/>
            <a:ext cx="1669726" cy="1875549"/>
            <a:chOff x="3598520" y="2423485"/>
            <a:chExt cx="1703207" cy="1913158"/>
          </a:xfrm>
        </p:grpSpPr>
        <p:grpSp>
          <p:nvGrpSpPr>
            <p:cNvPr id="37" name="Group 36"/>
            <p:cNvGrpSpPr/>
            <p:nvPr/>
          </p:nvGrpSpPr>
          <p:grpSpPr>
            <a:xfrm>
              <a:off x="3598520" y="2423485"/>
              <a:ext cx="1703207" cy="1913158"/>
              <a:chOff x="3598520" y="2423485"/>
              <a:chExt cx="1703207" cy="1913158"/>
            </a:xfrm>
          </p:grpSpPr>
          <p:sp>
            <p:nvSpPr>
              <p:cNvPr id="45" name="Oval 44"/>
              <p:cNvSpPr>
                <a:spLocks noChangeAspect="1"/>
              </p:cNvSpPr>
              <p:nvPr/>
            </p:nvSpPr>
            <p:spPr>
              <a:xfrm>
                <a:off x="3598520" y="2522401"/>
                <a:ext cx="1703207" cy="1703207"/>
              </a:xfrm>
              <a:prstGeom prst="ellipse">
                <a:avLst/>
              </a:prstGeom>
              <a:solidFill>
                <a:sysClr val="window" lastClr="FFFFFF">
                  <a:lumMod val="65000"/>
                </a:sysClr>
              </a:solidFill>
              <a:ln w="6350" cap="flat" cmpd="sng" algn="ctr">
                <a:solidFill>
                  <a:sysClr val="window" lastClr="FFFFFF"/>
                </a:solidFill>
                <a:prstDash val="solid"/>
                <a:miter lim="800000"/>
              </a:ln>
              <a:effectLst/>
            </p:spPr>
            <p:txBody>
              <a:bodyPr rot="0" spcFirstLastPara="0" vertOverflow="overflow" horzOverflow="overflow" vert="horz" wrap="square" lIns="87880" tIns="43940" rIns="87880" bIns="439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nvGrpSpPr>
              <p:cNvPr id="46" name="Group 45"/>
              <p:cNvGrpSpPr/>
              <p:nvPr/>
            </p:nvGrpSpPr>
            <p:grpSpPr>
              <a:xfrm>
                <a:off x="4373216" y="2423485"/>
                <a:ext cx="228392" cy="1913158"/>
                <a:chOff x="4373216" y="2423485"/>
                <a:chExt cx="228392" cy="1913158"/>
              </a:xfrm>
            </p:grpSpPr>
            <p:sp>
              <p:nvSpPr>
                <p:cNvPr id="47" name="Isosceles Triangle 46"/>
                <p:cNvSpPr/>
                <p:nvPr/>
              </p:nvSpPr>
              <p:spPr>
                <a:xfrm rot="5400000">
                  <a:off x="4399844" y="2445584"/>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48" name="Isosceles Triangle 47"/>
                <p:cNvSpPr/>
                <p:nvPr/>
              </p:nvSpPr>
              <p:spPr>
                <a:xfrm rot="16200000" flipH="1">
                  <a:off x="4351117" y="4134879"/>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grpSp>
        <p:grpSp>
          <p:nvGrpSpPr>
            <p:cNvPr id="38" name="Group 37"/>
            <p:cNvGrpSpPr/>
            <p:nvPr/>
          </p:nvGrpSpPr>
          <p:grpSpPr>
            <a:xfrm>
              <a:off x="3830903" y="2913129"/>
              <a:ext cx="1355772" cy="827224"/>
              <a:chOff x="3830903" y="2913129"/>
              <a:chExt cx="1355772" cy="827224"/>
            </a:xfrm>
          </p:grpSpPr>
          <p:sp>
            <p:nvSpPr>
              <p:cNvPr id="39" name="Freeform 38"/>
              <p:cNvSpPr>
                <a:spLocks noEditPoints="1"/>
              </p:cNvSpPr>
              <p:nvPr/>
            </p:nvSpPr>
            <p:spPr bwMode="auto">
              <a:xfrm>
                <a:off x="3830903" y="3039354"/>
                <a:ext cx="286233" cy="678066"/>
              </a:xfrm>
              <a:custGeom>
                <a:avLst/>
                <a:gdLst>
                  <a:gd name="T0" fmla="*/ 178 w 805"/>
                  <a:gd name="T1" fmla="*/ 1345 h 1907"/>
                  <a:gd name="T2" fmla="*/ 178 w 805"/>
                  <a:gd name="T3" fmla="*/ 1523 h 1907"/>
                  <a:gd name="T4" fmla="*/ 348 w 805"/>
                  <a:gd name="T5" fmla="*/ 1523 h 1907"/>
                  <a:gd name="T6" fmla="*/ 348 w 805"/>
                  <a:gd name="T7" fmla="*/ 1345 h 1907"/>
                  <a:gd name="T8" fmla="*/ 178 w 805"/>
                  <a:gd name="T9" fmla="*/ 1345 h 1907"/>
                  <a:gd name="T10" fmla="*/ 178 w 805"/>
                  <a:gd name="T11" fmla="*/ 1345 h 1907"/>
                  <a:gd name="T12" fmla="*/ 178 w 805"/>
                  <a:gd name="T13" fmla="*/ 1120 h 1907"/>
                  <a:gd name="T14" fmla="*/ 178 w 805"/>
                  <a:gd name="T15" fmla="*/ 1298 h 1907"/>
                  <a:gd name="T16" fmla="*/ 348 w 805"/>
                  <a:gd name="T17" fmla="*/ 1298 h 1907"/>
                  <a:gd name="T18" fmla="*/ 348 w 805"/>
                  <a:gd name="T19" fmla="*/ 1120 h 1907"/>
                  <a:gd name="T20" fmla="*/ 178 w 805"/>
                  <a:gd name="T21" fmla="*/ 1120 h 1907"/>
                  <a:gd name="T22" fmla="*/ 178 w 805"/>
                  <a:gd name="T23" fmla="*/ 1120 h 1907"/>
                  <a:gd name="T24" fmla="*/ 178 w 805"/>
                  <a:gd name="T25" fmla="*/ 881 h 1907"/>
                  <a:gd name="T26" fmla="*/ 178 w 805"/>
                  <a:gd name="T27" fmla="*/ 1059 h 1907"/>
                  <a:gd name="T28" fmla="*/ 348 w 805"/>
                  <a:gd name="T29" fmla="*/ 1059 h 1907"/>
                  <a:gd name="T30" fmla="*/ 348 w 805"/>
                  <a:gd name="T31" fmla="*/ 881 h 1907"/>
                  <a:gd name="T32" fmla="*/ 178 w 805"/>
                  <a:gd name="T33" fmla="*/ 881 h 1907"/>
                  <a:gd name="T34" fmla="*/ 178 w 805"/>
                  <a:gd name="T35" fmla="*/ 881 h 1907"/>
                  <a:gd name="T36" fmla="*/ 178 w 805"/>
                  <a:gd name="T37" fmla="*/ 630 h 1907"/>
                  <a:gd name="T38" fmla="*/ 178 w 805"/>
                  <a:gd name="T39" fmla="*/ 808 h 1907"/>
                  <a:gd name="T40" fmla="*/ 348 w 805"/>
                  <a:gd name="T41" fmla="*/ 808 h 1907"/>
                  <a:gd name="T42" fmla="*/ 348 w 805"/>
                  <a:gd name="T43" fmla="*/ 630 h 1907"/>
                  <a:gd name="T44" fmla="*/ 178 w 805"/>
                  <a:gd name="T45" fmla="*/ 630 h 1907"/>
                  <a:gd name="T46" fmla="*/ 178 w 805"/>
                  <a:gd name="T47" fmla="*/ 630 h 1907"/>
                  <a:gd name="T48" fmla="*/ 455 w 805"/>
                  <a:gd name="T49" fmla="*/ 384 h 1907"/>
                  <a:gd name="T50" fmla="*/ 455 w 805"/>
                  <a:gd name="T51" fmla="*/ 564 h 1907"/>
                  <a:gd name="T52" fmla="*/ 627 w 805"/>
                  <a:gd name="T53" fmla="*/ 564 h 1907"/>
                  <a:gd name="T54" fmla="*/ 627 w 805"/>
                  <a:gd name="T55" fmla="*/ 384 h 1907"/>
                  <a:gd name="T56" fmla="*/ 455 w 805"/>
                  <a:gd name="T57" fmla="*/ 384 h 1907"/>
                  <a:gd name="T58" fmla="*/ 455 w 805"/>
                  <a:gd name="T59" fmla="*/ 384 h 1907"/>
                  <a:gd name="T60" fmla="*/ 178 w 805"/>
                  <a:gd name="T61" fmla="*/ 384 h 1907"/>
                  <a:gd name="T62" fmla="*/ 178 w 805"/>
                  <a:gd name="T63" fmla="*/ 564 h 1907"/>
                  <a:gd name="T64" fmla="*/ 348 w 805"/>
                  <a:gd name="T65" fmla="*/ 564 h 1907"/>
                  <a:gd name="T66" fmla="*/ 348 w 805"/>
                  <a:gd name="T67" fmla="*/ 384 h 1907"/>
                  <a:gd name="T68" fmla="*/ 178 w 805"/>
                  <a:gd name="T69" fmla="*/ 384 h 1907"/>
                  <a:gd name="T70" fmla="*/ 178 w 805"/>
                  <a:gd name="T71" fmla="*/ 384 h 1907"/>
                  <a:gd name="T72" fmla="*/ 455 w 805"/>
                  <a:gd name="T73" fmla="*/ 137 h 1907"/>
                  <a:gd name="T74" fmla="*/ 455 w 805"/>
                  <a:gd name="T75" fmla="*/ 315 h 1907"/>
                  <a:gd name="T76" fmla="*/ 627 w 805"/>
                  <a:gd name="T77" fmla="*/ 315 h 1907"/>
                  <a:gd name="T78" fmla="*/ 627 w 805"/>
                  <a:gd name="T79" fmla="*/ 137 h 1907"/>
                  <a:gd name="T80" fmla="*/ 455 w 805"/>
                  <a:gd name="T81" fmla="*/ 137 h 1907"/>
                  <a:gd name="T82" fmla="*/ 455 w 805"/>
                  <a:gd name="T83" fmla="*/ 137 h 1907"/>
                  <a:gd name="T84" fmla="*/ 178 w 805"/>
                  <a:gd name="T85" fmla="*/ 137 h 1907"/>
                  <a:gd name="T86" fmla="*/ 178 w 805"/>
                  <a:gd name="T87" fmla="*/ 315 h 1907"/>
                  <a:gd name="T88" fmla="*/ 348 w 805"/>
                  <a:gd name="T89" fmla="*/ 315 h 1907"/>
                  <a:gd name="T90" fmla="*/ 348 w 805"/>
                  <a:gd name="T91" fmla="*/ 137 h 1907"/>
                  <a:gd name="T92" fmla="*/ 178 w 805"/>
                  <a:gd name="T93" fmla="*/ 137 h 1907"/>
                  <a:gd name="T94" fmla="*/ 178 w 805"/>
                  <a:gd name="T95" fmla="*/ 137 h 1907"/>
                  <a:gd name="T96" fmla="*/ 0 w 805"/>
                  <a:gd name="T97" fmla="*/ 0 h 1907"/>
                  <a:gd name="T98" fmla="*/ 805 w 805"/>
                  <a:gd name="T99" fmla="*/ 0 h 1907"/>
                  <a:gd name="T100" fmla="*/ 805 w 805"/>
                  <a:gd name="T101" fmla="*/ 694 h 1907"/>
                  <a:gd name="T102" fmla="*/ 426 w 805"/>
                  <a:gd name="T103" fmla="*/ 694 h 1907"/>
                  <a:gd name="T104" fmla="*/ 426 w 805"/>
                  <a:gd name="T105" fmla="*/ 1907 h 1907"/>
                  <a:gd name="T106" fmla="*/ 0 w 805"/>
                  <a:gd name="T107" fmla="*/ 1907 h 1907"/>
                  <a:gd name="T108" fmla="*/ 0 w 805"/>
                  <a:gd name="T109" fmla="*/ 0 h 1907"/>
                  <a:gd name="T110" fmla="*/ 0 w 805"/>
                  <a:gd name="T111" fmla="*/ 0 h 19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805" h="1907">
                    <a:moveTo>
                      <a:pt x="178" y="1345"/>
                    </a:moveTo>
                    <a:lnTo>
                      <a:pt x="178" y="1523"/>
                    </a:lnTo>
                    <a:lnTo>
                      <a:pt x="348" y="1523"/>
                    </a:lnTo>
                    <a:lnTo>
                      <a:pt x="348" y="1345"/>
                    </a:lnTo>
                    <a:lnTo>
                      <a:pt x="178" y="1345"/>
                    </a:lnTo>
                    <a:lnTo>
                      <a:pt x="178" y="1345"/>
                    </a:lnTo>
                    <a:close/>
                    <a:moveTo>
                      <a:pt x="178" y="1120"/>
                    </a:moveTo>
                    <a:lnTo>
                      <a:pt x="178" y="1298"/>
                    </a:lnTo>
                    <a:lnTo>
                      <a:pt x="348" y="1298"/>
                    </a:lnTo>
                    <a:lnTo>
                      <a:pt x="348" y="1120"/>
                    </a:lnTo>
                    <a:lnTo>
                      <a:pt x="178" y="1120"/>
                    </a:lnTo>
                    <a:lnTo>
                      <a:pt x="178" y="1120"/>
                    </a:lnTo>
                    <a:close/>
                    <a:moveTo>
                      <a:pt x="178" y="881"/>
                    </a:moveTo>
                    <a:lnTo>
                      <a:pt x="178" y="1059"/>
                    </a:lnTo>
                    <a:lnTo>
                      <a:pt x="348" y="1059"/>
                    </a:lnTo>
                    <a:lnTo>
                      <a:pt x="348" y="881"/>
                    </a:lnTo>
                    <a:lnTo>
                      <a:pt x="178" y="881"/>
                    </a:lnTo>
                    <a:lnTo>
                      <a:pt x="178" y="881"/>
                    </a:lnTo>
                    <a:close/>
                    <a:moveTo>
                      <a:pt x="178" y="630"/>
                    </a:moveTo>
                    <a:lnTo>
                      <a:pt x="178" y="808"/>
                    </a:lnTo>
                    <a:lnTo>
                      <a:pt x="348" y="808"/>
                    </a:lnTo>
                    <a:lnTo>
                      <a:pt x="348" y="630"/>
                    </a:lnTo>
                    <a:lnTo>
                      <a:pt x="178" y="630"/>
                    </a:lnTo>
                    <a:lnTo>
                      <a:pt x="178" y="630"/>
                    </a:lnTo>
                    <a:close/>
                    <a:moveTo>
                      <a:pt x="455" y="384"/>
                    </a:moveTo>
                    <a:lnTo>
                      <a:pt x="455" y="564"/>
                    </a:lnTo>
                    <a:lnTo>
                      <a:pt x="627" y="564"/>
                    </a:lnTo>
                    <a:lnTo>
                      <a:pt x="627" y="384"/>
                    </a:lnTo>
                    <a:lnTo>
                      <a:pt x="455" y="384"/>
                    </a:lnTo>
                    <a:lnTo>
                      <a:pt x="455" y="384"/>
                    </a:lnTo>
                    <a:close/>
                    <a:moveTo>
                      <a:pt x="178" y="384"/>
                    </a:moveTo>
                    <a:lnTo>
                      <a:pt x="178" y="564"/>
                    </a:lnTo>
                    <a:lnTo>
                      <a:pt x="348" y="564"/>
                    </a:lnTo>
                    <a:lnTo>
                      <a:pt x="348" y="384"/>
                    </a:lnTo>
                    <a:lnTo>
                      <a:pt x="178" y="384"/>
                    </a:lnTo>
                    <a:lnTo>
                      <a:pt x="178" y="384"/>
                    </a:lnTo>
                    <a:close/>
                    <a:moveTo>
                      <a:pt x="455" y="137"/>
                    </a:moveTo>
                    <a:lnTo>
                      <a:pt x="455" y="315"/>
                    </a:lnTo>
                    <a:lnTo>
                      <a:pt x="627" y="315"/>
                    </a:lnTo>
                    <a:lnTo>
                      <a:pt x="627" y="137"/>
                    </a:lnTo>
                    <a:lnTo>
                      <a:pt x="455" y="137"/>
                    </a:lnTo>
                    <a:lnTo>
                      <a:pt x="455" y="137"/>
                    </a:lnTo>
                    <a:close/>
                    <a:moveTo>
                      <a:pt x="178" y="137"/>
                    </a:moveTo>
                    <a:lnTo>
                      <a:pt x="178" y="315"/>
                    </a:lnTo>
                    <a:lnTo>
                      <a:pt x="348" y="315"/>
                    </a:lnTo>
                    <a:lnTo>
                      <a:pt x="348" y="137"/>
                    </a:lnTo>
                    <a:lnTo>
                      <a:pt x="178" y="137"/>
                    </a:lnTo>
                    <a:lnTo>
                      <a:pt x="178" y="137"/>
                    </a:lnTo>
                    <a:close/>
                    <a:moveTo>
                      <a:pt x="0" y="0"/>
                    </a:moveTo>
                    <a:lnTo>
                      <a:pt x="805" y="0"/>
                    </a:lnTo>
                    <a:lnTo>
                      <a:pt x="805" y="694"/>
                    </a:lnTo>
                    <a:lnTo>
                      <a:pt x="426" y="694"/>
                    </a:lnTo>
                    <a:lnTo>
                      <a:pt x="426" y="1907"/>
                    </a:lnTo>
                    <a:lnTo>
                      <a:pt x="0" y="1907"/>
                    </a:lnTo>
                    <a:lnTo>
                      <a:pt x="0" y="0"/>
                    </a:lnTo>
                    <a:lnTo>
                      <a:pt x="0" y="0"/>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black"/>
                  </a:solidFill>
                  <a:effectLst/>
                  <a:uLnTx/>
                  <a:uFillTx/>
                  <a:latin typeface="Calibri" panose="020F0502020204030204"/>
                </a:endParaRPr>
              </a:p>
            </p:txBody>
          </p:sp>
          <p:sp>
            <p:nvSpPr>
              <p:cNvPr id="40" name="Freeform 7"/>
              <p:cNvSpPr>
                <a:spLocks/>
              </p:cNvSpPr>
              <p:nvPr/>
            </p:nvSpPr>
            <p:spPr bwMode="auto">
              <a:xfrm>
                <a:off x="4337589" y="3296075"/>
                <a:ext cx="160004" cy="159294"/>
              </a:xfrm>
              <a:custGeom>
                <a:avLst/>
                <a:gdLst>
                  <a:gd name="T0" fmla="*/ 0 w 450"/>
                  <a:gd name="T1" fmla="*/ 173 h 448"/>
                  <a:gd name="T2" fmla="*/ 175 w 450"/>
                  <a:gd name="T3" fmla="*/ 173 h 448"/>
                  <a:gd name="T4" fmla="*/ 175 w 450"/>
                  <a:gd name="T5" fmla="*/ 0 h 448"/>
                  <a:gd name="T6" fmla="*/ 277 w 450"/>
                  <a:gd name="T7" fmla="*/ 0 h 448"/>
                  <a:gd name="T8" fmla="*/ 277 w 450"/>
                  <a:gd name="T9" fmla="*/ 173 h 448"/>
                  <a:gd name="T10" fmla="*/ 450 w 450"/>
                  <a:gd name="T11" fmla="*/ 173 h 448"/>
                  <a:gd name="T12" fmla="*/ 450 w 450"/>
                  <a:gd name="T13" fmla="*/ 275 h 448"/>
                  <a:gd name="T14" fmla="*/ 277 w 450"/>
                  <a:gd name="T15" fmla="*/ 275 h 448"/>
                  <a:gd name="T16" fmla="*/ 277 w 450"/>
                  <a:gd name="T17" fmla="*/ 448 h 448"/>
                  <a:gd name="T18" fmla="*/ 175 w 450"/>
                  <a:gd name="T19" fmla="*/ 448 h 448"/>
                  <a:gd name="T20" fmla="*/ 175 w 450"/>
                  <a:gd name="T21" fmla="*/ 275 h 448"/>
                  <a:gd name="T22" fmla="*/ 0 w 450"/>
                  <a:gd name="T23" fmla="*/ 275 h 448"/>
                  <a:gd name="T24" fmla="*/ 0 w 450"/>
                  <a:gd name="T25" fmla="*/ 173 h 448"/>
                  <a:gd name="T26" fmla="*/ 0 w 450"/>
                  <a:gd name="T27" fmla="*/ 173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50" h="448">
                    <a:moveTo>
                      <a:pt x="0" y="173"/>
                    </a:moveTo>
                    <a:lnTo>
                      <a:pt x="175" y="173"/>
                    </a:lnTo>
                    <a:lnTo>
                      <a:pt x="175" y="0"/>
                    </a:lnTo>
                    <a:lnTo>
                      <a:pt x="277" y="0"/>
                    </a:lnTo>
                    <a:lnTo>
                      <a:pt x="277" y="173"/>
                    </a:lnTo>
                    <a:lnTo>
                      <a:pt x="450" y="173"/>
                    </a:lnTo>
                    <a:lnTo>
                      <a:pt x="450" y="275"/>
                    </a:lnTo>
                    <a:lnTo>
                      <a:pt x="277" y="275"/>
                    </a:lnTo>
                    <a:lnTo>
                      <a:pt x="277" y="448"/>
                    </a:lnTo>
                    <a:lnTo>
                      <a:pt x="175" y="448"/>
                    </a:lnTo>
                    <a:lnTo>
                      <a:pt x="175" y="275"/>
                    </a:lnTo>
                    <a:lnTo>
                      <a:pt x="0" y="275"/>
                    </a:lnTo>
                    <a:lnTo>
                      <a:pt x="0" y="173"/>
                    </a:lnTo>
                    <a:lnTo>
                      <a:pt x="0" y="17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black"/>
                  </a:solidFill>
                  <a:effectLst/>
                  <a:uLnTx/>
                  <a:uFillTx/>
                  <a:latin typeface="Calibri" panose="020F0502020204030204"/>
                </a:endParaRPr>
              </a:p>
            </p:txBody>
          </p:sp>
          <p:sp>
            <p:nvSpPr>
              <p:cNvPr id="41" name="Freeform 8"/>
              <p:cNvSpPr>
                <a:spLocks noEditPoints="1"/>
              </p:cNvSpPr>
              <p:nvPr/>
            </p:nvSpPr>
            <p:spPr bwMode="auto">
              <a:xfrm>
                <a:off x="4234119" y="3192605"/>
                <a:ext cx="366946" cy="366234"/>
              </a:xfrm>
              <a:custGeom>
                <a:avLst/>
                <a:gdLst>
                  <a:gd name="T0" fmla="*/ 218 w 436"/>
                  <a:gd name="T1" fmla="*/ 0 h 435"/>
                  <a:gd name="T2" fmla="*/ 0 w 436"/>
                  <a:gd name="T3" fmla="*/ 217 h 435"/>
                  <a:gd name="T4" fmla="*/ 218 w 436"/>
                  <a:gd name="T5" fmla="*/ 435 h 435"/>
                  <a:gd name="T6" fmla="*/ 436 w 436"/>
                  <a:gd name="T7" fmla="*/ 217 h 435"/>
                  <a:gd name="T8" fmla="*/ 218 w 436"/>
                  <a:gd name="T9" fmla="*/ 0 h 435"/>
                  <a:gd name="T10" fmla="*/ 218 w 436"/>
                  <a:gd name="T11" fmla="*/ 394 h 435"/>
                  <a:gd name="T12" fmla="*/ 41 w 436"/>
                  <a:gd name="T13" fmla="*/ 217 h 435"/>
                  <a:gd name="T14" fmla="*/ 218 w 436"/>
                  <a:gd name="T15" fmla="*/ 41 h 435"/>
                  <a:gd name="T16" fmla="*/ 395 w 436"/>
                  <a:gd name="T17" fmla="*/ 217 h 435"/>
                  <a:gd name="T18" fmla="*/ 218 w 436"/>
                  <a:gd name="T19" fmla="*/ 39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36" h="435">
                    <a:moveTo>
                      <a:pt x="218" y="0"/>
                    </a:moveTo>
                    <a:cubicBezTo>
                      <a:pt x="98" y="0"/>
                      <a:pt x="0" y="97"/>
                      <a:pt x="0" y="217"/>
                    </a:cubicBezTo>
                    <a:cubicBezTo>
                      <a:pt x="0" y="338"/>
                      <a:pt x="98" y="435"/>
                      <a:pt x="218" y="435"/>
                    </a:cubicBezTo>
                    <a:cubicBezTo>
                      <a:pt x="339" y="435"/>
                      <a:pt x="436" y="338"/>
                      <a:pt x="436" y="217"/>
                    </a:cubicBezTo>
                    <a:cubicBezTo>
                      <a:pt x="436" y="97"/>
                      <a:pt x="339" y="0"/>
                      <a:pt x="218" y="0"/>
                    </a:cubicBezTo>
                    <a:close/>
                    <a:moveTo>
                      <a:pt x="218" y="394"/>
                    </a:moveTo>
                    <a:cubicBezTo>
                      <a:pt x="121" y="394"/>
                      <a:pt x="41" y="315"/>
                      <a:pt x="41" y="217"/>
                    </a:cubicBezTo>
                    <a:cubicBezTo>
                      <a:pt x="41" y="120"/>
                      <a:pt x="121" y="41"/>
                      <a:pt x="218" y="41"/>
                    </a:cubicBezTo>
                    <a:cubicBezTo>
                      <a:pt x="316" y="41"/>
                      <a:pt x="395" y="120"/>
                      <a:pt x="395" y="217"/>
                    </a:cubicBezTo>
                    <a:cubicBezTo>
                      <a:pt x="395" y="315"/>
                      <a:pt x="316" y="394"/>
                      <a:pt x="218" y="394"/>
                    </a:cubicBez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black"/>
                  </a:solidFill>
                  <a:effectLst/>
                  <a:uLnTx/>
                  <a:uFillTx/>
                  <a:latin typeface="Calibri" panose="020F0502020204030204"/>
                </a:endParaRPr>
              </a:p>
            </p:txBody>
          </p:sp>
          <p:sp>
            <p:nvSpPr>
              <p:cNvPr id="42" name="Freeform 9"/>
              <p:cNvSpPr>
                <a:spLocks noChangeAspect="1"/>
              </p:cNvSpPr>
              <p:nvPr/>
            </p:nvSpPr>
            <p:spPr bwMode="auto">
              <a:xfrm>
                <a:off x="4047086" y="2913129"/>
                <a:ext cx="403215" cy="309699"/>
              </a:xfrm>
              <a:custGeom>
                <a:avLst/>
                <a:gdLst>
                  <a:gd name="T0" fmla="*/ 440 w 479"/>
                  <a:gd name="T1" fmla="*/ 288 h 368"/>
                  <a:gd name="T2" fmla="*/ 477 w 479"/>
                  <a:gd name="T3" fmla="*/ 286 h 368"/>
                  <a:gd name="T4" fmla="*/ 479 w 479"/>
                  <a:gd name="T5" fmla="*/ 275 h 368"/>
                  <a:gd name="T6" fmla="*/ 478 w 479"/>
                  <a:gd name="T7" fmla="*/ 259 h 368"/>
                  <a:gd name="T8" fmla="*/ 476 w 479"/>
                  <a:gd name="T9" fmla="*/ 241 h 368"/>
                  <a:gd name="T10" fmla="*/ 470 w 479"/>
                  <a:gd name="T11" fmla="*/ 223 h 368"/>
                  <a:gd name="T12" fmla="*/ 463 w 479"/>
                  <a:gd name="T13" fmla="*/ 206 h 368"/>
                  <a:gd name="T14" fmla="*/ 453 w 479"/>
                  <a:gd name="T15" fmla="*/ 191 h 368"/>
                  <a:gd name="T16" fmla="*/ 441 w 479"/>
                  <a:gd name="T17" fmla="*/ 176 h 368"/>
                  <a:gd name="T18" fmla="*/ 428 w 479"/>
                  <a:gd name="T19" fmla="*/ 164 h 368"/>
                  <a:gd name="T20" fmla="*/ 413 w 479"/>
                  <a:gd name="T21" fmla="*/ 154 h 368"/>
                  <a:gd name="T22" fmla="*/ 403 w 479"/>
                  <a:gd name="T23" fmla="*/ 149 h 368"/>
                  <a:gd name="T24" fmla="*/ 403 w 479"/>
                  <a:gd name="T25" fmla="*/ 143 h 368"/>
                  <a:gd name="T26" fmla="*/ 401 w 479"/>
                  <a:gd name="T27" fmla="*/ 135 h 368"/>
                  <a:gd name="T28" fmla="*/ 400 w 479"/>
                  <a:gd name="T29" fmla="*/ 126 h 368"/>
                  <a:gd name="T30" fmla="*/ 397 w 479"/>
                  <a:gd name="T31" fmla="*/ 117 h 368"/>
                  <a:gd name="T32" fmla="*/ 394 w 479"/>
                  <a:gd name="T33" fmla="*/ 109 h 368"/>
                  <a:gd name="T34" fmla="*/ 390 w 479"/>
                  <a:gd name="T35" fmla="*/ 101 h 368"/>
                  <a:gd name="T36" fmla="*/ 385 w 479"/>
                  <a:gd name="T37" fmla="*/ 94 h 368"/>
                  <a:gd name="T38" fmla="*/ 380 w 479"/>
                  <a:gd name="T39" fmla="*/ 88 h 368"/>
                  <a:gd name="T40" fmla="*/ 374 w 479"/>
                  <a:gd name="T41" fmla="*/ 82 h 368"/>
                  <a:gd name="T42" fmla="*/ 367 w 479"/>
                  <a:gd name="T43" fmla="*/ 76 h 368"/>
                  <a:gd name="T44" fmla="*/ 360 w 479"/>
                  <a:gd name="T45" fmla="*/ 71 h 368"/>
                  <a:gd name="T46" fmla="*/ 353 w 479"/>
                  <a:gd name="T47" fmla="*/ 67 h 368"/>
                  <a:gd name="T48" fmla="*/ 346 w 479"/>
                  <a:gd name="T49" fmla="*/ 64 h 368"/>
                  <a:gd name="T50" fmla="*/ 338 w 479"/>
                  <a:gd name="T51" fmla="*/ 61 h 368"/>
                  <a:gd name="T52" fmla="*/ 329 w 479"/>
                  <a:gd name="T53" fmla="*/ 59 h 368"/>
                  <a:gd name="T54" fmla="*/ 320 w 479"/>
                  <a:gd name="T55" fmla="*/ 58 h 368"/>
                  <a:gd name="T56" fmla="*/ 309 w 479"/>
                  <a:gd name="T57" fmla="*/ 59 h 368"/>
                  <a:gd name="T58" fmla="*/ 296 w 479"/>
                  <a:gd name="T59" fmla="*/ 61 h 368"/>
                  <a:gd name="T60" fmla="*/ 283 w 479"/>
                  <a:gd name="T61" fmla="*/ 65 h 368"/>
                  <a:gd name="T62" fmla="*/ 272 w 479"/>
                  <a:gd name="T63" fmla="*/ 71 h 368"/>
                  <a:gd name="T64" fmla="*/ 261 w 479"/>
                  <a:gd name="T65" fmla="*/ 66 h 368"/>
                  <a:gd name="T66" fmla="*/ 250 w 479"/>
                  <a:gd name="T67" fmla="*/ 51 h 368"/>
                  <a:gd name="T68" fmla="*/ 237 w 479"/>
                  <a:gd name="T69" fmla="*/ 38 h 368"/>
                  <a:gd name="T70" fmla="*/ 222 w 479"/>
                  <a:gd name="T71" fmla="*/ 26 h 368"/>
                  <a:gd name="T72" fmla="*/ 206 w 479"/>
                  <a:gd name="T73" fmla="*/ 16 h 368"/>
                  <a:gd name="T74" fmla="*/ 189 w 479"/>
                  <a:gd name="T75" fmla="*/ 9 h 368"/>
                  <a:gd name="T76" fmla="*/ 170 w 479"/>
                  <a:gd name="T77" fmla="*/ 3 h 368"/>
                  <a:gd name="T78" fmla="*/ 151 w 479"/>
                  <a:gd name="T79" fmla="*/ 0 h 368"/>
                  <a:gd name="T80" fmla="*/ 134 w 479"/>
                  <a:gd name="T81" fmla="*/ 0 h 368"/>
                  <a:gd name="T82" fmla="*/ 119 w 479"/>
                  <a:gd name="T83" fmla="*/ 2 h 368"/>
                  <a:gd name="T84" fmla="*/ 105 w 479"/>
                  <a:gd name="T85" fmla="*/ 5 h 368"/>
                  <a:gd name="T86" fmla="*/ 91 w 479"/>
                  <a:gd name="T87" fmla="*/ 10 h 368"/>
                  <a:gd name="T88" fmla="*/ 78 w 479"/>
                  <a:gd name="T89" fmla="*/ 15 h 368"/>
                  <a:gd name="T90" fmla="*/ 66 w 479"/>
                  <a:gd name="T91" fmla="*/ 23 h 368"/>
                  <a:gd name="T92" fmla="*/ 54 w 479"/>
                  <a:gd name="T93" fmla="*/ 31 h 368"/>
                  <a:gd name="T94" fmla="*/ 44 w 479"/>
                  <a:gd name="T95" fmla="*/ 40 h 368"/>
                  <a:gd name="T96" fmla="*/ 34 w 479"/>
                  <a:gd name="T97" fmla="*/ 51 h 368"/>
                  <a:gd name="T98" fmla="*/ 25 w 479"/>
                  <a:gd name="T99" fmla="*/ 62 h 368"/>
                  <a:gd name="T100" fmla="*/ 17 w 479"/>
                  <a:gd name="T101" fmla="*/ 74 h 368"/>
                  <a:gd name="T102" fmla="*/ 10 w 479"/>
                  <a:gd name="T103" fmla="*/ 88 h 368"/>
                  <a:gd name="T104" fmla="*/ 4 w 479"/>
                  <a:gd name="T105" fmla="*/ 101 h 368"/>
                  <a:gd name="T106" fmla="*/ 0 w 479"/>
                  <a:gd name="T107" fmla="*/ 116 h 368"/>
                  <a:gd name="T108" fmla="*/ 113 w 479"/>
                  <a:gd name="T109" fmla="*/ 120 h 368"/>
                  <a:gd name="T110" fmla="*/ 252 w 479"/>
                  <a:gd name="T111"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79" h="368">
                    <a:moveTo>
                      <a:pt x="252" y="368"/>
                    </a:moveTo>
                    <a:cubicBezTo>
                      <a:pt x="300" y="319"/>
                      <a:pt x="366" y="288"/>
                      <a:pt x="440" y="288"/>
                    </a:cubicBezTo>
                    <a:cubicBezTo>
                      <a:pt x="453" y="288"/>
                      <a:pt x="465" y="289"/>
                      <a:pt x="476" y="291"/>
                    </a:cubicBezTo>
                    <a:cubicBezTo>
                      <a:pt x="477" y="286"/>
                      <a:pt x="477" y="286"/>
                      <a:pt x="477" y="286"/>
                    </a:cubicBezTo>
                    <a:cubicBezTo>
                      <a:pt x="478" y="280"/>
                      <a:pt x="478" y="280"/>
                      <a:pt x="478" y="280"/>
                    </a:cubicBezTo>
                    <a:cubicBezTo>
                      <a:pt x="479" y="275"/>
                      <a:pt x="479" y="275"/>
                      <a:pt x="479" y="275"/>
                    </a:cubicBezTo>
                    <a:cubicBezTo>
                      <a:pt x="479" y="269"/>
                      <a:pt x="479" y="269"/>
                      <a:pt x="479" y="269"/>
                    </a:cubicBezTo>
                    <a:cubicBezTo>
                      <a:pt x="478" y="259"/>
                      <a:pt x="478" y="259"/>
                      <a:pt x="478" y="259"/>
                    </a:cubicBezTo>
                    <a:cubicBezTo>
                      <a:pt x="477" y="250"/>
                      <a:pt x="477" y="250"/>
                      <a:pt x="477" y="250"/>
                    </a:cubicBezTo>
                    <a:cubicBezTo>
                      <a:pt x="476" y="241"/>
                      <a:pt x="476" y="241"/>
                      <a:pt x="476" y="241"/>
                    </a:cubicBezTo>
                    <a:cubicBezTo>
                      <a:pt x="473" y="232"/>
                      <a:pt x="473" y="232"/>
                      <a:pt x="473" y="232"/>
                    </a:cubicBezTo>
                    <a:cubicBezTo>
                      <a:pt x="470" y="223"/>
                      <a:pt x="470" y="223"/>
                      <a:pt x="470" y="223"/>
                    </a:cubicBezTo>
                    <a:cubicBezTo>
                      <a:pt x="467" y="215"/>
                      <a:pt x="467" y="215"/>
                      <a:pt x="467" y="215"/>
                    </a:cubicBezTo>
                    <a:cubicBezTo>
                      <a:pt x="463" y="206"/>
                      <a:pt x="463" y="206"/>
                      <a:pt x="463" y="206"/>
                    </a:cubicBezTo>
                    <a:cubicBezTo>
                      <a:pt x="458" y="198"/>
                      <a:pt x="458" y="198"/>
                      <a:pt x="458" y="198"/>
                    </a:cubicBezTo>
                    <a:cubicBezTo>
                      <a:pt x="453" y="191"/>
                      <a:pt x="453" y="191"/>
                      <a:pt x="453" y="191"/>
                    </a:cubicBezTo>
                    <a:cubicBezTo>
                      <a:pt x="447" y="183"/>
                      <a:pt x="447" y="183"/>
                      <a:pt x="447" y="183"/>
                    </a:cubicBezTo>
                    <a:cubicBezTo>
                      <a:pt x="441" y="176"/>
                      <a:pt x="441" y="176"/>
                      <a:pt x="441" y="176"/>
                    </a:cubicBezTo>
                    <a:cubicBezTo>
                      <a:pt x="435" y="170"/>
                      <a:pt x="435" y="170"/>
                      <a:pt x="435" y="170"/>
                    </a:cubicBezTo>
                    <a:cubicBezTo>
                      <a:pt x="428" y="164"/>
                      <a:pt x="428" y="164"/>
                      <a:pt x="428" y="164"/>
                    </a:cubicBezTo>
                    <a:cubicBezTo>
                      <a:pt x="420" y="159"/>
                      <a:pt x="420" y="159"/>
                      <a:pt x="420" y="159"/>
                    </a:cubicBezTo>
                    <a:cubicBezTo>
                      <a:pt x="413" y="154"/>
                      <a:pt x="413" y="154"/>
                      <a:pt x="413" y="154"/>
                    </a:cubicBezTo>
                    <a:cubicBezTo>
                      <a:pt x="405" y="150"/>
                      <a:pt x="405" y="150"/>
                      <a:pt x="405" y="150"/>
                    </a:cubicBezTo>
                    <a:cubicBezTo>
                      <a:pt x="403" y="149"/>
                      <a:pt x="403" y="149"/>
                      <a:pt x="403" y="149"/>
                    </a:cubicBezTo>
                    <a:cubicBezTo>
                      <a:pt x="403" y="148"/>
                      <a:pt x="403" y="148"/>
                      <a:pt x="403" y="148"/>
                    </a:cubicBezTo>
                    <a:cubicBezTo>
                      <a:pt x="403" y="143"/>
                      <a:pt x="403" y="143"/>
                      <a:pt x="403" y="143"/>
                    </a:cubicBezTo>
                    <a:cubicBezTo>
                      <a:pt x="402" y="139"/>
                      <a:pt x="402" y="139"/>
                      <a:pt x="402" y="139"/>
                    </a:cubicBezTo>
                    <a:cubicBezTo>
                      <a:pt x="401" y="135"/>
                      <a:pt x="401" y="135"/>
                      <a:pt x="401" y="135"/>
                    </a:cubicBezTo>
                    <a:cubicBezTo>
                      <a:pt x="401" y="130"/>
                      <a:pt x="401" y="130"/>
                      <a:pt x="401" y="130"/>
                    </a:cubicBezTo>
                    <a:cubicBezTo>
                      <a:pt x="400" y="126"/>
                      <a:pt x="400" y="126"/>
                      <a:pt x="400" y="126"/>
                    </a:cubicBezTo>
                    <a:cubicBezTo>
                      <a:pt x="398" y="121"/>
                      <a:pt x="398" y="121"/>
                      <a:pt x="398" y="121"/>
                    </a:cubicBezTo>
                    <a:cubicBezTo>
                      <a:pt x="397" y="117"/>
                      <a:pt x="397" y="117"/>
                      <a:pt x="397" y="117"/>
                    </a:cubicBezTo>
                    <a:cubicBezTo>
                      <a:pt x="395" y="113"/>
                      <a:pt x="395" y="113"/>
                      <a:pt x="395" y="113"/>
                    </a:cubicBezTo>
                    <a:cubicBezTo>
                      <a:pt x="394" y="109"/>
                      <a:pt x="394" y="109"/>
                      <a:pt x="394" y="109"/>
                    </a:cubicBezTo>
                    <a:cubicBezTo>
                      <a:pt x="392" y="105"/>
                      <a:pt x="392" y="105"/>
                      <a:pt x="392" y="105"/>
                    </a:cubicBezTo>
                    <a:cubicBezTo>
                      <a:pt x="390" y="101"/>
                      <a:pt x="390" y="101"/>
                      <a:pt x="390" y="101"/>
                    </a:cubicBezTo>
                    <a:cubicBezTo>
                      <a:pt x="387" y="98"/>
                      <a:pt x="387" y="98"/>
                      <a:pt x="387" y="98"/>
                    </a:cubicBezTo>
                    <a:cubicBezTo>
                      <a:pt x="385" y="94"/>
                      <a:pt x="385" y="94"/>
                      <a:pt x="385" y="94"/>
                    </a:cubicBezTo>
                    <a:cubicBezTo>
                      <a:pt x="382" y="91"/>
                      <a:pt x="382" y="91"/>
                      <a:pt x="382" y="91"/>
                    </a:cubicBezTo>
                    <a:cubicBezTo>
                      <a:pt x="380" y="88"/>
                      <a:pt x="380" y="88"/>
                      <a:pt x="380" y="88"/>
                    </a:cubicBezTo>
                    <a:cubicBezTo>
                      <a:pt x="377" y="84"/>
                      <a:pt x="377" y="84"/>
                      <a:pt x="377" y="84"/>
                    </a:cubicBezTo>
                    <a:cubicBezTo>
                      <a:pt x="374" y="82"/>
                      <a:pt x="374" y="82"/>
                      <a:pt x="374" y="82"/>
                    </a:cubicBezTo>
                    <a:cubicBezTo>
                      <a:pt x="371" y="79"/>
                      <a:pt x="371" y="79"/>
                      <a:pt x="371" y="79"/>
                    </a:cubicBezTo>
                    <a:cubicBezTo>
                      <a:pt x="367" y="76"/>
                      <a:pt x="367" y="76"/>
                      <a:pt x="367" y="76"/>
                    </a:cubicBezTo>
                    <a:cubicBezTo>
                      <a:pt x="364" y="73"/>
                      <a:pt x="364" y="73"/>
                      <a:pt x="364" y="73"/>
                    </a:cubicBezTo>
                    <a:cubicBezTo>
                      <a:pt x="360" y="71"/>
                      <a:pt x="360" y="71"/>
                      <a:pt x="360" y="71"/>
                    </a:cubicBezTo>
                    <a:cubicBezTo>
                      <a:pt x="357" y="69"/>
                      <a:pt x="357" y="69"/>
                      <a:pt x="357" y="69"/>
                    </a:cubicBezTo>
                    <a:cubicBezTo>
                      <a:pt x="353" y="67"/>
                      <a:pt x="353" y="67"/>
                      <a:pt x="353" y="67"/>
                    </a:cubicBezTo>
                    <a:cubicBezTo>
                      <a:pt x="349" y="65"/>
                      <a:pt x="349" y="65"/>
                      <a:pt x="349" y="65"/>
                    </a:cubicBezTo>
                    <a:cubicBezTo>
                      <a:pt x="346" y="64"/>
                      <a:pt x="346" y="64"/>
                      <a:pt x="346" y="64"/>
                    </a:cubicBezTo>
                    <a:cubicBezTo>
                      <a:pt x="341" y="62"/>
                      <a:pt x="341" y="62"/>
                      <a:pt x="341" y="62"/>
                    </a:cubicBezTo>
                    <a:cubicBezTo>
                      <a:pt x="338" y="61"/>
                      <a:pt x="338" y="61"/>
                      <a:pt x="338" y="61"/>
                    </a:cubicBezTo>
                    <a:cubicBezTo>
                      <a:pt x="333" y="60"/>
                      <a:pt x="333" y="60"/>
                      <a:pt x="333" y="60"/>
                    </a:cubicBezTo>
                    <a:cubicBezTo>
                      <a:pt x="329" y="59"/>
                      <a:pt x="329" y="59"/>
                      <a:pt x="329" y="59"/>
                    </a:cubicBezTo>
                    <a:cubicBezTo>
                      <a:pt x="325" y="59"/>
                      <a:pt x="325" y="59"/>
                      <a:pt x="325" y="59"/>
                    </a:cubicBezTo>
                    <a:cubicBezTo>
                      <a:pt x="320" y="58"/>
                      <a:pt x="320" y="58"/>
                      <a:pt x="320" y="58"/>
                    </a:cubicBezTo>
                    <a:cubicBezTo>
                      <a:pt x="316" y="58"/>
                      <a:pt x="316" y="58"/>
                      <a:pt x="316" y="58"/>
                    </a:cubicBezTo>
                    <a:cubicBezTo>
                      <a:pt x="309" y="59"/>
                      <a:pt x="309" y="59"/>
                      <a:pt x="309" y="59"/>
                    </a:cubicBezTo>
                    <a:cubicBezTo>
                      <a:pt x="302" y="59"/>
                      <a:pt x="302" y="59"/>
                      <a:pt x="302" y="59"/>
                    </a:cubicBezTo>
                    <a:cubicBezTo>
                      <a:pt x="296" y="61"/>
                      <a:pt x="296" y="61"/>
                      <a:pt x="296" y="61"/>
                    </a:cubicBezTo>
                    <a:cubicBezTo>
                      <a:pt x="289" y="63"/>
                      <a:pt x="289" y="63"/>
                      <a:pt x="289" y="63"/>
                    </a:cubicBezTo>
                    <a:cubicBezTo>
                      <a:pt x="283" y="65"/>
                      <a:pt x="283" y="65"/>
                      <a:pt x="283" y="65"/>
                    </a:cubicBezTo>
                    <a:cubicBezTo>
                      <a:pt x="278" y="68"/>
                      <a:pt x="278" y="68"/>
                      <a:pt x="278" y="68"/>
                    </a:cubicBezTo>
                    <a:cubicBezTo>
                      <a:pt x="272" y="71"/>
                      <a:pt x="272" y="71"/>
                      <a:pt x="272" y="71"/>
                    </a:cubicBezTo>
                    <a:cubicBezTo>
                      <a:pt x="266" y="75"/>
                      <a:pt x="266" y="75"/>
                      <a:pt x="266" y="75"/>
                    </a:cubicBezTo>
                    <a:cubicBezTo>
                      <a:pt x="261" y="66"/>
                      <a:pt x="261" y="66"/>
                      <a:pt x="261" y="66"/>
                    </a:cubicBezTo>
                    <a:cubicBezTo>
                      <a:pt x="256" y="59"/>
                      <a:pt x="256" y="59"/>
                      <a:pt x="256" y="59"/>
                    </a:cubicBezTo>
                    <a:cubicBezTo>
                      <a:pt x="250" y="51"/>
                      <a:pt x="250" y="51"/>
                      <a:pt x="250" y="51"/>
                    </a:cubicBezTo>
                    <a:cubicBezTo>
                      <a:pt x="243" y="44"/>
                      <a:pt x="243" y="44"/>
                      <a:pt x="243" y="44"/>
                    </a:cubicBezTo>
                    <a:cubicBezTo>
                      <a:pt x="237" y="38"/>
                      <a:pt x="237" y="38"/>
                      <a:pt x="237" y="38"/>
                    </a:cubicBezTo>
                    <a:cubicBezTo>
                      <a:pt x="229" y="31"/>
                      <a:pt x="229" y="31"/>
                      <a:pt x="229" y="31"/>
                    </a:cubicBezTo>
                    <a:cubicBezTo>
                      <a:pt x="222" y="26"/>
                      <a:pt x="222" y="26"/>
                      <a:pt x="222" y="26"/>
                    </a:cubicBezTo>
                    <a:cubicBezTo>
                      <a:pt x="214" y="21"/>
                      <a:pt x="214" y="21"/>
                      <a:pt x="214" y="21"/>
                    </a:cubicBezTo>
                    <a:cubicBezTo>
                      <a:pt x="206" y="16"/>
                      <a:pt x="206" y="16"/>
                      <a:pt x="206" y="16"/>
                    </a:cubicBezTo>
                    <a:cubicBezTo>
                      <a:pt x="198" y="12"/>
                      <a:pt x="198" y="12"/>
                      <a:pt x="198" y="12"/>
                    </a:cubicBezTo>
                    <a:cubicBezTo>
                      <a:pt x="189" y="9"/>
                      <a:pt x="189" y="9"/>
                      <a:pt x="189" y="9"/>
                    </a:cubicBezTo>
                    <a:cubicBezTo>
                      <a:pt x="180" y="5"/>
                      <a:pt x="180" y="5"/>
                      <a:pt x="180" y="5"/>
                    </a:cubicBezTo>
                    <a:cubicBezTo>
                      <a:pt x="170" y="3"/>
                      <a:pt x="170" y="3"/>
                      <a:pt x="170" y="3"/>
                    </a:cubicBezTo>
                    <a:cubicBezTo>
                      <a:pt x="161" y="2"/>
                      <a:pt x="161" y="2"/>
                      <a:pt x="161" y="2"/>
                    </a:cubicBezTo>
                    <a:cubicBezTo>
                      <a:pt x="151" y="0"/>
                      <a:pt x="151" y="0"/>
                      <a:pt x="151" y="0"/>
                    </a:cubicBezTo>
                    <a:cubicBezTo>
                      <a:pt x="141" y="0"/>
                      <a:pt x="141" y="0"/>
                      <a:pt x="141" y="0"/>
                    </a:cubicBezTo>
                    <a:cubicBezTo>
                      <a:pt x="134" y="0"/>
                      <a:pt x="134" y="0"/>
                      <a:pt x="134" y="0"/>
                    </a:cubicBezTo>
                    <a:cubicBezTo>
                      <a:pt x="127" y="1"/>
                      <a:pt x="127" y="1"/>
                      <a:pt x="127" y="1"/>
                    </a:cubicBezTo>
                    <a:cubicBezTo>
                      <a:pt x="119" y="2"/>
                      <a:pt x="119" y="2"/>
                      <a:pt x="119" y="2"/>
                    </a:cubicBezTo>
                    <a:cubicBezTo>
                      <a:pt x="112" y="3"/>
                      <a:pt x="112" y="3"/>
                      <a:pt x="112" y="3"/>
                    </a:cubicBezTo>
                    <a:cubicBezTo>
                      <a:pt x="105" y="5"/>
                      <a:pt x="105" y="5"/>
                      <a:pt x="105" y="5"/>
                    </a:cubicBezTo>
                    <a:cubicBezTo>
                      <a:pt x="98" y="7"/>
                      <a:pt x="98" y="7"/>
                      <a:pt x="98" y="7"/>
                    </a:cubicBezTo>
                    <a:cubicBezTo>
                      <a:pt x="91" y="10"/>
                      <a:pt x="91" y="10"/>
                      <a:pt x="91" y="10"/>
                    </a:cubicBezTo>
                    <a:cubicBezTo>
                      <a:pt x="85" y="12"/>
                      <a:pt x="85" y="12"/>
                      <a:pt x="85" y="12"/>
                    </a:cubicBezTo>
                    <a:cubicBezTo>
                      <a:pt x="78" y="15"/>
                      <a:pt x="78" y="15"/>
                      <a:pt x="78" y="15"/>
                    </a:cubicBezTo>
                    <a:cubicBezTo>
                      <a:pt x="72" y="19"/>
                      <a:pt x="72" y="19"/>
                      <a:pt x="72" y="19"/>
                    </a:cubicBezTo>
                    <a:cubicBezTo>
                      <a:pt x="66" y="23"/>
                      <a:pt x="66" y="23"/>
                      <a:pt x="66" y="23"/>
                    </a:cubicBezTo>
                    <a:cubicBezTo>
                      <a:pt x="60" y="27"/>
                      <a:pt x="60" y="27"/>
                      <a:pt x="60" y="27"/>
                    </a:cubicBezTo>
                    <a:cubicBezTo>
                      <a:pt x="54" y="31"/>
                      <a:pt x="54" y="31"/>
                      <a:pt x="54" y="31"/>
                    </a:cubicBezTo>
                    <a:cubicBezTo>
                      <a:pt x="49" y="35"/>
                      <a:pt x="49" y="35"/>
                      <a:pt x="49" y="35"/>
                    </a:cubicBezTo>
                    <a:cubicBezTo>
                      <a:pt x="44" y="40"/>
                      <a:pt x="44" y="40"/>
                      <a:pt x="44" y="40"/>
                    </a:cubicBezTo>
                    <a:cubicBezTo>
                      <a:pt x="38" y="45"/>
                      <a:pt x="38" y="45"/>
                      <a:pt x="38" y="45"/>
                    </a:cubicBezTo>
                    <a:cubicBezTo>
                      <a:pt x="34" y="51"/>
                      <a:pt x="34" y="51"/>
                      <a:pt x="34" y="51"/>
                    </a:cubicBezTo>
                    <a:cubicBezTo>
                      <a:pt x="29" y="56"/>
                      <a:pt x="29" y="56"/>
                      <a:pt x="29" y="56"/>
                    </a:cubicBezTo>
                    <a:cubicBezTo>
                      <a:pt x="25" y="62"/>
                      <a:pt x="25" y="62"/>
                      <a:pt x="25" y="62"/>
                    </a:cubicBezTo>
                    <a:cubicBezTo>
                      <a:pt x="21" y="68"/>
                      <a:pt x="21" y="68"/>
                      <a:pt x="21" y="68"/>
                    </a:cubicBezTo>
                    <a:cubicBezTo>
                      <a:pt x="17" y="74"/>
                      <a:pt x="17" y="74"/>
                      <a:pt x="17" y="74"/>
                    </a:cubicBezTo>
                    <a:cubicBezTo>
                      <a:pt x="13" y="81"/>
                      <a:pt x="13" y="81"/>
                      <a:pt x="13" y="81"/>
                    </a:cubicBezTo>
                    <a:cubicBezTo>
                      <a:pt x="10" y="88"/>
                      <a:pt x="10" y="88"/>
                      <a:pt x="10" y="88"/>
                    </a:cubicBezTo>
                    <a:cubicBezTo>
                      <a:pt x="7" y="95"/>
                      <a:pt x="7" y="95"/>
                      <a:pt x="7" y="95"/>
                    </a:cubicBezTo>
                    <a:cubicBezTo>
                      <a:pt x="4" y="101"/>
                      <a:pt x="4" y="101"/>
                      <a:pt x="4" y="101"/>
                    </a:cubicBezTo>
                    <a:cubicBezTo>
                      <a:pt x="2" y="109"/>
                      <a:pt x="2" y="109"/>
                      <a:pt x="2" y="109"/>
                    </a:cubicBezTo>
                    <a:cubicBezTo>
                      <a:pt x="0" y="116"/>
                      <a:pt x="0" y="116"/>
                      <a:pt x="0" y="116"/>
                    </a:cubicBezTo>
                    <a:cubicBezTo>
                      <a:pt x="0" y="120"/>
                      <a:pt x="0" y="120"/>
                      <a:pt x="0" y="120"/>
                    </a:cubicBezTo>
                    <a:cubicBezTo>
                      <a:pt x="113" y="120"/>
                      <a:pt x="113" y="120"/>
                      <a:pt x="113" y="120"/>
                    </a:cubicBezTo>
                    <a:cubicBezTo>
                      <a:pt x="113" y="368"/>
                      <a:pt x="113" y="368"/>
                      <a:pt x="113" y="368"/>
                    </a:cubicBezTo>
                    <a:lnTo>
                      <a:pt x="252" y="368"/>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black"/>
                  </a:solidFill>
                  <a:effectLst/>
                  <a:uLnTx/>
                  <a:uFillTx/>
                  <a:latin typeface="Calibri" panose="020F0502020204030204"/>
                </a:endParaRPr>
              </a:p>
            </p:txBody>
          </p:sp>
          <p:sp>
            <p:nvSpPr>
              <p:cNvPr id="43" name="Freeform 10"/>
              <p:cNvSpPr>
                <a:spLocks noEditPoints="1"/>
              </p:cNvSpPr>
              <p:nvPr/>
            </p:nvSpPr>
            <p:spPr bwMode="auto">
              <a:xfrm>
                <a:off x="4005137" y="3308163"/>
                <a:ext cx="268455" cy="409258"/>
              </a:xfrm>
              <a:custGeom>
                <a:avLst/>
                <a:gdLst>
                  <a:gd name="T0" fmla="*/ 249 w 319"/>
                  <a:gd name="T1" fmla="*/ 181 h 486"/>
                  <a:gd name="T2" fmla="*/ 249 w 319"/>
                  <a:gd name="T3" fmla="*/ 235 h 486"/>
                  <a:gd name="T4" fmla="*/ 177 w 319"/>
                  <a:gd name="T5" fmla="*/ 235 h 486"/>
                  <a:gd name="T6" fmla="*/ 177 w 319"/>
                  <a:gd name="T7" fmla="*/ 160 h 486"/>
                  <a:gd name="T8" fmla="*/ 242 w 319"/>
                  <a:gd name="T9" fmla="*/ 160 h 486"/>
                  <a:gd name="T10" fmla="*/ 234 w 319"/>
                  <a:gd name="T11" fmla="*/ 129 h 486"/>
                  <a:gd name="T12" fmla="*/ 177 w 319"/>
                  <a:gd name="T13" fmla="*/ 129 h 486"/>
                  <a:gd name="T14" fmla="*/ 177 w 319"/>
                  <a:gd name="T15" fmla="*/ 54 h 486"/>
                  <a:gd name="T16" fmla="*/ 230 w 319"/>
                  <a:gd name="T17" fmla="*/ 54 h 486"/>
                  <a:gd name="T18" fmla="*/ 242 w 319"/>
                  <a:gd name="T19" fmla="*/ 0 h 486"/>
                  <a:gd name="T20" fmla="*/ 0 w 319"/>
                  <a:gd name="T21" fmla="*/ 0 h 486"/>
                  <a:gd name="T22" fmla="*/ 0 w 319"/>
                  <a:gd name="T23" fmla="*/ 486 h 486"/>
                  <a:gd name="T24" fmla="*/ 319 w 319"/>
                  <a:gd name="T25" fmla="*/ 486 h 486"/>
                  <a:gd name="T26" fmla="*/ 319 w 319"/>
                  <a:gd name="T27" fmla="*/ 278 h 486"/>
                  <a:gd name="T28" fmla="*/ 249 w 319"/>
                  <a:gd name="T29" fmla="*/ 181 h 486"/>
                  <a:gd name="T30" fmla="*/ 135 w 319"/>
                  <a:gd name="T31" fmla="*/ 434 h 486"/>
                  <a:gd name="T32" fmla="*/ 62 w 319"/>
                  <a:gd name="T33" fmla="*/ 434 h 486"/>
                  <a:gd name="T34" fmla="*/ 62 w 319"/>
                  <a:gd name="T35" fmla="*/ 359 h 486"/>
                  <a:gd name="T36" fmla="*/ 135 w 319"/>
                  <a:gd name="T37" fmla="*/ 359 h 486"/>
                  <a:gd name="T38" fmla="*/ 135 w 319"/>
                  <a:gd name="T39" fmla="*/ 434 h 486"/>
                  <a:gd name="T40" fmla="*/ 135 w 319"/>
                  <a:gd name="T41" fmla="*/ 333 h 486"/>
                  <a:gd name="T42" fmla="*/ 62 w 319"/>
                  <a:gd name="T43" fmla="*/ 333 h 486"/>
                  <a:gd name="T44" fmla="*/ 62 w 319"/>
                  <a:gd name="T45" fmla="*/ 258 h 486"/>
                  <a:gd name="T46" fmla="*/ 135 w 319"/>
                  <a:gd name="T47" fmla="*/ 258 h 486"/>
                  <a:gd name="T48" fmla="*/ 135 w 319"/>
                  <a:gd name="T49" fmla="*/ 333 h 486"/>
                  <a:gd name="T50" fmla="*/ 135 w 319"/>
                  <a:gd name="T51" fmla="*/ 235 h 486"/>
                  <a:gd name="T52" fmla="*/ 62 w 319"/>
                  <a:gd name="T53" fmla="*/ 235 h 486"/>
                  <a:gd name="T54" fmla="*/ 62 w 319"/>
                  <a:gd name="T55" fmla="*/ 160 h 486"/>
                  <a:gd name="T56" fmla="*/ 135 w 319"/>
                  <a:gd name="T57" fmla="*/ 160 h 486"/>
                  <a:gd name="T58" fmla="*/ 135 w 319"/>
                  <a:gd name="T59" fmla="*/ 235 h 486"/>
                  <a:gd name="T60" fmla="*/ 135 w 319"/>
                  <a:gd name="T61" fmla="*/ 129 h 486"/>
                  <a:gd name="T62" fmla="*/ 62 w 319"/>
                  <a:gd name="T63" fmla="*/ 129 h 486"/>
                  <a:gd name="T64" fmla="*/ 62 w 319"/>
                  <a:gd name="T65" fmla="*/ 54 h 486"/>
                  <a:gd name="T66" fmla="*/ 135 w 319"/>
                  <a:gd name="T67" fmla="*/ 54 h 486"/>
                  <a:gd name="T68" fmla="*/ 135 w 319"/>
                  <a:gd name="T69" fmla="*/ 129 h 486"/>
                  <a:gd name="T70" fmla="*/ 249 w 319"/>
                  <a:gd name="T71" fmla="*/ 434 h 486"/>
                  <a:gd name="T72" fmla="*/ 177 w 319"/>
                  <a:gd name="T73" fmla="*/ 434 h 486"/>
                  <a:gd name="T74" fmla="*/ 177 w 319"/>
                  <a:gd name="T75" fmla="*/ 359 h 486"/>
                  <a:gd name="T76" fmla="*/ 249 w 319"/>
                  <a:gd name="T77" fmla="*/ 359 h 486"/>
                  <a:gd name="T78" fmla="*/ 249 w 319"/>
                  <a:gd name="T79" fmla="*/ 434 h 486"/>
                  <a:gd name="T80" fmla="*/ 249 w 319"/>
                  <a:gd name="T81" fmla="*/ 333 h 486"/>
                  <a:gd name="T82" fmla="*/ 177 w 319"/>
                  <a:gd name="T83" fmla="*/ 333 h 486"/>
                  <a:gd name="T84" fmla="*/ 177 w 319"/>
                  <a:gd name="T85" fmla="*/ 258 h 486"/>
                  <a:gd name="T86" fmla="*/ 249 w 319"/>
                  <a:gd name="T87" fmla="*/ 258 h 486"/>
                  <a:gd name="T88" fmla="*/ 249 w 319"/>
                  <a:gd name="T89" fmla="*/ 333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19" h="486">
                    <a:moveTo>
                      <a:pt x="249" y="181"/>
                    </a:moveTo>
                    <a:cubicBezTo>
                      <a:pt x="249" y="235"/>
                      <a:pt x="249" y="235"/>
                      <a:pt x="249" y="235"/>
                    </a:cubicBezTo>
                    <a:cubicBezTo>
                      <a:pt x="177" y="235"/>
                      <a:pt x="177" y="235"/>
                      <a:pt x="177" y="235"/>
                    </a:cubicBezTo>
                    <a:cubicBezTo>
                      <a:pt x="177" y="160"/>
                      <a:pt x="177" y="160"/>
                      <a:pt x="177" y="160"/>
                    </a:cubicBezTo>
                    <a:cubicBezTo>
                      <a:pt x="242" y="160"/>
                      <a:pt x="242" y="160"/>
                      <a:pt x="242" y="160"/>
                    </a:cubicBezTo>
                    <a:cubicBezTo>
                      <a:pt x="238" y="150"/>
                      <a:pt x="236" y="139"/>
                      <a:pt x="234" y="129"/>
                    </a:cubicBezTo>
                    <a:cubicBezTo>
                      <a:pt x="177" y="129"/>
                      <a:pt x="177" y="129"/>
                      <a:pt x="177" y="129"/>
                    </a:cubicBezTo>
                    <a:cubicBezTo>
                      <a:pt x="177" y="54"/>
                      <a:pt x="177" y="54"/>
                      <a:pt x="177" y="54"/>
                    </a:cubicBezTo>
                    <a:cubicBezTo>
                      <a:pt x="230" y="54"/>
                      <a:pt x="230" y="54"/>
                      <a:pt x="230" y="54"/>
                    </a:cubicBezTo>
                    <a:cubicBezTo>
                      <a:pt x="232" y="35"/>
                      <a:pt x="236" y="17"/>
                      <a:pt x="242" y="0"/>
                    </a:cubicBezTo>
                    <a:cubicBezTo>
                      <a:pt x="0" y="0"/>
                      <a:pt x="0" y="0"/>
                      <a:pt x="0" y="0"/>
                    </a:cubicBezTo>
                    <a:cubicBezTo>
                      <a:pt x="0" y="486"/>
                      <a:pt x="0" y="486"/>
                      <a:pt x="0" y="486"/>
                    </a:cubicBezTo>
                    <a:cubicBezTo>
                      <a:pt x="319" y="486"/>
                      <a:pt x="319" y="486"/>
                      <a:pt x="319" y="486"/>
                    </a:cubicBezTo>
                    <a:cubicBezTo>
                      <a:pt x="319" y="278"/>
                      <a:pt x="319" y="278"/>
                      <a:pt x="319" y="278"/>
                    </a:cubicBezTo>
                    <a:cubicBezTo>
                      <a:pt x="289" y="251"/>
                      <a:pt x="265" y="218"/>
                      <a:pt x="249" y="181"/>
                    </a:cubicBezTo>
                    <a:close/>
                    <a:moveTo>
                      <a:pt x="135" y="434"/>
                    </a:moveTo>
                    <a:cubicBezTo>
                      <a:pt x="62" y="434"/>
                      <a:pt x="62" y="434"/>
                      <a:pt x="62" y="434"/>
                    </a:cubicBezTo>
                    <a:cubicBezTo>
                      <a:pt x="62" y="359"/>
                      <a:pt x="62" y="359"/>
                      <a:pt x="62" y="359"/>
                    </a:cubicBezTo>
                    <a:cubicBezTo>
                      <a:pt x="135" y="359"/>
                      <a:pt x="135" y="359"/>
                      <a:pt x="135" y="359"/>
                    </a:cubicBezTo>
                    <a:lnTo>
                      <a:pt x="135" y="434"/>
                    </a:lnTo>
                    <a:close/>
                    <a:moveTo>
                      <a:pt x="135" y="333"/>
                    </a:moveTo>
                    <a:cubicBezTo>
                      <a:pt x="62" y="333"/>
                      <a:pt x="62" y="333"/>
                      <a:pt x="62" y="333"/>
                    </a:cubicBezTo>
                    <a:cubicBezTo>
                      <a:pt x="62" y="258"/>
                      <a:pt x="62" y="258"/>
                      <a:pt x="62" y="258"/>
                    </a:cubicBezTo>
                    <a:cubicBezTo>
                      <a:pt x="135" y="258"/>
                      <a:pt x="135" y="258"/>
                      <a:pt x="135" y="258"/>
                    </a:cubicBezTo>
                    <a:lnTo>
                      <a:pt x="135" y="333"/>
                    </a:lnTo>
                    <a:close/>
                    <a:moveTo>
                      <a:pt x="135" y="235"/>
                    </a:moveTo>
                    <a:cubicBezTo>
                      <a:pt x="62" y="235"/>
                      <a:pt x="62" y="235"/>
                      <a:pt x="62" y="235"/>
                    </a:cubicBezTo>
                    <a:cubicBezTo>
                      <a:pt x="62" y="160"/>
                      <a:pt x="62" y="160"/>
                      <a:pt x="62" y="160"/>
                    </a:cubicBezTo>
                    <a:cubicBezTo>
                      <a:pt x="135" y="160"/>
                      <a:pt x="135" y="160"/>
                      <a:pt x="135" y="160"/>
                    </a:cubicBezTo>
                    <a:lnTo>
                      <a:pt x="135" y="235"/>
                    </a:lnTo>
                    <a:close/>
                    <a:moveTo>
                      <a:pt x="135" y="129"/>
                    </a:moveTo>
                    <a:cubicBezTo>
                      <a:pt x="62" y="129"/>
                      <a:pt x="62" y="129"/>
                      <a:pt x="62" y="129"/>
                    </a:cubicBezTo>
                    <a:cubicBezTo>
                      <a:pt x="62" y="54"/>
                      <a:pt x="62" y="54"/>
                      <a:pt x="62" y="54"/>
                    </a:cubicBezTo>
                    <a:cubicBezTo>
                      <a:pt x="135" y="54"/>
                      <a:pt x="135" y="54"/>
                      <a:pt x="135" y="54"/>
                    </a:cubicBezTo>
                    <a:lnTo>
                      <a:pt x="135" y="129"/>
                    </a:lnTo>
                    <a:close/>
                    <a:moveTo>
                      <a:pt x="249" y="434"/>
                    </a:moveTo>
                    <a:cubicBezTo>
                      <a:pt x="177" y="434"/>
                      <a:pt x="177" y="434"/>
                      <a:pt x="177" y="434"/>
                    </a:cubicBezTo>
                    <a:cubicBezTo>
                      <a:pt x="177" y="359"/>
                      <a:pt x="177" y="359"/>
                      <a:pt x="177" y="359"/>
                    </a:cubicBezTo>
                    <a:cubicBezTo>
                      <a:pt x="249" y="359"/>
                      <a:pt x="249" y="359"/>
                      <a:pt x="249" y="359"/>
                    </a:cubicBezTo>
                    <a:lnTo>
                      <a:pt x="249" y="434"/>
                    </a:lnTo>
                    <a:close/>
                    <a:moveTo>
                      <a:pt x="249" y="333"/>
                    </a:moveTo>
                    <a:cubicBezTo>
                      <a:pt x="177" y="333"/>
                      <a:pt x="177" y="333"/>
                      <a:pt x="177" y="333"/>
                    </a:cubicBezTo>
                    <a:cubicBezTo>
                      <a:pt x="177" y="258"/>
                      <a:pt x="177" y="258"/>
                      <a:pt x="177" y="258"/>
                    </a:cubicBezTo>
                    <a:cubicBezTo>
                      <a:pt x="249" y="258"/>
                      <a:pt x="249" y="258"/>
                      <a:pt x="249" y="258"/>
                    </a:cubicBezTo>
                    <a:lnTo>
                      <a:pt x="249" y="333"/>
                    </a:lnTo>
                    <a:close/>
                  </a:path>
                </a:pathLst>
              </a:custGeom>
              <a:solidFill>
                <a:sysClr val="window" lastClr="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black"/>
                  </a:solidFill>
                  <a:effectLst/>
                  <a:uLnTx/>
                  <a:uFillTx/>
                  <a:latin typeface="Calibri" panose="020F0502020204030204"/>
                </a:endParaRPr>
              </a:p>
            </p:txBody>
          </p:sp>
          <p:sp>
            <p:nvSpPr>
              <p:cNvPr id="44" name="Freeform 43"/>
              <p:cNvSpPr>
                <a:spLocks/>
              </p:cNvSpPr>
              <p:nvPr/>
            </p:nvSpPr>
            <p:spPr bwMode="auto">
              <a:xfrm>
                <a:off x="4398395" y="3222485"/>
                <a:ext cx="788280" cy="517868"/>
              </a:xfrm>
              <a:custGeom>
                <a:avLst/>
                <a:gdLst>
                  <a:gd name="connsiteX0" fmla="*/ 342802 w 788280"/>
                  <a:gd name="connsiteY0" fmla="*/ 0 h 517868"/>
                  <a:gd name="connsiteX1" fmla="*/ 523988 w 788280"/>
                  <a:gd name="connsiteY1" fmla="*/ 96819 h 517868"/>
                  <a:gd name="connsiteX2" fmla="*/ 583885 w 788280"/>
                  <a:gd name="connsiteY2" fmla="*/ 81058 h 517868"/>
                  <a:gd name="connsiteX3" fmla="*/ 654263 w 788280"/>
                  <a:gd name="connsiteY3" fmla="*/ 102073 h 517868"/>
                  <a:gd name="connsiteX4" fmla="*/ 710415 w 788280"/>
                  <a:gd name="connsiteY4" fmla="*/ 204145 h 517868"/>
                  <a:gd name="connsiteX5" fmla="*/ 788280 w 788280"/>
                  <a:gd name="connsiteY5" fmla="*/ 347497 h 517868"/>
                  <a:gd name="connsiteX6" fmla="*/ 636294 w 788280"/>
                  <a:gd name="connsiteY6" fmla="*/ 517868 h 517868"/>
                  <a:gd name="connsiteX7" fmla="*/ 616827 w 788280"/>
                  <a:gd name="connsiteY7" fmla="*/ 517868 h 517868"/>
                  <a:gd name="connsiteX8" fmla="*/ 599607 w 788280"/>
                  <a:gd name="connsiteY8" fmla="*/ 517868 h 517868"/>
                  <a:gd name="connsiteX9" fmla="*/ 243974 w 788280"/>
                  <a:gd name="connsiteY9" fmla="*/ 517868 h 517868"/>
                  <a:gd name="connsiteX10" fmla="*/ 237236 w 788280"/>
                  <a:gd name="connsiteY10" fmla="*/ 517868 h 517868"/>
                  <a:gd name="connsiteX11" fmla="*/ 228251 w 788280"/>
                  <a:gd name="connsiteY11" fmla="*/ 517868 h 517868"/>
                  <a:gd name="connsiteX12" fmla="*/ 202047 w 788280"/>
                  <a:gd name="connsiteY12" fmla="*/ 517868 h 517868"/>
                  <a:gd name="connsiteX13" fmla="*/ 145145 w 788280"/>
                  <a:gd name="connsiteY13" fmla="*/ 517868 h 517868"/>
                  <a:gd name="connsiteX14" fmla="*/ 10589 w 788280"/>
                  <a:gd name="connsiteY14" fmla="*/ 427734 h 517868"/>
                  <a:gd name="connsiteX15" fmla="*/ 0 w 788280"/>
                  <a:gd name="connsiteY15" fmla="*/ 375702 h 517868"/>
                  <a:gd name="connsiteX16" fmla="*/ 19198 w 788280"/>
                  <a:gd name="connsiteY16" fmla="*/ 377637 h 517868"/>
                  <a:gd name="connsiteX17" fmla="*/ 243598 w 788280"/>
                  <a:gd name="connsiteY17" fmla="*/ 153238 h 517868"/>
                  <a:gd name="connsiteX18" fmla="*/ 225964 w 788280"/>
                  <a:gd name="connsiteY18" fmla="*/ 65892 h 517868"/>
                  <a:gd name="connsiteX19" fmla="*/ 213205 w 788280"/>
                  <a:gd name="connsiteY19" fmla="*/ 46969 h 517868"/>
                  <a:gd name="connsiteX20" fmla="*/ 257907 w 788280"/>
                  <a:gd name="connsiteY20" fmla="*/ 17004 h 517868"/>
                  <a:gd name="connsiteX21" fmla="*/ 342802 w 788280"/>
                  <a:gd name="connsiteY21" fmla="*/ 0 h 517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88280" h="517868">
                    <a:moveTo>
                      <a:pt x="342802" y="0"/>
                    </a:moveTo>
                    <a:cubicBezTo>
                      <a:pt x="418421" y="0"/>
                      <a:pt x="485056" y="39028"/>
                      <a:pt x="523988" y="96819"/>
                    </a:cubicBezTo>
                    <a:cubicBezTo>
                      <a:pt x="541957" y="87062"/>
                      <a:pt x="562172" y="81058"/>
                      <a:pt x="583885" y="81058"/>
                    </a:cubicBezTo>
                    <a:cubicBezTo>
                      <a:pt x="610089" y="81058"/>
                      <a:pt x="634048" y="88563"/>
                      <a:pt x="654263" y="102073"/>
                    </a:cubicBezTo>
                    <a:cubicBezTo>
                      <a:pt x="687205" y="124589"/>
                      <a:pt x="708918" y="161365"/>
                      <a:pt x="710415" y="204145"/>
                    </a:cubicBezTo>
                    <a:cubicBezTo>
                      <a:pt x="756835" y="234167"/>
                      <a:pt x="788280" y="288205"/>
                      <a:pt x="788280" y="347497"/>
                    </a:cubicBezTo>
                    <a:cubicBezTo>
                      <a:pt x="788280" y="435309"/>
                      <a:pt x="721646" y="507361"/>
                      <a:pt x="636294" y="517868"/>
                    </a:cubicBezTo>
                    <a:cubicBezTo>
                      <a:pt x="630304" y="517868"/>
                      <a:pt x="622817" y="517868"/>
                      <a:pt x="616827" y="517868"/>
                    </a:cubicBezTo>
                    <a:cubicBezTo>
                      <a:pt x="611587" y="517868"/>
                      <a:pt x="605597" y="517868"/>
                      <a:pt x="599607" y="517868"/>
                    </a:cubicBezTo>
                    <a:cubicBezTo>
                      <a:pt x="520245" y="517868"/>
                      <a:pt x="333069" y="517868"/>
                      <a:pt x="243974" y="517868"/>
                    </a:cubicBezTo>
                    <a:cubicBezTo>
                      <a:pt x="241728" y="517868"/>
                      <a:pt x="238733" y="517868"/>
                      <a:pt x="237236" y="517868"/>
                    </a:cubicBezTo>
                    <a:cubicBezTo>
                      <a:pt x="228251" y="517868"/>
                      <a:pt x="228251" y="517868"/>
                      <a:pt x="228251" y="517868"/>
                    </a:cubicBezTo>
                    <a:cubicBezTo>
                      <a:pt x="223759" y="517868"/>
                      <a:pt x="211031" y="517868"/>
                      <a:pt x="202047" y="517868"/>
                    </a:cubicBezTo>
                    <a:cubicBezTo>
                      <a:pt x="145145" y="517868"/>
                      <a:pt x="145145" y="517868"/>
                      <a:pt x="145145" y="517868"/>
                    </a:cubicBezTo>
                    <a:cubicBezTo>
                      <a:pt x="84500" y="516742"/>
                      <a:pt x="32699" y="479732"/>
                      <a:pt x="10589" y="427734"/>
                    </a:cubicBezTo>
                    <a:lnTo>
                      <a:pt x="0" y="375702"/>
                    </a:lnTo>
                    <a:lnTo>
                      <a:pt x="19198" y="377637"/>
                    </a:lnTo>
                    <a:cubicBezTo>
                      <a:pt x="143131" y="377637"/>
                      <a:pt x="243598" y="277170"/>
                      <a:pt x="243598" y="153238"/>
                    </a:cubicBezTo>
                    <a:cubicBezTo>
                      <a:pt x="243598" y="122255"/>
                      <a:pt x="237319" y="92739"/>
                      <a:pt x="225964" y="65892"/>
                    </a:cubicBezTo>
                    <a:lnTo>
                      <a:pt x="213205" y="46969"/>
                    </a:lnTo>
                    <a:lnTo>
                      <a:pt x="257907" y="17004"/>
                    </a:lnTo>
                    <a:cubicBezTo>
                      <a:pt x="283982" y="6051"/>
                      <a:pt x="312667" y="0"/>
                      <a:pt x="342802" y="0"/>
                    </a:cubicBezTo>
                    <a:close/>
                  </a:path>
                </a:pathLst>
              </a:custGeom>
              <a:solidFill>
                <a:sysClr val="window" lastClr="FFFFFF"/>
              </a:solidFill>
              <a:ln>
                <a:noFill/>
              </a:ln>
            </p:spPr>
            <p:txBody>
              <a:bodyPr vert="horz" wrap="square" lIns="89630" tIns="44814" rIns="89630" bIns="44814" numCol="1" anchor="t" anchorCtr="0" compatLnSpc="1">
                <a:prstTxWarp prst="textNoShape">
                  <a:avLst/>
                </a:prstTxWarp>
                <a:noAutofit/>
              </a:bodyPr>
              <a:lstStyle/>
              <a:p>
                <a:pPr marL="0" marR="0" lvl="0" indent="0" defTabSz="91377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Segoe UI Light"/>
                </a:endParaRPr>
              </a:p>
            </p:txBody>
          </p:sp>
        </p:grpSp>
      </p:grpSp>
      <p:sp>
        <p:nvSpPr>
          <p:cNvPr id="49" name="Freeform 48"/>
          <p:cNvSpPr>
            <a:spLocks noChangeAspect="1"/>
          </p:cNvSpPr>
          <p:nvPr/>
        </p:nvSpPr>
        <p:spPr bwMode="auto">
          <a:xfrm rot="3757204">
            <a:off x="10213214" y="4013316"/>
            <a:ext cx="337207" cy="431337"/>
          </a:xfrm>
          <a:custGeom>
            <a:avLst/>
            <a:gdLst>
              <a:gd name="connsiteX0" fmla="*/ 275876 w 343969"/>
              <a:gd name="connsiteY0" fmla="*/ 140549 h 439986"/>
              <a:gd name="connsiteX1" fmla="*/ 312114 w 343969"/>
              <a:gd name="connsiteY1" fmla="*/ 70579 h 439986"/>
              <a:gd name="connsiteX2" fmla="*/ 334854 w 343969"/>
              <a:gd name="connsiteY2" fmla="*/ 63357 h 439986"/>
              <a:gd name="connsiteX3" fmla="*/ 342076 w 343969"/>
              <a:gd name="connsiteY3" fmla="*/ 86097 h 439986"/>
              <a:gd name="connsiteX4" fmla="*/ 305838 w 343969"/>
              <a:gd name="connsiteY4" fmla="*/ 156066 h 439986"/>
              <a:gd name="connsiteX5" fmla="*/ 283099 w 343969"/>
              <a:gd name="connsiteY5" fmla="*/ 163288 h 439986"/>
              <a:gd name="connsiteX6" fmla="*/ 275876 w 343969"/>
              <a:gd name="connsiteY6" fmla="*/ 140549 h 439986"/>
              <a:gd name="connsiteX7" fmla="*/ 133553 w 343969"/>
              <a:gd name="connsiteY7" fmla="*/ 415354 h 439986"/>
              <a:gd name="connsiteX8" fmla="*/ 169790 w 343969"/>
              <a:gd name="connsiteY8" fmla="*/ 345385 h 439986"/>
              <a:gd name="connsiteX9" fmla="*/ 192530 w 343969"/>
              <a:gd name="connsiteY9" fmla="*/ 338163 h 439986"/>
              <a:gd name="connsiteX10" fmla="*/ 199752 w 343969"/>
              <a:gd name="connsiteY10" fmla="*/ 360902 h 439986"/>
              <a:gd name="connsiteX11" fmla="*/ 163514 w 343969"/>
              <a:gd name="connsiteY11" fmla="*/ 430871 h 439986"/>
              <a:gd name="connsiteX12" fmla="*/ 140775 w 343969"/>
              <a:gd name="connsiteY12" fmla="*/ 438093 h 439986"/>
              <a:gd name="connsiteX13" fmla="*/ 133553 w 343969"/>
              <a:gd name="connsiteY13" fmla="*/ 415354 h 439986"/>
              <a:gd name="connsiteX14" fmla="*/ 215391 w 343969"/>
              <a:gd name="connsiteY14" fmla="*/ 10304 h 439986"/>
              <a:gd name="connsiteX15" fmla="*/ 230936 w 343969"/>
              <a:gd name="connsiteY15" fmla="*/ 0 h 439986"/>
              <a:gd name="connsiteX16" fmla="*/ 247806 w 343969"/>
              <a:gd name="connsiteY16" fmla="*/ 16870 h 439986"/>
              <a:gd name="connsiteX17" fmla="*/ 247806 w 343969"/>
              <a:gd name="connsiteY17" fmla="*/ 128656 h 439986"/>
              <a:gd name="connsiteX18" fmla="*/ 230935 w 343969"/>
              <a:gd name="connsiteY18" fmla="*/ 145527 h 439986"/>
              <a:gd name="connsiteX19" fmla="*/ 214065 w 343969"/>
              <a:gd name="connsiteY19" fmla="*/ 128656 h 439986"/>
              <a:gd name="connsiteX20" fmla="*/ 214065 w 343969"/>
              <a:gd name="connsiteY20" fmla="*/ 16871 h 439986"/>
              <a:gd name="connsiteX21" fmla="*/ 215391 w 343969"/>
              <a:gd name="connsiteY21" fmla="*/ 10304 h 439986"/>
              <a:gd name="connsiteX22" fmla="*/ 26135 w 343969"/>
              <a:gd name="connsiteY22" fmla="*/ 375338 h 439986"/>
              <a:gd name="connsiteX23" fmla="*/ 30701 w 343969"/>
              <a:gd name="connsiteY23" fmla="*/ 370435 h 439986"/>
              <a:gd name="connsiteX24" fmla="*/ 121565 w 343969"/>
              <a:gd name="connsiteY24" fmla="*/ 305321 h 439986"/>
              <a:gd name="connsiteX25" fmla="*/ 145105 w 343969"/>
              <a:gd name="connsiteY25" fmla="*/ 309208 h 439986"/>
              <a:gd name="connsiteX26" fmla="*/ 141219 w 343969"/>
              <a:gd name="connsiteY26" fmla="*/ 332747 h 439986"/>
              <a:gd name="connsiteX27" fmla="*/ 50355 w 343969"/>
              <a:gd name="connsiteY27" fmla="*/ 397861 h 439986"/>
              <a:gd name="connsiteX28" fmla="*/ 26814 w 343969"/>
              <a:gd name="connsiteY28" fmla="*/ 393975 h 439986"/>
              <a:gd name="connsiteX29" fmla="*/ 26135 w 343969"/>
              <a:gd name="connsiteY29" fmla="*/ 375338 h 439986"/>
              <a:gd name="connsiteX30" fmla="*/ 31724 w 343969"/>
              <a:gd name="connsiteY30" fmla="*/ 262892 h 439986"/>
              <a:gd name="connsiteX31" fmla="*/ 46175 w 343969"/>
              <a:gd name="connsiteY31" fmla="*/ 251103 h 439986"/>
              <a:gd name="connsiteX32" fmla="*/ 104115 w 343969"/>
              <a:gd name="connsiteY32" fmla="*/ 245351 h 439986"/>
              <a:gd name="connsiteX33" fmla="*/ 122569 w 343969"/>
              <a:gd name="connsiteY33" fmla="*/ 260473 h 439986"/>
              <a:gd name="connsiteX34" fmla="*/ 107448 w 343969"/>
              <a:gd name="connsiteY34" fmla="*/ 278927 h 439986"/>
              <a:gd name="connsiteX35" fmla="*/ 49508 w 343969"/>
              <a:gd name="connsiteY35" fmla="*/ 284679 h 439986"/>
              <a:gd name="connsiteX36" fmla="*/ 31054 w 343969"/>
              <a:gd name="connsiteY36" fmla="*/ 269557 h 439986"/>
              <a:gd name="connsiteX37" fmla="*/ 31724 w 343969"/>
              <a:gd name="connsiteY37" fmla="*/ 262892 h 439986"/>
              <a:gd name="connsiteX38" fmla="*/ 126087 w 343969"/>
              <a:gd name="connsiteY38" fmla="*/ 78997 h 439986"/>
              <a:gd name="connsiteX39" fmla="*/ 131119 w 343969"/>
              <a:gd name="connsiteY39" fmla="*/ 74574 h 439986"/>
              <a:gd name="connsiteX40" fmla="*/ 154154 w 343969"/>
              <a:gd name="connsiteY40" fmla="*/ 80791 h 439986"/>
              <a:gd name="connsiteX41" fmla="*/ 183174 w 343969"/>
              <a:gd name="connsiteY41" fmla="*/ 131268 h 439986"/>
              <a:gd name="connsiteX42" fmla="*/ 176957 w 343969"/>
              <a:gd name="connsiteY42" fmla="*/ 154302 h 439986"/>
              <a:gd name="connsiteX43" fmla="*/ 153922 w 343969"/>
              <a:gd name="connsiteY43" fmla="*/ 148085 h 439986"/>
              <a:gd name="connsiteX44" fmla="*/ 124903 w 343969"/>
              <a:gd name="connsiteY44" fmla="*/ 97609 h 439986"/>
              <a:gd name="connsiteX45" fmla="*/ 126087 w 343969"/>
              <a:gd name="connsiteY45" fmla="*/ 78997 h 439986"/>
              <a:gd name="connsiteX46" fmla="*/ 2076 w 343969"/>
              <a:gd name="connsiteY46" fmla="*/ 129836 h 439986"/>
              <a:gd name="connsiteX47" fmla="*/ 27014 w 343969"/>
              <a:gd name="connsiteY47" fmla="*/ 121915 h 439986"/>
              <a:gd name="connsiteX48" fmla="*/ 135164 w 343969"/>
              <a:gd name="connsiteY48" fmla="*/ 177926 h 439986"/>
              <a:gd name="connsiteX49" fmla="*/ 143084 w 343969"/>
              <a:gd name="connsiteY49" fmla="*/ 202865 h 439986"/>
              <a:gd name="connsiteX50" fmla="*/ 118146 w 343969"/>
              <a:gd name="connsiteY50" fmla="*/ 210785 h 439986"/>
              <a:gd name="connsiteX51" fmla="*/ 9997 w 343969"/>
              <a:gd name="connsiteY51" fmla="*/ 154774 h 439986"/>
              <a:gd name="connsiteX52" fmla="*/ 2076 w 343969"/>
              <a:gd name="connsiteY52" fmla="*/ 129836 h 439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343969" h="439986">
                <a:moveTo>
                  <a:pt x="275876" y="140549"/>
                </a:moveTo>
                <a:lnTo>
                  <a:pt x="312114" y="70579"/>
                </a:lnTo>
                <a:cubicBezTo>
                  <a:pt x="316399" y="62306"/>
                  <a:pt x="326580" y="59072"/>
                  <a:pt x="334854" y="63357"/>
                </a:cubicBezTo>
                <a:cubicBezTo>
                  <a:pt x="343127" y="67643"/>
                  <a:pt x="346361" y="77823"/>
                  <a:pt x="342076" y="86097"/>
                </a:cubicBezTo>
                <a:lnTo>
                  <a:pt x="305838" y="156066"/>
                </a:lnTo>
                <a:cubicBezTo>
                  <a:pt x="301553" y="164340"/>
                  <a:pt x="291372" y="167573"/>
                  <a:pt x="283099" y="163288"/>
                </a:cubicBezTo>
                <a:cubicBezTo>
                  <a:pt x="274825" y="159003"/>
                  <a:pt x="271592" y="148823"/>
                  <a:pt x="275876" y="140549"/>
                </a:cubicBezTo>
                <a:close/>
                <a:moveTo>
                  <a:pt x="133553" y="415354"/>
                </a:moveTo>
                <a:lnTo>
                  <a:pt x="169790" y="345385"/>
                </a:lnTo>
                <a:cubicBezTo>
                  <a:pt x="174075" y="337112"/>
                  <a:pt x="184256" y="333877"/>
                  <a:pt x="192530" y="338163"/>
                </a:cubicBezTo>
                <a:cubicBezTo>
                  <a:pt x="200803" y="342447"/>
                  <a:pt x="204037" y="352629"/>
                  <a:pt x="199752" y="360902"/>
                </a:cubicBezTo>
                <a:lnTo>
                  <a:pt x="163514" y="430871"/>
                </a:lnTo>
                <a:cubicBezTo>
                  <a:pt x="159229" y="439145"/>
                  <a:pt x="149048" y="442378"/>
                  <a:pt x="140775" y="438093"/>
                </a:cubicBezTo>
                <a:cubicBezTo>
                  <a:pt x="132501" y="433809"/>
                  <a:pt x="129268" y="423628"/>
                  <a:pt x="133553" y="415354"/>
                </a:cubicBezTo>
                <a:close/>
                <a:moveTo>
                  <a:pt x="215391" y="10304"/>
                </a:moveTo>
                <a:cubicBezTo>
                  <a:pt x="217952" y="4249"/>
                  <a:pt x="223948" y="0"/>
                  <a:pt x="230936" y="0"/>
                </a:cubicBezTo>
                <a:cubicBezTo>
                  <a:pt x="240253" y="0"/>
                  <a:pt x="247806" y="7553"/>
                  <a:pt x="247806" y="16870"/>
                </a:cubicBezTo>
                <a:lnTo>
                  <a:pt x="247806" y="128656"/>
                </a:lnTo>
                <a:cubicBezTo>
                  <a:pt x="247806" y="137974"/>
                  <a:pt x="240253" y="145527"/>
                  <a:pt x="230935" y="145527"/>
                </a:cubicBezTo>
                <a:cubicBezTo>
                  <a:pt x="221619" y="145526"/>
                  <a:pt x="214065" y="137973"/>
                  <a:pt x="214065" y="128656"/>
                </a:cubicBezTo>
                <a:lnTo>
                  <a:pt x="214065" y="16871"/>
                </a:lnTo>
                <a:cubicBezTo>
                  <a:pt x="214065" y="14541"/>
                  <a:pt x="214537" y="12323"/>
                  <a:pt x="215391" y="10304"/>
                </a:cubicBezTo>
                <a:close/>
                <a:moveTo>
                  <a:pt x="26135" y="375338"/>
                </a:moveTo>
                <a:cubicBezTo>
                  <a:pt x="27279" y="373468"/>
                  <a:pt x="28807" y="371793"/>
                  <a:pt x="30701" y="370435"/>
                </a:cubicBezTo>
                <a:lnTo>
                  <a:pt x="121565" y="305321"/>
                </a:lnTo>
                <a:cubicBezTo>
                  <a:pt x="129138" y="299894"/>
                  <a:pt x="139677" y="301634"/>
                  <a:pt x="145105" y="309208"/>
                </a:cubicBezTo>
                <a:cubicBezTo>
                  <a:pt x="150532" y="316781"/>
                  <a:pt x="148792" y="327320"/>
                  <a:pt x="141219" y="332747"/>
                </a:cubicBezTo>
                <a:lnTo>
                  <a:pt x="50355" y="397861"/>
                </a:lnTo>
                <a:cubicBezTo>
                  <a:pt x="42781" y="403289"/>
                  <a:pt x="32242" y="401548"/>
                  <a:pt x="26814" y="393975"/>
                </a:cubicBezTo>
                <a:cubicBezTo>
                  <a:pt x="22744" y="388296"/>
                  <a:pt x="22705" y="380947"/>
                  <a:pt x="26135" y="375338"/>
                </a:cubicBezTo>
                <a:close/>
                <a:moveTo>
                  <a:pt x="31724" y="262892"/>
                </a:moveTo>
                <a:cubicBezTo>
                  <a:pt x="33675" y="256613"/>
                  <a:pt x="39222" y="251793"/>
                  <a:pt x="46175" y="251103"/>
                </a:cubicBezTo>
                <a:lnTo>
                  <a:pt x="104115" y="245351"/>
                </a:lnTo>
                <a:cubicBezTo>
                  <a:pt x="113386" y="244431"/>
                  <a:pt x="121649" y="251201"/>
                  <a:pt x="122569" y="260473"/>
                </a:cubicBezTo>
                <a:cubicBezTo>
                  <a:pt x="123489" y="269745"/>
                  <a:pt x="116719" y="278007"/>
                  <a:pt x="107448" y="278927"/>
                </a:cubicBezTo>
                <a:lnTo>
                  <a:pt x="49508" y="284679"/>
                </a:lnTo>
                <a:cubicBezTo>
                  <a:pt x="40236" y="285599"/>
                  <a:pt x="31974" y="278829"/>
                  <a:pt x="31054" y="269557"/>
                </a:cubicBezTo>
                <a:cubicBezTo>
                  <a:pt x="30823" y="267239"/>
                  <a:pt x="31074" y="264984"/>
                  <a:pt x="31724" y="262892"/>
                </a:cubicBezTo>
                <a:close/>
                <a:moveTo>
                  <a:pt x="126087" y="78997"/>
                </a:moveTo>
                <a:cubicBezTo>
                  <a:pt x="127412" y="77251"/>
                  <a:pt x="129100" y="75736"/>
                  <a:pt x="131119" y="74574"/>
                </a:cubicBezTo>
                <a:cubicBezTo>
                  <a:pt x="139197" y="69931"/>
                  <a:pt x="149510" y="72715"/>
                  <a:pt x="154154" y="80791"/>
                </a:cubicBezTo>
                <a:lnTo>
                  <a:pt x="183174" y="131268"/>
                </a:lnTo>
                <a:cubicBezTo>
                  <a:pt x="187818" y="139345"/>
                  <a:pt x="185034" y="149658"/>
                  <a:pt x="176957" y="154302"/>
                </a:cubicBezTo>
                <a:cubicBezTo>
                  <a:pt x="168879" y="158946"/>
                  <a:pt x="158566" y="156163"/>
                  <a:pt x="153922" y="148085"/>
                </a:cubicBezTo>
                <a:lnTo>
                  <a:pt x="124903" y="97609"/>
                </a:lnTo>
                <a:cubicBezTo>
                  <a:pt x="121420" y="91550"/>
                  <a:pt x="122114" y="84235"/>
                  <a:pt x="126087" y="78997"/>
                </a:cubicBezTo>
                <a:close/>
                <a:moveTo>
                  <a:pt x="2076" y="129836"/>
                </a:moveTo>
                <a:cubicBezTo>
                  <a:pt x="6776" y="120762"/>
                  <a:pt x="17941" y="117216"/>
                  <a:pt x="27014" y="121915"/>
                </a:cubicBezTo>
                <a:lnTo>
                  <a:pt x="135164" y="177926"/>
                </a:lnTo>
                <a:cubicBezTo>
                  <a:pt x="144238" y="182626"/>
                  <a:pt x="147784" y="193791"/>
                  <a:pt x="143084" y="202865"/>
                </a:cubicBezTo>
                <a:cubicBezTo>
                  <a:pt x="138385" y="211938"/>
                  <a:pt x="127220" y="215484"/>
                  <a:pt x="118146" y="210785"/>
                </a:cubicBezTo>
                <a:lnTo>
                  <a:pt x="9997" y="154774"/>
                </a:lnTo>
                <a:cubicBezTo>
                  <a:pt x="923" y="150074"/>
                  <a:pt x="-2623" y="138909"/>
                  <a:pt x="2076" y="129836"/>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2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50" name="Group 49"/>
          <p:cNvGrpSpPr/>
          <p:nvPr/>
        </p:nvGrpSpPr>
        <p:grpSpPr>
          <a:xfrm>
            <a:off x="827655" y="3573642"/>
            <a:ext cx="1669726" cy="1875549"/>
            <a:chOff x="845055" y="2423485"/>
            <a:chExt cx="1703207" cy="1913158"/>
          </a:xfrm>
        </p:grpSpPr>
        <p:grpSp>
          <p:nvGrpSpPr>
            <p:cNvPr id="51" name="Group 50"/>
            <p:cNvGrpSpPr/>
            <p:nvPr/>
          </p:nvGrpSpPr>
          <p:grpSpPr>
            <a:xfrm>
              <a:off x="845055" y="2423485"/>
              <a:ext cx="1703207" cy="1913158"/>
              <a:chOff x="1556360" y="2575885"/>
              <a:chExt cx="1703207" cy="1913158"/>
            </a:xfrm>
          </p:grpSpPr>
          <p:sp>
            <p:nvSpPr>
              <p:cNvPr id="71" name="Oval 70"/>
              <p:cNvSpPr>
                <a:spLocks noChangeAspect="1"/>
              </p:cNvSpPr>
              <p:nvPr/>
            </p:nvSpPr>
            <p:spPr>
              <a:xfrm>
                <a:off x="1556360" y="2674801"/>
                <a:ext cx="1703207" cy="1703207"/>
              </a:xfrm>
              <a:prstGeom prst="ellipse">
                <a:avLst/>
              </a:prstGeom>
              <a:solidFill>
                <a:sysClr val="windowText" lastClr="000000">
                  <a:lumMod val="65000"/>
                  <a:lumOff val="35000"/>
                </a:sysClr>
              </a:solidFill>
              <a:ln w="6350" cap="flat" cmpd="sng" algn="ctr">
                <a:solidFill>
                  <a:sysClr val="window" lastClr="FFFFFF"/>
                </a:solidFill>
                <a:prstDash val="solid"/>
                <a:miter lim="800000"/>
              </a:ln>
              <a:effectLst/>
            </p:spPr>
            <p:txBody>
              <a:bodyPr rot="0" spcFirstLastPara="0" vertOverflow="overflow" horzOverflow="overflow" vert="horz" wrap="square" lIns="87880" tIns="43940" rIns="87880" bIns="4394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2" name="Isosceles Triangle 71"/>
              <p:cNvSpPr/>
              <p:nvPr/>
            </p:nvSpPr>
            <p:spPr>
              <a:xfrm rot="5400000">
                <a:off x="2357684" y="2597984"/>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73" name="Isosceles Triangle 72"/>
              <p:cNvSpPr/>
              <p:nvPr/>
            </p:nvSpPr>
            <p:spPr>
              <a:xfrm rot="16200000" flipH="1">
                <a:off x="2308957" y="4287279"/>
                <a:ext cx="223863" cy="179665"/>
              </a:xfrm>
              <a:prstGeom prst="triangle">
                <a:avLst/>
              </a:prstGeom>
              <a:solidFill>
                <a:sysClr val="window" lastClr="FFFFFF"/>
              </a:solidFill>
              <a:ln w="635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prstClr val="white"/>
                  </a:solidFill>
                  <a:effectLst/>
                  <a:uLnTx/>
                  <a:uFillTx/>
                  <a:latin typeface="Calibri" panose="020F0502020204030204"/>
                  <a:ea typeface="+mn-ea"/>
                  <a:cs typeface="+mn-cs"/>
                </a:endParaRPr>
              </a:p>
            </p:txBody>
          </p:sp>
        </p:grpSp>
        <p:sp>
          <p:nvSpPr>
            <p:cNvPr id="52" name="Rectangle 25"/>
            <p:cNvSpPr/>
            <p:nvPr/>
          </p:nvSpPr>
          <p:spPr bwMode="auto">
            <a:xfrm>
              <a:off x="988809" y="3167526"/>
              <a:ext cx="315474" cy="218545"/>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89630" tIns="44814" rIns="44814" bIns="89630" numCol="1" spcCol="0" rtlCol="0" fromWordArt="0" anchor="b" anchorCtr="0" forceAA="0" compatLnSpc="1">
              <a:prstTxWarp prst="textNoShape">
                <a:avLst/>
              </a:prstTxWarp>
              <a:noAutofit/>
            </a:bodyPr>
            <a:lstStyle/>
            <a:p>
              <a:pPr marL="0" marR="0" lvl="0" indent="0" algn="ctr" defTabSz="895920" eaLnBrk="1" fontAlgn="base" latinLnBrk="0" hangingPunct="1">
                <a:lnSpc>
                  <a:spcPct val="100000"/>
                </a:lnSpc>
                <a:spcBef>
                  <a:spcPct val="0"/>
                </a:spcBef>
                <a:spcAft>
                  <a:spcPct val="0"/>
                </a:spcAft>
                <a:buClrTx/>
                <a:buSzTx/>
                <a:buFontTx/>
                <a:buNone/>
                <a:tabLst/>
                <a:defRPr/>
              </a:pPr>
              <a:endParaRPr kumimoji="0" lang="en-US" sz="1765" b="0" i="0" u="none" strike="noStrike" kern="0" cap="none" spc="-49" normalizeH="0" baseline="0" noProof="0" dirty="0" err="1">
                <a:ln>
                  <a:noFill/>
                </a:ln>
                <a:solidFill>
                  <a:prstClr val="white"/>
                </a:solidFill>
                <a:effectLst/>
                <a:uLnTx/>
                <a:uFillTx/>
                <a:latin typeface="Calibri" panose="020F0502020204030204"/>
                <a:ea typeface="Segoe UI" pitchFamily="34" charset="0"/>
                <a:cs typeface="Segoe UI" pitchFamily="34" charset="0"/>
              </a:endParaRPr>
            </a:p>
          </p:txBody>
        </p:sp>
        <p:grpSp>
          <p:nvGrpSpPr>
            <p:cNvPr id="53" name="Group 52"/>
            <p:cNvGrpSpPr>
              <a:grpSpLocks noChangeAspect="1"/>
            </p:cNvGrpSpPr>
            <p:nvPr/>
          </p:nvGrpSpPr>
          <p:grpSpPr>
            <a:xfrm>
              <a:off x="1963083" y="2804789"/>
              <a:ext cx="320531" cy="228600"/>
              <a:chOff x="1820137" y="3044496"/>
              <a:chExt cx="666391" cy="475141"/>
            </a:xfrm>
            <a:solidFill>
              <a:sysClr val="window" lastClr="FFFFFF"/>
            </a:solidFill>
          </p:grpSpPr>
          <p:sp>
            <p:nvSpPr>
              <p:cNvPr id="68" name="Round Same Side Corner Rectangle 11"/>
              <p:cNvSpPr/>
              <p:nvPr/>
            </p:nvSpPr>
            <p:spPr>
              <a:xfrm>
                <a:off x="1871071" y="3044496"/>
                <a:ext cx="564521" cy="361776"/>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grpFill/>
              <a:ln w="25400" cap="flat" cmpd="sng" algn="ctr">
                <a:noFill/>
                <a:prstDash val="solid"/>
              </a:ln>
              <a:effectLst/>
            </p:spPr>
            <p:txBody>
              <a:bodyPr rtlCol="0" anchor="ctr"/>
              <a:lstStyle/>
              <a:p>
                <a:pPr marL="0" marR="0" lvl="0" indent="0" algn="ctr" defTabSz="878727" eaLnBrk="1" fontAlgn="auto" latinLnBrk="0" hangingPunct="1">
                  <a:lnSpc>
                    <a:spcPct val="100000"/>
                  </a:lnSpc>
                  <a:spcBef>
                    <a:spcPts val="0"/>
                  </a:spcBef>
                  <a:spcAft>
                    <a:spcPts val="0"/>
                  </a:spcAft>
                  <a:buClrTx/>
                  <a:buSzTx/>
                  <a:buFontTx/>
                  <a:buNone/>
                  <a:tabLst/>
                  <a:defRPr/>
                </a:pPr>
                <a:endParaRPr kumimoji="0" lang="en-US" sz="1153" b="0" i="0" u="none" strike="noStrike" kern="0" cap="none" spc="0" normalizeH="0" baseline="0" noProof="0">
                  <a:ln>
                    <a:noFill/>
                  </a:ln>
                  <a:solidFill>
                    <a:sysClr val="window" lastClr="FFFFFF"/>
                  </a:solidFill>
                  <a:effectLst/>
                  <a:uLnTx/>
                  <a:uFillTx/>
                  <a:latin typeface="Segoe"/>
                </a:endParaRPr>
              </a:p>
            </p:txBody>
          </p:sp>
          <p:sp>
            <p:nvSpPr>
              <p:cNvPr id="69" name="Trapezoid 12"/>
              <p:cNvSpPr/>
              <p:nvPr/>
            </p:nvSpPr>
            <p:spPr>
              <a:xfrm>
                <a:off x="1820137" y="3408079"/>
                <a:ext cx="666391" cy="84127"/>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grpFill/>
              <a:ln w="25400" cap="flat" cmpd="sng" algn="ctr">
                <a:noFill/>
                <a:prstDash val="solid"/>
              </a:ln>
              <a:effectLst/>
            </p:spPr>
            <p:txBody>
              <a:bodyPr rtlCol="0" anchor="ctr"/>
              <a:lstStyle/>
              <a:p>
                <a:pPr marL="0" marR="0" lvl="0" indent="0" algn="ctr" defTabSz="878727" eaLnBrk="1" fontAlgn="auto" latinLnBrk="0" hangingPunct="1">
                  <a:lnSpc>
                    <a:spcPct val="100000"/>
                  </a:lnSpc>
                  <a:spcBef>
                    <a:spcPts val="0"/>
                  </a:spcBef>
                  <a:spcAft>
                    <a:spcPts val="0"/>
                  </a:spcAft>
                  <a:buClrTx/>
                  <a:buSzTx/>
                  <a:buFontTx/>
                  <a:buNone/>
                  <a:tabLst/>
                  <a:defRPr/>
                </a:pPr>
                <a:endParaRPr kumimoji="0" lang="en-US" sz="1153" b="0" i="0" u="none" strike="noStrike" kern="0" cap="none" spc="0" normalizeH="0" baseline="0" noProof="0">
                  <a:ln>
                    <a:noFill/>
                  </a:ln>
                  <a:solidFill>
                    <a:sysClr val="window" lastClr="FFFFFF"/>
                  </a:solidFill>
                  <a:effectLst/>
                  <a:uLnTx/>
                  <a:uFillTx/>
                  <a:latin typeface="Segoe"/>
                </a:endParaRPr>
              </a:p>
            </p:txBody>
          </p:sp>
          <p:sp>
            <p:nvSpPr>
              <p:cNvPr id="70" name="Rectangle 69"/>
              <p:cNvSpPr/>
              <p:nvPr/>
            </p:nvSpPr>
            <p:spPr>
              <a:xfrm>
                <a:off x="1820432" y="3492205"/>
                <a:ext cx="665798" cy="27432"/>
              </a:xfrm>
              <a:prstGeom prst="rect">
                <a:avLst/>
              </a:prstGeom>
              <a:grpFill/>
              <a:ln w="25400" cap="flat" cmpd="sng" algn="ctr">
                <a:noFill/>
                <a:prstDash val="solid"/>
              </a:ln>
              <a:effectLst/>
            </p:spPr>
            <p:txBody>
              <a:bodyPr rtlCol="0" anchor="ctr"/>
              <a:lstStyle/>
              <a:p>
                <a:pPr marL="0" marR="0" lvl="0" indent="0" algn="ctr" defTabSz="878727" eaLnBrk="1" fontAlgn="auto" latinLnBrk="0" hangingPunct="1">
                  <a:lnSpc>
                    <a:spcPct val="100000"/>
                  </a:lnSpc>
                  <a:spcBef>
                    <a:spcPts val="0"/>
                  </a:spcBef>
                  <a:spcAft>
                    <a:spcPts val="0"/>
                  </a:spcAft>
                  <a:buClrTx/>
                  <a:buSzTx/>
                  <a:buFontTx/>
                  <a:buNone/>
                  <a:tabLst/>
                  <a:defRPr/>
                </a:pPr>
                <a:endParaRPr kumimoji="0" lang="en-US" sz="1153" b="0" i="0" u="none" strike="noStrike" kern="0" cap="none" spc="0" normalizeH="0" baseline="0" noProof="0">
                  <a:ln>
                    <a:noFill/>
                  </a:ln>
                  <a:solidFill>
                    <a:sysClr val="window" lastClr="FFFFFF"/>
                  </a:solidFill>
                  <a:effectLst/>
                  <a:uLnTx/>
                  <a:uFillTx/>
                  <a:latin typeface="Segoe"/>
                </a:endParaRPr>
              </a:p>
            </p:txBody>
          </p:sp>
        </p:grpSp>
        <p:sp>
          <p:nvSpPr>
            <p:cNvPr id="54" name="Freeform 239"/>
            <p:cNvSpPr>
              <a:spLocks noChangeAspect="1"/>
            </p:cNvSpPr>
            <p:nvPr/>
          </p:nvSpPr>
          <p:spPr bwMode="auto">
            <a:xfrm>
              <a:off x="1120741" y="2784934"/>
              <a:ext cx="215684" cy="268927"/>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ysClr val="window" lastClr="FFFFFF"/>
            </a:solidFill>
            <a:ln>
              <a:noFill/>
            </a:ln>
            <a:extLst/>
          </p:spPr>
          <p:txBody>
            <a:bodyPr vert="horz" wrap="square" lIns="87880" tIns="43940" rIns="87880" bIns="43940" numCol="1" anchor="t" anchorCtr="0" compatLnSpc="1">
              <a:prstTxWarp prst="textNoShape">
                <a:avLst/>
              </a:prstTxWarp>
            </a:bodyPr>
            <a:lstStyle/>
            <a:p>
              <a:pPr marL="0" marR="0" lvl="0" indent="0" algn="ctr" defTabSz="878727"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dirty="0">
                <a:ln>
                  <a:noFill/>
                </a:ln>
                <a:solidFill>
                  <a:srgbClr val="00D8CC"/>
                </a:solidFill>
                <a:effectLst/>
                <a:uLnTx/>
                <a:uFillTx/>
                <a:latin typeface="Calibri" panose="020F0502020204030204"/>
              </a:endParaRPr>
            </a:p>
          </p:txBody>
        </p:sp>
        <p:sp>
          <p:nvSpPr>
            <p:cNvPr id="55" name="Rounded Rectangle 89"/>
            <p:cNvSpPr>
              <a:spLocks noChangeAspect="1"/>
            </p:cNvSpPr>
            <p:nvPr/>
          </p:nvSpPr>
          <p:spPr bwMode="auto">
            <a:xfrm rot="16200000">
              <a:off x="1507014" y="2539524"/>
              <a:ext cx="316142" cy="448212"/>
            </a:xfrm>
            <a:custGeom>
              <a:avLst/>
              <a:gdLst/>
              <a:ahLst/>
              <a:cxnLst/>
              <a:rect l="l" t="t" r="r" b="b"/>
              <a:pathLst>
                <a:path w="2183176" h="3096025">
                  <a:moveTo>
                    <a:pt x="467239" y="1270400"/>
                  </a:moveTo>
                  <a:lnTo>
                    <a:pt x="467239" y="3096025"/>
                  </a:lnTo>
                  <a:lnTo>
                    <a:pt x="37847" y="3096025"/>
                  </a:lnTo>
                  <a:lnTo>
                    <a:pt x="37847" y="1270400"/>
                  </a:lnTo>
                  <a:close/>
                  <a:moveTo>
                    <a:pt x="756443" y="1270400"/>
                  </a:moveTo>
                  <a:lnTo>
                    <a:pt x="754715" y="2850494"/>
                  </a:lnTo>
                  <a:lnTo>
                    <a:pt x="521043" y="3096025"/>
                  </a:lnTo>
                  <a:lnTo>
                    <a:pt x="521043" y="1270400"/>
                  </a:lnTo>
                  <a:close/>
                  <a:moveTo>
                    <a:pt x="1227004" y="1270399"/>
                  </a:moveTo>
                  <a:lnTo>
                    <a:pt x="1227004" y="2846970"/>
                  </a:lnTo>
                  <a:lnTo>
                    <a:pt x="797612" y="2846970"/>
                  </a:lnTo>
                  <a:lnTo>
                    <a:pt x="797612" y="1270399"/>
                  </a:lnTo>
                  <a:close/>
                  <a:moveTo>
                    <a:pt x="1346183" y="230719"/>
                  </a:moveTo>
                  <a:lnTo>
                    <a:pt x="908049" y="230719"/>
                  </a:lnTo>
                  <a:lnTo>
                    <a:pt x="908049" y="991315"/>
                  </a:lnTo>
                  <a:lnTo>
                    <a:pt x="1346183" y="991315"/>
                  </a:lnTo>
                  <a:close/>
                  <a:moveTo>
                    <a:pt x="1512886" y="75485"/>
                  </a:moveTo>
                  <a:lnTo>
                    <a:pt x="1512886" y="1146548"/>
                  </a:lnTo>
                  <a:cubicBezTo>
                    <a:pt x="1512886" y="1188237"/>
                    <a:pt x="1479090" y="1222033"/>
                    <a:pt x="1437401" y="1222033"/>
                  </a:cubicBezTo>
                  <a:lnTo>
                    <a:pt x="75485" y="1222033"/>
                  </a:lnTo>
                  <a:cubicBezTo>
                    <a:pt x="33796" y="1222033"/>
                    <a:pt x="0" y="1188237"/>
                    <a:pt x="0" y="1146548"/>
                  </a:cubicBezTo>
                  <a:lnTo>
                    <a:pt x="0" y="75485"/>
                  </a:lnTo>
                  <a:cubicBezTo>
                    <a:pt x="0" y="33796"/>
                    <a:pt x="33796" y="0"/>
                    <a:pt x="75485" y="0"/>
                  </a:cubicBezTo>
                  <a:lnTo>
                    <a:pt x="1437401" y="0"/>
                  </a:lnTo>
                  <a:cubicBezTo>
                    <a:pt x="1479090" y="0"/>
                    <a:pt x="1512886" y="33796"/>
                    <a:pt x="1512886" y="75485"/>
                  </a:cubicBezTo>
                  <a:close/>
                  <a:moveTo>
                    <a:pt x="2030139" y="955484"/>
                  </a:moveTo>
                  <a:cubicBezTo>
                    <a:pt x="2030139" y="946936"/>
                    <a:pt x="2024904" y="940007"/>
                    <a:pt x="2018445" y="940007"/>
                  </a:cubicBezTo>
                  <a:lnTo>
                    <a:pt x="1963031" y="940007"/>
                  </a:lnTo>
                  <a:cubicBezTo>
                    <a:pt x="1956572" y="940007"/>
                    <a:pt x="1951337" y="946936"/>
                    <a:pt x="1951337" y="955484"/>
                  </a:cubicBezTo>
                  <a:cubicBezTo>
                    <a:pt x="1951337" y="964031"/>
                    <a:pt x="1956572" y="970961"/>
                    <a:pt x="1963031" y="970961"/>
                  </a:cubicBezTo>
                  <a:lnTo>
                    <a:pt x="2018445" y="970961"/>
                  </a:lnTo>
                  <a:cubicBezTo>
                    <a:pt x="2024903" y="970961"/>
                    <a:pt x="2030139" y="964032"/>
                    <a:pt x="2030139" y="955484"/>
                  </a:cubicBezTo>
                  <a:close/>
                  <a:moveTo>
                    <a:pt x="2065118" y="955484"/>
                  </a:moveTo>
                  <a:cubicBezTo>
                    <a:pt x="2065118" y="946936"/>
                    <a:pt x="2059882" y="940007"/>
                    <a:pt x="2053424" y="940007"/>
                  </a:cubicBezTo>
                  <a:lnTo>
                    <a:pt x="2051148" y="940007"/>
                  </a:lnTo>
                  <a:cubicBezTo>
                    <a:pt x="2044690" y="940007"/>
                    <a:pt x="2039454" y="946936"/>
                    <a:pt x="2039454" y="955484"/>
                  </a:cubicBezTo>
                  <a:cubicBezTo>
                    <a:pt x="2039454" y="964031"/>
                    <a:pt x="2044690" y="970961"/>
                    <a:pt x="2051148" y="970961"/>
                  </a:cubicBezTo>
                  <a:lnTo>
                    <a:pt x="2053424" y="970961"/>
                  </a:lnTo>
                  <a:cubicBezTo>
                    <a:pt x="2059882" y="970961"/>
                    <a:pt x="2065118" y="964032"/>
                    <a:pt x="2065118" y="955484"/>
                  </a:cubicBezTo>
                  <a:close/>
                  <a:moveTo>
                    <a:pt x="2099906" y="955484"/>
                  </a:moveTo>
                  <a:cubicBezTo>
                    <a:pt x="2099906" y="946936"/>
                    <a:pt x="2094670" y="940007"/>
                    <a:pt x="2088211" y="940007"/>
                  </a:cubicBezTo>
                  <a:lnTo>
                    <a:pt x="2086127" y="940007"/>
                  </a:lnTo>
                  <a:cubicBezTo>
                    <a:pt x="2079669" y="940007"/>
                    <a:pt x="2074433" y="946936"/>
                    <a:pt x="2074433" y="955484"/>
                  </a:cubicBezTo>
                  <a:cubicBezTo>
                    <a:pt x="2074433" y="964031"/>
                    <a:pt x="2079669" y="970961"/>
                    <a:pt x="2086127" y="970961"/>
                  </a:cubicBezTo>
                  <a:lnTo>
                    <a:pt x="2088211" y="970961"/>
                  </a:lnTo>
                  <a:cubicBezTo>
                    <a:pt x="2094670" y="970961"/>
                    <a:pt x="2099905" y="964032"/>
                    <a:pt x="2099905" y="955484"/>
                  </a:cubicBezTo>
                  <a:close/>
                  <a:moveTo>
                    <a:pt x="2133036" y="272496"/>
                  </a:moveTo>
                  <a:lnTo>
                    <a:pt x="1686532" y="272496"/>
                  </a:lnTo>
                  <a:lnTo>
                    <a:pt x="1686532" y="902132"/>
                  </a:lnTo>
                  <a:lnTo>
                    <a:pt x="2133036" y="902132"/>
                  </a:lnTo>
                  <a:close/>
                  <a:moveTo>
                    <a:pt x="2183176" y="236015"/>
                  </a:moveTo>
                  <a:lnTo>
                    <a:pt x="2183176" y="986017"/>
                  </a:lnTo>
                  <a:cubicBezTo>
                    <a:pt x="2183176" y="1002511"/>
                    <a:pt x="2173073" y="1015882"/>
                    <a:pt x="2160610" y="1015882"/>
                  </a:cubicBezTo>
                  <a:lnTo>
                    <a:pt x="1658958" y="1015882"/>
                  </a:lnTo>
                  <a:cubicBezTo>
                    <a:pt x="1646495" y="1015882"/>
                    <a:pt x="1636392" y="1002511"/>
                    <a:pt x="1636392" y="986017"/>
                  </a:cubicBezTo>
                  <a:lnTo>
                    <a:pt x="1636392" y="236015"/>
                  </a:lnTo>
                  <a:cubicBezTo>
                    <a:pt x="1636392" y="219520"/>
                    <a:pt x="1646495" y="206149"/>
                    <a:pt x="1658958" y="206149"/>
                  </a:cubicBezTo>
                  <a:lnTo>
                    <a:pt x="2160610" y="206149"/>
                  </a:lnTo>
                  <a:cubicBezTo>
                    <a:pt x="2173073" y="206149"/>
                    <a:pt x="2183176" y="219520"/>
                    <a:pt x="2183176" y="236015"/>
                  </a:cubicBezTo>
                  <a:close/>
                </a:path>
              </a:pathLst>
            </a:custGeom>
            <a:solidFill>
              <a:sysClr val="window" lastClr="FFFFFF"/>
            </a:solidFill>
            <a:ln w="9525" cap="flat" cmpd="sng" algn="ctr">
              <a:noFill/>
              <a:prstDash val="solid"/>
              <a:headEnd type="none" w="med" len="med"/>
              <a:tailEnd type="none" w="med" len="med"/>
            </a:ln>
            <a:effectLst/>
          </p:spPr>
          <p:txBody>
            <a:bodyPr rot="0" spcFirstLastPara="0" vert="horz" wrap="square" lIns="87880" tIns="43940" rIns="43940" bIns="87880" numCol="1" spcCol="0" rtlCol="0" fromWordArt="0" anchor="b" anchorCtr="0" forceAA="0" compatLnSpc="1">
              <a:prstTxWarp prst="textNoShape">
                <a:avLst/>
              </a:prstTxWarp>
              <a:noAutofit/>
            </a:bodyPr>
            <a:lstStyle>
              <a:defPPr>
                <a:defRPr lang="en-US"/>
              </a:defPPr>
              <a:lvl1pPr marL="0" algn="l" defTabSz="686047" rtl="0" eaLnBrk="1" latinLnBrk="0" hangingPunct="1">
                <a:defRPr sz="1400" kern="1200">
                  <a:solidFill>
                    <a:schemeClr val="lt1"/>
                  </a:solidFill>
                  <a:latin typeface="+mn-lt"/>
                  <a:ea typeface="+mn-ea"/>
                  <a:cs typeface="+mn-cs"/>
                </a:defRPr>
              </a:lvl1pPr>
              <a:lvl2pPr marL="343024" algn="l" defTabSz="686047" rtl="0" eaLnBrk="1" latinLnBrk="0" hangingPunct="1">
                <a:defRPr sz="1400" kern="1200">
                  <a:solidFill>
                    <a:schemeClr val="lt1"/>
                  </a:solidFill>
                  <a:latin typeface="+mn-lt"/>
                  <a:ea typeface="+mn-ea"/>
                  <a:cs typeface="+mn-cs"/>
                </a:defRPr>
              </a:lvl2pPr>
              <a:lvl3pPr marL="686047" algn="l" defTabSz="686047" rtl="0" eaLnBrk="1" latinLnBrk="0" hangingPunct="1">
                <a:defRPr sz="1400" kern="1200">
                  <a:solidFill>
                    <a:schemeClr val="lt1"/>
                  </a:solidFill>
                  <a:latin typeface="+mn-lt"/>
                  <a:ea typeface="+mn-ea"/>
                  <a:cs typeface="+mn-cs"/>
                </a:defRPr>
              </a:lvl3pPr>
              <a:lvl4pPr marL="1029070" algn="l" defTabSz="686047" rtl="0" eaLnBrk="1" latinLnBrk="0" hangingPunct="1">
                <a:defRPr sz="1400" kern="1200">
                  <a:solidFill>
                    <a:schemeClr val="lt1"/>
                  </a:solidFill>
                  <a:latin typeface="+mn-lt"/>
                  <a:ea typeface="+mn-ea"/>
                  <a:cs typeface="+mn-cs"/>
                </a:defRPr>
              </a:lvl4pPr>
              <a:lvl5pPr marL="1372094" algn="l" defTabSz="686047" rtl="0" eaLnBrk="1" latinLnBrk="0" hangingPunct="1">
                <a:defRPr sz="1400" kern="1200">
                  <a:solidFill>
                    <a:schemeClr val="lt1"/>
                  </a:solidFill>
                  <a:latin typeface="+mn-lt"/>
                  <a:ea typeface="+mn-ea"/>
                  <a:cs typeface="+mn-cs"/>
                </a:defRPr>
              </a:lvl5pPr>
              <a:lvl6pPr marL="1715118" algn="l" defTabSz="686047" rtl="0" eaLnBrk="1" latinLnBrk="0" hangingPunct="1">
                <a:defRPr sz="1400" kern="1200">
                  <a:solidFill>
                    <a:schemeClr val="lt1"/>
                  </a:solidFill>
                  <a:latin typeface="+mn-lt"/>
                  <a:ea typeface="+mn-ea"/>
                  <a:cs typeface="+mn-cs"/>
                </a:defRPr>
              </a:lvl6pPr>
              <a:lvl7pPr marL="2058140" algn="l" defTabSz="686047" rtl="0" eaLnBrk="1" latinLnBrk="0" hangingPunct="1">
                <a:defRPr sz="1400" kern="1200">
                  <a:solidFill>
                    <a:schemeClr val="lt1"/>
                  </a:solidFill>
                  <a:latin typeface="+mn-lt"/>
                  <a:ea typeface="+mn-ea"/>
                  <a:cs typeface="+mn-cs"/>
                </a:defRPr>
              </a:lvl7pPr>
              <a:lvl8pPr marL="2401164" algn="l" defTabSz="686047" rtl="0" eaLnBrk="1" latinLnBrk="0" hangingPunct="1">
                <a:defRPr sz="1400" kern="1200">
                  <a:solidFill>
                    <a:schemeClr val="lt1"/>
                  </a:solidFill>
                  <a:latin typeface="+mn-lt"/>
                  <a:ea typeface="+mn-ea"/>
                  <a:cs typeface="+mn-cs"/>
                </a:defRPr>
              </a:lvl8pPr>
              <a:lvl9pPr marL="2744188" algn="l" defTabSz="686047" rtl="0" eaLnBrk="1" latinLnBrk="0" hangingPunct="1">
                <a:defRPr sz="1400" kern="1200">
                  <a:solidFill>
                    <a:schemeClr val="lt1"/>
                  </a:solidFill>
                  <a:latin typeface="+mn-lt"/>
                  <a:ea typeface="+mn-ea"/>
                  <a:cs typeface="+mn-cs"/>
                </a:defRPr>
              </a:lvl9pPr>
            </a:lstStyle>
            <a:p>
              <a:pPr marL="0" marR="0" lvl="0" indent="0" algn="ctr" defTabSz="658834" rtl="0" eaLnBrk="1" fontAlgn="base" latinLnBrk="0" hangingPunct="1">
                <a:lnSpc>
                  <a:spcPct val="100000"/>
                </a:lnSpc>
                <a:spcBef>
                  <a:spcPct val="0"/>
                </a:spcBef>
                <a:spcAft>
                  <a:spcPct val="0"/>
                </a:spcAft>
                <a:buClrTx/>
                <a:buSzTx/>
                <a:buFontTx/>
                <a:buNone/>
                <a:tabLst/>
                <a:defRPr/>
              </a:pPr>
              <a:endParaRPr kumimoji="0" lang="en-US" sz="865" b="0" i="0" u="none" strike="noStrike" kern="1200" cap="none" spc="0"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6" name="Rounded Rectangle 4"/>
            <p:cNvSpPr>
              <a:spLocks noChangeAspect="1"/>
            </p:cNvSpPr>
            <p:nvPr/>
          </p:nvSpPr>
          <p:spPr bwMode="auto">
            <a:xfrm>
              <a:off x="1390234" y="3700127"/>
              <a:ext cx="189592" cy="358570"/>
            </a:xfrm>
            <a:custGeom>
              <a:avLst/>
              <a:gdLst/>
              <a:ahLst/>
              <a:cxnLst/>
              <a:rect l="l" t="t" r="r" b="b"/>
              <a:pathLst>
                <a:path w="985568" h="1863954">
                  <a:moveTo>
                    <a:pt x="36891" y="1642610"/>
                  </a:moveTo>
                  <a:lnTo>
                    <a:pt x="92599" y="1642610"/>
                  </a:lnTo>
                  <a:lnTo>
                    <a:pt x="92599" y="1768745"/>
                  </a:lnTo>
                  <a:lnTo>
                    <a:pt x="893493" y="1768745"/>
                  </a:lnTo>
                  <a:lnTo>
                    <a:pt x="893493" y="1642610"/>
                  </a:lnTo>
                  <a:lnTo>
                    <a:pt x="948677" y="1642610"/>
                  </a:lnTo>
                  <a:cubicBezTo>
                    <a:pt x="969051" y="1642610"/>
                    <a:pt x="985568" y="1659127"/>
                    <a:pt x="985568" y="1679501"/>
                  </a:cubicBezTo>
                  <a:lnTo>
                    <a:pt x="985568" y="1827063"/>
                  </a:lnTo>
                  <a:cubicBezTo>
                    <a:pt x="985568" y="1847437"/>
                    <a:pt x="969051" y="1863954"/>
                    <a:pt x="948677" y="1863954"/>
                  </a:cubicBezTo>
                  <a:lnTo>
                    <a:pt x="36891" y="1863954"/>
                  </a:lnTo>
                  <a:cubicBezTo>
                    <a:pt x="16517" y="1863954"/>
                    <a:pt x="0" y="1847437"/>
                    <a:pt x="0" y="1827063"/>
                  </a:cubicBezTo>
                  <a:lnTo>
                    <a:pt x="0" y="1679501"/>
                  </a:lnTo>
                  <a:cubicBezTo>
                    <a:pt x="0" y="1659127"/>
                    <a:pt x="16517" y="1642610"/>
                    <a:pt x="36891" y="1642610"/>
                  </a:cubicBezTo>
                  <a:close/>
                  <a:moveTo>
                    <a:pt x="779514" y="719478"/>
                  </a:moveTo>
                  <a:cubicBezTo>
                    <a:pt x="766736" y="719478"/>
                    <a:pt x="756377" y="729837"/>
                    <a:pt x="756377" y="742615"/>
                  </a:cubicBezTo>
                  <a:cubicBezTo>
                    <a:pt x="756377" y="755393"/>
                    <a:pt x="766736" y="765752"/>
                    <a:pt x="779514" y="765752"/>
                  </a:cubicBezTo>
                  <a:cubicBezTo>
                    <a:pt x="792292" y="765752"/>
                    <a:pt x="802651" y="755393"/>
                    <a:pt x="802651" y="742615"/>
                  </a:cubicBezTo>
                  <a:cubicBezTo>
                    <a:pt x="802651" y="729837"/>
                    <a:pt x="792292" y="719478"/>
                    <a:pt x="779514" y="719478"/>
                  </a:cubicBezTo>
                  <a:close/>
                  <a:moveTo>
                    <a:pt x="707619" y="719478"/>
                  </a:moveTo>
                  <a:cubicBezTo>
                    <a:pt x="694841" y="719478"/>
                    <a:pt x="684482" y="729837"/>
                    <a:pt x="684482" y="742615"/>
                  </a:cubicBezTo>
                  <a:cubicBezTo>
                    <a:pt x="684482" y="755393"/>
                    <a:pt x="694841" y="765752"/>
                    <a:pt x="707619" y="765752"/>
                  </a:cubicBezTo>
                  <a:cubicBezTo>
                    <a:pt x="720397" y="765752"/>
                    <a:pt x="730756" y="755393"/>
                    <a:pt x="730756" y="742615"/>
                  </a:cubicBezTo>
                  <a:cubicBezTo>
                    <a:pt x="730756" y="729837"/>
                    <a:pt x="720397" y="719478"/>
                    <a:pt x="707619" y="719478"/>
                  </a:cubicBezTo>
                  <a:close/>
                  <a:moveTo>
                    <a:pt x="374779" y="710591"/>
                  </a:moveTo>
                  <a:lnTo>
                    <a:pt x="374779" y="774637"/>
                  </a:lnTo>
                  <a:lnTo>
                    <a:pt x="432929" y="774637"/>
                  </a:lnTo>
                  <a:cubicBezTo>
                    <a:pt x="445863" y="774637"/>
                    <a:pt x="456348" y="764152"/>
                    <a:pt x="456348" y="751219"/>
                  </a:cubicBezTo>
                  <a:lnTo>
                    <a:pt x="456348" y="734009"/>
                  </a:lnTo>
                  <a:cubicBezTo>
                    <a:pt x="456348" y="721076"/>
                    <a:pt x="445863" y="710591"/>
                    <a:pt x="432929" y="710591"/>
                  </a:cubicBezTo>
                  <a:close/>
                  <a:moveTo>
                    <a:pt x="274277" y="710591"/>
                  </a:moveTo>
                  <a:lnTo>
                    <a:pt x="274277" y="774637"/>
                  </a:lnTo>
                  <a:lnTo>
                    <a:pt x="355845" y="774637"/>
                  </a:lnTo>
                  <a:lnTo>
                    <a:pt x="355845" y="710591"/>
                  </a:lnTo>
                  <a:close/>
                  <a:moveTo>
                    <a:pt x="197192" y="710591"/>
                  </a:moveTo>
                  <a:cubicBezTo>
                    <a:pt x="184259" y="710591"/>
                    <a:pt x="173774" y="721076"/>
                    <a:pt x="173774" y="734009"/>
                  </a:cubicBezTo>
                  <a:lnTo>
                    <a:pt x="173774" y="751219"/>
                  </a:lnTo>
                  <a:cubicBezTo>
                    <a:pt x="173774" y="764152"/>
                    <a:pt x="184259" y="774637"/>
                    <a:pt x="197192" y="774637"/>
                  </a:cubicBezTo>
                  <a:lnTo>
                    <a:pt x="255342" y="774637"/>
                  </a:lnTo>
                  <a:lnTo>
                    <a:pt x="255342" y="710591"/>
                  </a:lnTo>
                  <a:close/>
                  <a:moveTo>
                    <a:pt x="178768" y="164337"/>
                  </a:moveTo>
                  <a:lnTo>
                    <a:pt x="178768" y="633303"/>
                  </a:lnTo>
                  <a:lnTo>
                    <a:pt x="807324" y="633303"/>
                  </a:lnTo>
                  <a:lnTo>
                    <a:pt x="807324" y="164337"/>
                  </a:lnTo>
                  <a:close/>
                  <a:moveTo>
                    <a:pt x="114741" y="0"/>
                  </a:moveTo>
                  <a:lnTo>
                    <a:pt x="871352" y="0"/>
                  </a:lnTo>
                  <a:lnTo>
                    <a:pt x="871352" y="1738511"/>
                  </a:lnTo>
                  <a:lnTo>
                    <a:pt x="114741" y="1738511"/>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69522" tIns="34760" rIns="34760" bIns="69522" numCol="1" spcCol="0" rtlCol="0" fromWordArt="0" anchor="b" anchorCtr="0" forceAA="0" compatLnSpc="1">
              <a:prstTxWarp prst="textNoShape">
                <a:avLst/>
              </a:prstTxWarp>
              <a:noAutofit/>
            </a:bodyPr>
            <a:lstStyle/>
            <a:p>
              <a:pPr marL="0" marR="0" lvl="0" indent="0" algn="ctr" defTabSz="694990" eaLnBrk="1" fontAlgn="base" latinLnBrk="0" hangingPunct="1">
                <a:lnSpc>
                  <a:spcPct val="100000"/>
                </a:lnSpc>
                <a:spcBef>
                  <a:spcPct val="0"/>
                </a:spcBef>
                <a:spcAft>
                  <a:spcPct val="0"/>
                </a:spcAft>
                <a:buClrTx/>
                <a:buSzTx/>
                <a:buFontTx/>
                <a:buNone/>
                <a:tabLst/>
                <a:defRPr/>
              </a:pPr>
              <a:endParaRPr kumimoji="0" lang="en-US" sz="1521" b="0" i="0" u="none" strike="noStrike" kern="0" cap="none" spc="-37"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7" name="Rectangle 62"/>
            <p:cNvSpPr>
              <a:spLocks noChangeAspect="1"/>
            </p:cNvSpPr>
            <p:nvPr/>
          </p:nvSpPr>
          <p:spPr bwMode="auto">
            <a:xfrm rot="5400000">
              <a:off x="1076474" y="3422324"/>
              <a:ext cx="292479" cy="358570"/>
            </a:xfrm>
            <a:custGeom>
              <a:avLst/>
              <a:gdLst/>
              <a:ahLst/>
              <a:cxnLst/>
              <a:rect l="l" t="t" r="r" b="b"/>
              <a:pathLst>
                <a:path w="3724643" h="4565093">
                  <a:moveTo>
                    <a:pt x="0" y="2230591"/>
                  </a:moveTo>
                  <a:lnTo>
                    <a:pt x="0" y="1130354"/>
                  </a:lnTo>
                  <a:lnTo>
                    <a:pt x="666553" y="1130354"/>
                  </a:lnTo>
                  <a:lnTo>
                    <a:pt x="666553" y="1483621"/>
                  </a:lnTo>
                  <a:lnTo>
                    <a:pt x="1018801" y="1468217"/>
                  </a:lnTo>
                  <a:lnTo>
                    <a:pt x="586117" y="614872"/>
                  </a:lnTo>
                  <a:lnTo>
                    <a:pt x="1798773" y="0"/>
                  </a:lnTo>
                  <a:lnTo>
                    <a:pt x="3266024" y="2893728"/>
                  </a:lnTo>
                  <a:lnTo>
                    <a:pt x="2870465" y="3094294"/>
                  </a:lnTo>
                  <a:lnTo>
                    <a:pt x="2967871" y="3286398"/>
                  </a:lnTo>
                  <a:lnTo>
                    <a:pt x="3254805" y="3140909"/>
                  </a:lnTo>
                  <a:lnTo>
                    <a:pt x="3724643" y="4067529"/>
                  </a:lnTo>
                  <a:lnTo>
                    <a:pt x="2743342" y="4565093"/>
                  </a:lnTo>
                  <a:lnTo>
                    <a:pt x="2273504" y="3638473"/>
                  </a:lnTo>
                  <a:lnTo>
                    <a:pt x="2583523" y="3481279"/>
                  </a:lnTo>
                  <a:lnTo>
                    <a:pt x="2486118" y="3289175"/>
                  </a:lnTo>
                  <a:lnTo>
                    <a:pt x="2053368" y="3508599"/>
                  </a:lnTo>
                  <a:lnTo>
                    <a:pt x="1232767" y="1890202"/>
                  </a:lnTo>
                  <a:lnTo>
                    <a:pt x="666553" y="1914964"/>
                  </a:lnTo>
                  <a:lnTo>
                    <a:pt x="666553" y="2230591"/>
                  </a:ln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81798" tIns="40898" rIns="40898" bIns="81798" numCol="1" spcCol="0" rtlCol="0" fromWordArt="0" anchor="b" anchorCtr="0" forceAA="0" compatLnSpc="1">
              <a:prstTxWarp prst="textNoShape">
                <a:avLst/>
              </a:prstTxWarp>
              <a:noAutofit/>
            </a:bodyPr>
            <a:lstStyle/>
            <a:p>
              <a:pPr marL="0" marR="0" lvl="0" indent="0" algn="ctr" defTabSz="817732" eaLnBrk="1" fontAlgn="base" latinLnBrk="0" hangingPunct="1">
                <a:lnSpc>
                  <a:spcPct val="100000"/>
                </a:lnSpc>
                <a:spcBef>
                  <a:spcPct val="0"/>
                </a:spcBef>
                <a:spcAft>
                  <a:spcPct val="0"/>
                </a:spcAft>
                <a:buClrTx/>
                <a:buSzTx/>
                <a:buFontTx/>
                <a:buNone/>
                <a:tabLst/>
                <a:defRPr/>
              </a:pPr>
              <a:endParaRPr kumimoji="0" lang="en-US" sz="1642" b="0" i="0" u="none" strike="noStrike" kern="0" cap="none" spc="-45"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sp>
          <p:nvSpPr>
            <p:cNvPr id="58" name="health 2"/>
            <p:cNvSpPr>
              <a:spLocks noChangeAspect="1"/>
            </p:cNvSpPr>
            <p:nvPr/>
          </p:nvSpPr>
          <p:spPr bwMode="auto">
            <a:xfrm>
              <a:off x="2002044" y="3522142"/>
              <a:ext cx="433117" cy="268927"/>
            </a:xfrm>
            <a:custGeom>
              <a:avLst/>
              <a:gdLst/>
              <a:ahLst/>
              <a:cxnLst/>
              <a:rect l="l" t="t" r="r" b="b"/>
              <a:pathLst>
                <a:path w="4203700" h="2610803">
                  <a:moveTo>
                    <a:pt x="2491581" y="932635"/>
                  </a:moveTo>
                  <a:lnTo>
                    <a:pt x="3355975" y="932635"/>
                  </a:lnTo>
                  <a:cubicBezTo>
                    <a:pt x="3634582" y="947716"/>
                    <a:pt x="3829843" y="1131866"/>
                    <a:pt x="3863181" y="1242197"/>
                  </a:cubicBezTo>
                  <a:lnTo>
                    <a:pt x="1996281" y="1242197"/>
                  </a:lnTo>
                  <a:cubicBezTo>
                    <a:pt x="1954212" y="1129485"/>
                    <a:pt x="2235993" y="921522"/>
                    <a:pt x="2491581" y="932635"/>
                  </a:cubicBezTo>
                  <a:close/>
                  <a:moveTo>
                    <a:pt x="1715294" y="801666"/>
                  </a:moveTo>
                  <a:cubicBezTo>
                    <a:pt x="1834971" y="801666"/>
                    <a:pt x="1931988" y="898683"/>
                    <a:pt x="1931988" y="1018360"/>
                  </a:cubicBezTo>
                  <a:cubicBezTo>
                    <a:pt x="1931988" y="1138037"/>
                    <a:pt x="1834971" y="1235054"/>
                    <a:pt x="1715294" y="1235054"/>
                  </a:cubicBezTo>
                  <a:cubicBezTo>
                    <a:pt x="1595617" y="1235054"/>
                    <a:pt x="1498600" y="1138037"/>
                    <a:pt x="1498600" y="1018360"/>
                  </a:cubicBezTo>
                  <a:cubicBezTo>
                    <a:pt x="1498600" y="898683"/>
                    <a:pt x="1595617" y="801666"/>
                    <a:pt x="1715294" y="801666"/>
                  </a:cubicBezTo>
                  <a:close/>
                  <a:moveTo>
                    <a:pt x="1919287" y="0"/>
                  </a:moveTo>
                  <a:cubicBezTo>
                    <a:pt x="2448028" y="0"/>
                    <a:pt x="2898259" y="336140"/>
                    <a:pt x="3066567" y="806877"/>
                  </a:cubicBezTo>
                  <a:lnTo>
                    <a:pt x="2520890" y="806877"/>
                  </a:lnTo>
                  <a:cubicBezTo>
                    <a:pt x="2388025" y="637288"/>
                    <a:pt x="2180846" y="530203"/>
                    <a:pt x="1948656" y="530203"/>
                  </a:cubicBezTo>
                  <a:cubicBezTo>
                    <a:pt x="1540528" y="530203"/>
                    <a:pt x="1209675" y="861056"/>
                    <a:pt x="1209675" y="1269184"/>
                  </a:cubicBezTo>
                  <a:cubicBezTo>
                    <a:pt x="1209675" y="1295733"/>
                    <a:pt x="1211075" y="1321956"/>
                    <a:pt x="1213952" y="1347766"/>
                  </a:cubicBezTo>
                  <a:lnTo>
                    <a:pt x="4203700" y="1347766"/>
                  </a:lnTo>
                  <a:lnTo>
                    <a:pt x="4203700" y="1622086"/>
                  </a:lnTo>
                  <a:lnTo>
                    <a:pt x="1303168" y="1622086"/>
                  </a:lnTo>
                  <a:cubicBezTo>
                    <a:pt x="1425647" y="1852836"/>
                    <a:pt x="1669012" y="2008165"/>
                    <a:pt x="1948656" y="2008165"/>
                  </a:cubicBezTo>
                  <a:cubicBezTo>
                    <a:pt x="2180846" y="2008165"/>
                    <a:pt x="2388025" y="1901080"/>
                    <a:pt x="2520889" y="1731492"/>
                  </a:cubicBezTo>
                  <a:lnTo>
                    <a:pt x="3140075" y="1731492"/>
                  </a:lnTo>
                  <a:cubicBezTo>
                    <a:pt x="3140075" y="2024596"/>
                    <a:pt x="3140074" y="2317700"/>
                    <a:pt x="3140074" y="2610803"/>
                  </a:cubicBezTo>
                  <a:lnTo>
                    <a:pt x="698499" y="2610803"/>
                  </a:lnTo>
                  <a:lnTo>
                    <a:pt x="698499" y="1622086"/>
                  </a:lnTo>
                  <a:lnTo>
                    <a:pt x="0" y="1622086"/>
                  </a:lnTo>
                  <a:lnTo>
                    <a:pt x="0" y="1347766"/>
                  </a:lnTo>
                  <a:lnTo>
                    <a:pt x="698499" y="1347766"/>
                  </a:lnTo>
                  <a:lnTo>
                    <a:pt x="698499" y="1220788"/>
                  </a:lnTo>
                  <a:cubicBezTo>
                    <a:pt x="698499" y="546565"/>
                    <a:pt x="1245064" y="0"/>
                    <a:pt x="1919287" y="0"/>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87880" tIns="43940" rIns="43940" bIns="87880" numCol="1" spcCol="0" rtlCol="0" fromWordArt="0" anchor="b" anchorCtr="0" forceAA="0" compatLnSpc="1">
              <a:prstTxWarp prst="textNoShape">
                <a:avLst/>
              </a:prstTxWarp>
              <a:noAutofit/>
            </a:bodyPr>
            <a:lstStyle/>
            <a:p>
              <a:pPr marL="0" marR="0" lvl="0" indent="0" algn="ctr" defTabSz="878438" eaLnBrk="1" fontAlgn="base" latinLnBrk="0" hangingPunct="1">
                <a:lnSpc>
                  <a:spcPct val="100000"/>
                </a:lnSpc>
                <a:spcBef>
                  <a:spcPct val="0"/>
                </a:spcBef>
                <a:spcAft>
                  <a:spcPct val="0"/>
                </a:spcAft>
                <a:buClrTx/>
                <a:buSzTx/>
                <a:buFontTx/>
                <a:buNone/>
                <a:tabLst/>
                <a:defRPr/>
              </a:pPr>
              <a:endParaRPr kumimoji="0" lang="en-US" sz="1730" b="0" i="0" u="none" strike="noStrike" kern="0" cap="none" spc="-48" normalizeH="0" baseline="0" noProof="0" dirty="0" err="1">
                <a:ln>
                  <a:noFill/>
                </a:ln>
                <a:gradFill>
                  <a:gsLst>
                    <a:gs pos="0">
                      <a:srgbClr val="FFFFFF"/>
                    </a:gs>
                    <a:gs pos="100000">
                      <a:srgbClr val="FFFFFF"/>
                    </a:gs>
                  </a:gsLst>
                  <a:lin ang="5400000" scaled="0"/>
                </a:gradFill>
                <a:effectLst/>
                <a:uLnTx/>
                <a:uFillTx/>
                <a:latin typeface="Calibri" panose="020F0502020204030204"/>
                <a:ea typeface="Segoe UI" pitchFamily="34" charset="0"/>
                <a:cs typeface="Segoe UI" pitchFamily="34" charset="0"/>
              </a:endParaRPr>
            </a:p>
          </p:txBody>
        </p:sp>
        <p:grpSp>
          <p:nvGrpSpPr>
            <p:cNvPr id="59" name="Group 58"/>
            <p:cNvGrpSpPr>
              <a:grpSpLocks noChangeAspect="1"/>
            </p:cNvGrpSpPr>
            <p:nvPr/>
          </p:nvGrpSpPr>
          <p:grpSpPr>
            <a:xfrm>
              <a:off x="1717324" y="3817236"/>
              <a:ext cx="352349" cy="268927"/>
              <a:chOff x="5427663" y="2924176"/>
              <a:chExt cx="1328738" cy="1014412"/>
            </a:xfrm>
            <a:solidFill>
              <a:sysClr val="window" lastClr="FFFFFF"/>
            </a:solidFill>
          </p:grpSpPr>
          <p:sp>
            <p:nvSpPr>
              <p:cNvPr id="60" name="Freeform 512"/>
              <p:cNvSpPr>
                <a:spLocks/>
              </p:cNvSpPr>
              <p:nvPr/>
            </p:nvSpPr>
            <p:spPr bwMode="auto">
              <a:xfrm>
                <a:off x="6389688" y="2924176"/>
                <a:ext cx="366713" cy="873125"/>
              </a:xfrm>
              <a:custGeom>
                <a:avLst/>
                <a:gdLst>
                  <a:gd name="T0" fmla="*/ 0 w 923"/>
                  <a:gd name="T1" fmla="*/ 0 h 2201"/>
                  <a:gd name="T2" fmla="*/ 141 w 923"/>
                  <a:gd name="T3" fmla="*/ 0 h 2201"/>
                  <a:gd name="T4" fmla="*/ 141 w 923"/>
                  <a:gd name="T5" fmla="*/ 2060 h 2201"/>
                  <a:gd name="T6" fmla="*/ 923 w 923"/>
                  <a:gd name="T7" fmla="*/ 2060 h 2201"/>
                  <a:gd name="T8" fmla="*/ 923 w 923"/>
                  <a:gd name="T9" fmla="*/ 2201 h 2201"/>
                  <a:gd name="T10" fmla="*/ 0 w 923"/>
                  <a:gd name="T11" fmla="*/ 2201 h 2201"/>
                  <a:gd name="T12" fmla="*/ 0 w 923"/>
                  <a:gd name="T13" fmla="*/ 0 h 2201"/>
                </a:gdLst>
                <a:ahLst/>
                <a:cxnLst>
                  <a:cxn ang="0">
                    <a:pos x="T0" y="T1"/>
                  </a:cxn>
                  <a:cxn ang="0">
                    <a:pos x="T2" y="T3"/>
                  </a:cxn>
                  <a:cxn ang="0">
                    <a:pos x="T4" y="T5"/>
                  </a:cxn>
                  <a:cxn ang="0">
                    <a:pos x="T6" y="T7"/>
                  </a:cxn>
                  <a:cxn ang="0">
                    <a:pos x="T8" y="T9"/>
                  </a:cxn>
                  <a:cxn ang="0">
                    <a:pos x="T10" y="T11"/>
                  </a:cxn>
                  <a:cxn ang="0">
                    <a:pos x="T12" y="T13"/>
                  </a:cxn>
                </a:cxnLst>
                <a:rect l="0" t="0" r="r" b="b"/>
                <a:pathLst>
                  <a:path w="923" h="2201">
                    <a:moveTo>
                      <a:pt x="0" y="0"/>
                    </a:moveTo>
                    <a:lnTo>
                      <a:pt x="141" y="0"/>
                    </a:lnTo>
                    <a:lnTo>
                      <a:pt x="141" y="2060"/>
                    </a:lnTo>
                    <a:lnTo>
                      <a:pt x="923" y="2060"/>
                    </a:lnTo>
                    <a:lnTo>
                      <a:pt x="923" y="2201"/>
                    </a:lnTo>
                    <a:lnTo>
                      <a:pt x="0" y="2201"/>
                    </a:lnTo>
                    <a:lnTo>
                      <a:pt x="0"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1" name="Rectangle 513"/>
              <p:cNvSpPr>
                <a:spLocks noChangeArrowheads="1"/>
              </p:cNvSpPr>
              <p:nvPr/>
            </p:nvSpPr>
            <p:spPr bwMode="auto">
              <a:xfrm>
                <a:off x="6526213" y="3381376"/>
                <a:ext cx="230188" cy="257175"/>
              </a:xfrm>
              <a:prstGeom prst="rect">
                <a:avLst/>
              </a:prstGeom>
              <a:grpFill/>
              <a:ln w="0">
                <a:no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2" name="Rectangle 514"/>
              <p:cNvSpPr>
                <a:spLocks noChangeArrowheads="1"/>
              </p:cNvSpPr>
              <p:nvPr/>
            </p:nvSpPr>
            <p:spPr bwMode="auto">
              <a:xfrm>
                <a:off x="6526213" y="3063876"/>
                <a:ext cx="200025" cy="230188"/>
              </a:xfrm>
              <a:prstGeom prst="rect">
                <a:avLst/>
              </a:prstGeom>
              <a:grpFill/>
              <a:ln w="0">
                <a:noFill/>
                <a:prstDash val="solid"/>
                <a:miter lim="800000"/>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3" name="Freeform 515"/>
              <p:cNvSpPr>
                <a:spLocks noEditPoints="1"/>
              </p:cNvSpPr>
              <p:nvPr/>
            </p:nvSpPr>
            <p:spPr bwMode="auto">
              <a:xfrm>
                <a:off x="5519738" y="3602038"/>
                <a:ext cx="334963" cy="336550"/>
              </a:xfrm>
              <a:custGeom>
                <a:avLst/>
                <a:gdLst>
                  <a:gd name="T0" fmla="*/ 385 w 846"/>
                  <a:gd name="T1" fmla="*/ 191 h 849"/>
                  <a:gd name="T2" fmla="*/ 315 w 846"/>
                  <a:gd name="T3" fmla="*/ 215 h 849"/>
                  <a:gd name="T4" fmla="*/ 257 w 846"/>
                  <a:gd name="T5" fmla="*/ 258 h 849"/>
                  <a:gd name="T6" fmla="*/ 214 w 846"/>
                  <a:gd name="T7" fmla="*/ 316 h 849"/>
                  <a:gd name="T8" fmla="*/ 191 w 846"/>
                  <a:gd name="T9" fmla="*/ 386 h 849"/>
                  <a:gd name="T10" fmla="*/ 191 w 846"/>
                  <a:gd name="T11" fmla="*/ 463 h 849"/>
                  <a:gd name="T12" fmla="*/ 214 w 846"/>
                  <a:gd name="T13" fmla="*/ 533 h 849"/>
                  <a:gd name="T14" fmla="*/ 257 w 846"/>
                  <a:gd name="T15" fmla="*/ 592 h 849"/>
                  <a:gd name="T16" fmla="*/ 315 w 846"/>
                  <a:gd name="T17" fmla="*/ 634 h 849"/>
                  <a:gd name="T18" fmla="*/ 385 w 846"/>
                  <a:gd name="T19" fmla="*/ 658 h 849"/>
                  <a:gd name="T20" fmla="*/ 461 w 846"/>
                  <a:gd name="T21" fmla="*/ 658 h 849"/>
                  <a:gd name="T22" fmla="*/ 532 w 846"/>
                  <a:gd name="T23" fmla="*/ 634 h 849"/>
                  <a:gd name="T24" fmla="*/ 590 w 846"/>
                  <a:gd name="T25" fmla="*/ 592 h 849"/>
                  <a:gd name="T26" fmla="*/ 632 w 846"/>
                  <a:gd name="T27" fmla="*/ 533 h 849"/>
                  <a:gd name="T28" fmla="*/ 656 w 846"/>
                  <a:gd name="T29" fmla="*/ 463 h 849"/>
                  <a:gd name="T30" fmla="*/ 656 w 846"/>
                  <a:gd name="T31" fmla="*/ 386 h 849"/>
                  <a:gd name="T32" fmla="*/ 632 w 846"/>
                  <a:gd name="T33" fmla="*/ 316 h 849"/>
                  <a:gd name="T34" fmla="*/ 590 w 846"/>
                  <a:gd name="T35" fmla="*/ 258 h 849"/>
                  <a:gd name="T36" fmla="*/ 532 w 846"/>
                  <a:gd name="T37" fmla="*/ 215 h 849"/>
                  <a:gd name="T38" fmla="*/ 461 w 846"/>
                  <a:gd name="T39" fmla="*/ 191 h 849"/>
                  <a:gd name="T40" fmla="*/ 423 w 846"/>
                  <a:gd name="T41" fmla="*/ 0 h 849"/>
                  <a:gd name="T42" fmla="*/ 520 w 846"/>
                  <a:gd name="T43" fmla="*/ 11 h 849"/>
                  <a:gd name="T44" fmla="*/ 609 w 846"/>
                  <a:gd name="T45" fmla="*/ 43 h 849"/>
                  <a:gd name="T46" fmla="*/ 687 w 846"/>
                  <a:gd name="T47" fmla="*/ 93 h 849"/>
                  <a:gd name="T48" fmla="*/ 754 w 846"/>
                  <a:gd name="T49" fmla="*/ 160 h 849"/>
                  <a:gd name="T50" fmla="*/ 803 w 846"/>
                  <a:gd name="T51" fmla="*/ 238 h 849"/>
                  <a:gd name="T52" fmla="*/ 835 w 846"/>
                  <a:gd name="T53" fmla="*/ 327 h 849"/>
                  <a:gd name="T54" fmla="*/ 846 w 846"/>
                  <a:gd name="T55" fmla="*/ 424 h 849"/>
                  <a:gd name="T56" fmla="*/ 835 w 846"/>
                  <a:gd name="T57" fmla="*/ 522 h 849"/>
                  <a:gd name="T58" fmla="*/ 803 w 846"/>
                  <a:gd name="T59" fmla="*/ 611 h 849"/>
                  <a:gd name="T60" fmla="*/ 754 w 846"/>
                  <a:gd name="T61" fmla="*/ 690 h 849"/>
                  <a:gd name="T62" fmla="*/ 687 w 846"/>
                  <a:gd name="T63" fmla="*/ 756 h 849"/>
                  <a:gd name="T64" fmla="*/ 609 w 846"/>
                  <a:gd name="T65" fmla="*/ 806 h 849"/>
                  <a:gd name="T66" fmla="*/ 520 w 846"/>
                  <a:gd name="T67" fmla="*/ 838 h 849"/>
                  <a:gd name="T68" fmla="*/ 423 w 846"/>
                  <a:gd name="T69" fmla="*/ 849 h 849"/>
                  <a:gd name="T70" fmla="*/ 326 w 846"/>
                  <a:gd name="T71" fmla="*/ 838 h 849"/>
                  <a:gd name="T72" fmla="*/ 237 w 846"/>
                  <a:gd name="T73" fmla="*/ 806 h 849"/>
                  <a:gd name="T74" fmla="*/ 159 w 846"/>
                  <a:gd name="T75" fmla="*/ 756 h 849"/>
                  <a:gd name="T76" fmla="*/ 93 w 846"/>
                  <a:gd name="T77" fmla="*/ 690 h 849"/>
                  <a:gd name="T78" fmla="*/ 43 w 846"/>
                  <a:gd name="T79" fmla="*/ 611 h 849"/>
                  <a:gd name="T80" fmla="*/ 11 w 846"/>
                  <a:gd name="T81" fmla="*/ 522 h 849"/>
                  <a:gd name="T82" fmla="*/ 0 w 846"/>
                  <a:gd name="T83" fmla="*/ 424 h 849"/>
                  <a:gd name="T84" fmla="*/ 11 w 846"/>
                  <a:gd name="T85" fmla="*/ 327 h 849"/>
                  <a:gd name="T86" fmla="*/ 43 w 846"/>
                  <a:gd name="T87" fmla="*/ 238 h 849"/>
                  <a:gd name="T88" fmla="*/ 93 w 846"/>
                  <a:gd name="T89" fmla="*/ 160 h 849"/>
                  <a:gd name="T90" fmla="*/ 159 w 846"/>
                  <a:gd name="T91" fmla="*/ 93 h 849"/>
                  <a:gd name="T92" fmla="*/ 237 w 846"/>
                  <a:gd name="T93" fmla="*/ 43 h 849"/>
                  <a:gd name="T94" fmla="*/ 326 w 846"/>
                  <a:gd name="T95" fmla="*/ 11 h 849"/>
                  <a:gd name="T96" fmla="*/ 423 w 846"/>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6" h="849">
                    <a:moveTo>
                      <a:pt x="423" y="188"/>
                    </a:moveTo>
                    <a:lnTo>
                      <a:pt x="385" y="191"/>
                    </a:lnTo>
                    <a:lnTo>
                      <a:pt x="348" y="200"/>
                    </a:lnTo>
                    <a:lnTo>
                      <a:pt x="315" y="215"/>
                    </a:lnTo>
                    <a:lnTo>
                      <a:pt x="284" y="234"/>
                    </a:lnTo>
                    <a:lnTo>
                      <a:pt x="257" y="258"/>
                    </a:lnTo>
                    <a:lnTo>
                      <a:pt x="233" y="285"/>
                    </a:lnTo>
                    <a:lnTo>
                      <a:pt x="214" y="316"/>
                    </a:lnTo>
                    <a:lnTo>
                      <a:pt x="200" y="349"/>
                    </a:lnTo>
                    <a:lnTo>
                      <a:pt x="191" y="386"/>
                    </a:lnTo>
                    <a:lnTo>
                      <a:pt x="187" y="424"/>
                    </a:lnTo>
                    <a:lnTo>
                      <a:pt x="191" y="463"/>
                    </a:lnTo>
                    <a:lnTo>
                      <a:pt x="200" y="499"/>
                    </a:lnTo>
                    <a:lnTo>
                      <a:pt x="214" y="533"/>
                    </a:lnTo>
                    <a:lnTo>
                      <a:pt x="233" y="564"/>
                    </a:lnTo>
                    <a:lnTo>
                      <a:pt x="257" y="592"/>
                    </a:lnTo>
                    <a:lnTo>
                      <a:pt x="284" y="615"/>
                    </a:lnTo>
                    <a:lnTo>
                      <a:pt x="315" y="634"/>
                    </a:lnTo>
                    <a:lnTo>
                      <a:pt x="348" y="649"/>
                    </a:lnTo>
                    <a:lnTo>
                      <a:pt x="385" y="658"/>
                    </a:lnTo>
                    <a:lnTo>
                      <a:pt x="423" y="661"/>
                    </a:lnTo>
                    <a:lnTo>
                      <a:pt x="461" y="658"/>
                    </a:lnTo>
                    <a:lnTo>
                      <a:pt x="497" y="649"/>
                    </a:lnTo>
                    <a:lnTo>
                      <a:pt x="532" y="634"/>
                    </a:lnTo>
                    <a:lnTo>
                      <a:pt x="562" y="615"/>
                    </a:lnTo>
                    <a:lnTo>
                      <a:pt x="590" y="592"/>
                    </a:lnTo>
                    <a:lnTo>
                      <a:pt x="613" y="564"/>
                    </a:lnTo>
                    <a:lnTo>
                      <a:pt x="632" y="533"/>
                    </a:lnTo>
                    <a:lnTo>
                      <a:pt x="647" y="499"/>
                    </a:lnTo>
                    <a:lnTo>
                      <a:pt x="656" y="463"/>
                    </a:lnTo>
                    <a:lnTo>
                      <a:pt x="659" y="424"/>
                    </a:lnTo>
                    <a:lnTo>
                      <a:pt x="656" y="386"/>
                    </a:lnTo>
                    <a:lnTo>
                      <a:pt x="647" y="349"/>
                    </a:lnTo>
                    <a:lnTo>
                      <a:pt x="632" y="316"/>
                    </a:lnTo>
                    <a:lnTo>
                      <a:pt x="613" y="285"/>
                    </a:lnTo>
                    <a:lnTo>
                      <a:pt x="590" y="258"/>
                    </a:lnTo>
                    <a:lnTo>
                      <a:pt x="562" y="234"/>
                    </a:lnTo>
                    <a:lnTo>
                      <a:pt x="532" y="215"/>
                    </a:lnTo>
                    <a:lnTo>
                      <a:pt x="497" y="200"/>
                    </a:lnTo>
                    <a:lnTo>
                      <a:pt x="461" y="191"/>
                    </a:lnTo>
                    <a:lnTo>
                      <a:pt x="423" y="188"/>
                    </a:lnTo>
                    <a:close/>
                    <a:moveTo>
                      <a:pt x="423" y="0"/>
                    </a:moveTo>
                    <a:lnTo>
                      <a:pt x="473" y="2"/>
                    </a:lnTo>
                    <a:lnTo>
                      <a:pt x="520" y="11"/>
                    </a:lnTo>
                    <a:lnTo>
                      <a:pt x="565" y="25"/>
                    </a:lnTo>
                    <a:lnTo>
                      <a:pt x="609" y="43"/>
                    </a:lnTo>
                    <a:lnTo>
                      <a:pt x="650" y="67"/>
                    </a:lnTo>
                    <a:lnTo>
                      <a:pt x="687" y="93"/>
                    </a:lnTo>
                    <a:lnTo>
                      <a:pt x="722" y="125"/>
                    </a:lnTo>
                    <a:lnTo>
                      <a:pt x="754" y="160"/>
                    </a:lnTo>
                    <a:lnTo>
                      <a:pt x="780" y="197"/>
                    </a:lnTo>
                    <a:lnTo>
                      <a:pt x="803" y="238"/>
                    </a:lnTo>
                    <a:lnTo>
                      <a:pt x="822" y="281"/>
                    </a:lnTo>
                    <a:lnTo>
                      <a:pt x="835" y="327"/>
                    </a:lnTo>
                    <a:lnTo>
                      <a:pt x="843" y="375"/>
                    </a:lnTo>
                    <a:lnTo>
                      <a:pt x="846" y="424"/>
                    </a:lnTo>
                    <a:lnTo>
                      <a:pt x="843" y="474"/>
                    </a:lnTo>
                    <a:lnTo>
                      <a:pt x="835" y="522"/>
                    </a:lnTo>
                    <a:lnTo>
                      <a:pt x="822" y="567"/>
                    </a:lnTo>
                    <a:lnTo>
                      <a:pt x="803" y="611"/>
                    </a:lnTo>
                    <a:lnTo>
                      <a:pt x="780" y="652"/>
                    </a:lnTo>
                    <a:lnTo>
                      <a:pt x="754" y="690"/>
                    </a:lnTo>
                    <a:lnTo>
                      <a:pt x="722" y="724"/>
                    </a:lnTo>
                    <a:lnTo>
                      <a:pt x="687" y="756"/>
                    </a:lnTo>
                    <a:lnTo>
                      <a:pt x="650" y="783"/>
                    </a:lnTo>
                    <a:lnTo>
                      <a:pt x="609" y="806"/>
                    </a:lnTo>
                    <a:lnTo>
                      <a:pt x="565" y="824"/>
                    </a:lnTo>
                    <a:lnTo>
                      <a:pt x="520" y="838"/>
                    </a:lnTo>
                    <a:lnTo>
                      <a:pt x="473" y="846"/>
                    </a:lnTo>
                    <a:lnTo>
                      <a:pt x="423" y="849"/>
                    </a:lnTo>
                    <a:lnTo>
                      <a:pt x="374" y="846"/>
                    </a:lnTo>
                    <a:lnTo>
                      <a:pt x="326" y="838"/>
                    </a:lnTo>
                    <a:lnTo>
                      <a:pt x="280" y="824"/>
                    </a:lnTo>
                    <a:lnTo>
                      <a:pt x="237" y="806"/>
                    </a:lnTo>
                    <a:lnTo>
                      <a:pt x="197" y="783"/>
                    </a:lnTo>
                    <a:lnTo>
                      <a:pt x="159" y="756"/>
                    </a:lnTo>
                    <a:lnTo>
                      <a:pt x="124" y="724"/>
                    </a:lnTo>
                    <a:lnTo>
                      <a:pt x="93" y="690"/>
                    </a:lnTo>
                    <a:lnTo>
                      <a:pt x="66" y="652"/>
                    </a:lnTo>
                    <a:lnTo>
                      <a:pt x="43" y="611"/>
                    </a:lnTo>
                    <a:lnTo>
                      <a:pt x="25" y="567"/>
                    </a:lnTo>
                    <a:lnTo>
                      <a:pt x="11" y="522"/>
                    </a:lnTo>
                    <a:lnTo>
                      <a:pt x="2" y="474"/>
                    </a:lnTo>
                    <a:lnTo>
                      <a:pt x="0" y="424"/>
                    </a:lnTo>
                    <a:lnTo>
                      <a:pt x="2" y="375"/>
                    </a:lnTo>
                    <a:lnTo>
                      <a:pt x="11" y="327"/>
                    </a:lnTo>
                    <a:lnTo>
                      <a:pt x="25" y="281"/>
                    </a:lnTo>
                    <a:lnTo>
                      <a:pt x="43" y="238"/>
                    </a:lnTo>
                    <a:lnTo>
                      <a:pt x="66" y="197"/>
                    </a:lnTo>
                    <a:lnTo>
                      <a:pt x="93" y="160"/>
                    </a:lnTo>
                    <a:lnTo>
                      <a:pt x="124" y="125"/>
                    </a:lnTo>
                    <a:lnTo>
                      <a:pt x="159" y="93"/>
                    </a:lnTo>
                    <a:lnTo>
                      <a:pt x="197" y="67"/>
                    </a:lnTo>
                    <a:lnTo>
                      <a:pt x="237" y="43"/>
                    </a:lnTo>
                    <a:lnTo>
                      <a:pt x="280" y="25"/>
                    </a:lnTo>
                    <a:lnTo>
                      <a:pt x="326" y="11"/>
                    </a:lnTo>
                    <a:lnTo>
                      <a:pt x="374" y="2"/>
                    </a:lnTo>
                    <a:lnTo>
                      <a:pt x="423"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4" name="Freeform 516"/>
              <p:cNvSpPr>
                <a:spLocks noEditPoints="1"/>
              </p:cNvSpPr>
              <p:nvPr/>
            </p:nvSpPr>
            <p:spPr bwMode="auto">
              <a:xfrm>
                <a:off x="5992813" y="3602038"/>
                <a:ext cx="334963" cy="336550"/>
              </a:xfrm>
              <a:custGeom>
                <a:avLst/>
                <a:gdLst>
                  <a:gd name="T0" fmla="*/ 385 w 848"/>
                  <a:gd name="T1" fmla="*/ 191 h 849"/>
                  <a:gd name="T2" fmla="*/ 316 w 848"/>
                  <a:gd name="T3" fmla="*/ 215 h 849"/>
                  <a:gd name="T4" fmla="*/ 257 w 848"/>
                  <a:gd name="T5" fmla="*/ 258 h 849"/>
                  <a:gd name="T6" fmla="*/ 214 w 848"/>
                  <a:gd name="T7" fmla="*/ 316 h 849"/>
                  <a:gd name="T8" fmla="*/ 192 w 848"/>
                  <a:gd name="T9" fmla="*/ 386 h 849"/>
                  <a:gd name="T10" fmla="*/ 192 w 848"/>
                  <a:gd name="T11" fmla="*/ 463 h 849"/>
                  <a:gd name="T12" fmla="*/ 214 w 848"/>
                  <a:gd name="T13" fmla="*/ 533 h 849"/>
                  <a:gd name="T14" fmla="*/ 257 w 848"/>
                  <a:gd name="T15" fmla="*/ 592 h 849"/>
                  <a:gd name="T16" fmla="*/ 316 w 848"/>
                  <a:gd name="T17" fmla="*/ 634 h 849"/>
                  <a:gd name="T18" fmla="*/ 385 w 848"/>
                  <a:gd name="T19" fmla="*/ 658 h 849"/>
                  <a:gd name="T20" fmla="*/ 462 w 848"/>
                  <a:gd name="T21" fmla="*/ 658 h 849"/>
                  <a:gd name="T22" fmla="*/ 532 w 848"/>
                  <a:gd name="T23" fmla="*/ 634 h 849"/>
                  <a:gd name="T24" fmla="*/ 590 w 848"/>
                  <a:gd name="T25" fmla="*/ 592 h 849"/>
                  <a:gd name="T26" fmla="*/ 633 w 848"/>
                  <a:gd name="T27" fmla="*/ 533 h 849"/>
                  <a:gd name="T28" fmla="*/ 656 w 848"/>
                  <a:gd name="T29" fmla="*/ 463 h 849"/>
                  <a:gd name="T30" fmla="*/ 656 w 848"/>
                  <a:gd name="T31" fmla="*/ 386 h 849"/>
                  <a:gd name="T32" fmla="*/ 633 w 848"/>
                  <a:gd name="T33" fmla="*/ 316 h 849"/>
                  <a:gd name="T34" fmla="*/ 590 w 848"/>
                  <a:gd name="T35" fmla="*/ 258 h 849"/>
                  <a:gd name="T36" fmla="*/ 532 w 848"/>
                  <a:gd name="T37" fmla="*/ 215 h 849"/>
                  <a:gd name="T38" fmla="*/ 462 w 848"/>
                  <a:gd name="T39" fmla="*/ 191 h 849"/>
                  <a:gd name="T40" fmla="*/ 424 w 848"/>
                  <a:gd name="T41" fmla="*/ 0 h 849"/>
                  <a:gd name="T42" fmla="*/ 521 w 848"/>
                  <a:gd name="T43" fmla="*/ 11 h 849"/>
                  <a:gd name="T44" fmla="*/ 610 w 848"/>
                  <a:gd name="T45" fmla="*/ 43 h 849"/>
                  <a:gd name="T46" fmla="*/ 689 w 848"/>
                  <a:gd name="T47" fmla="*/ 93 h 849"/>
                  <a:gd name="T48" fmla="*/ 754 w 848"/>
                  <a:gd name="T49" fmla="*/ 160 h 849"/>
                  <a:gd name="T50" fmla="*/ 804 w 848"/>
                  <a:gd name="T51" fmla="*/ 238 h 849"/>
                  <a:gd name="T52" fmla="*/ 836 w 848"/>
                  <a:gd name="T53" fmla="*/ 327 h 849"/>
                  <a:gd name="T54" fmla="*/ 848 w 848"/>
                  <a:gd name="T55" fmla="*/ 424 h 849"/>
                  <a:gd name="T56" fmla="*/ 836 w 848"/>
                  <a:gd name="T57" fmla="*/ 522 h 849"/>
                  <a:gd name="T58" fmla="*/ 804 w 848"/>
                  <a:gd name="T59" fmla="*/ 611 h 849"/>
                  <a:gd name="T60" fmla="*/ 754 w 848"/>
                  <a:gd name="T61" fmla="*/ 690 h 849"/>
                  <a:gd name="T62" fmla="*/ 689 w 848"/>
                  <a:gd name="T63" fmla="*/ 756 h 849"/>
                  <a:gd name="T64" fmla="*/ 610 w 848"/>
                  <a:gd name="T65" fmla="*/ 806 h 849"/>
                  <a:gd name="T66" fmla="*/ 521 w 848"/>
                  <a:gd name="T67" fmla="*/ 838 h 849"/>
                  <a:gd name="T68" fmla="*/ 424 w 848"/>
                  <a:gd name="T69" fmla="*/ 849 h 849"/>
                  <a:gd name="T70" fmla="*/ 327 w 848"/>
                  <a:gd name="T71" fmla="*/ 838 h 849"/>
                  <a:gd name="T72" fmla="*/ 238 w 848"/>
                  <a:gd name="T73" fmla="*/ 806 h 849"/>
                  <a:gd name="T74" fmla="*/ 159 w 848"/>
                  <a:gd name="T75" fmla="*/ 756 h 849"/>
                  <a:gd name="T76" fmla="*/ 94 w 848"/>
                  <a:gd name="T77" fmla="*/ 690 h 849"/>
                  <a:gd name="T78" fmla="*/ 44 w 848"/>
                  <a:gd name="T79" fmla="*/ 611 h 849"/>
                  <a:gd name="T80" fmla="*/ 12 w 848"/>
                  <a:gd name="T81" fmla="*/ 522 h 849"/>
                  <a:gd name="T82" fmla="*/ 0 w 848"/>
                  <a:gd name="T83" fmla="*/ 424 h 849"/>
                  <a:gd name="T84" fmla="*/ 12 w 848"/>
                  <a:gd name="T85" fmla="*/ 327 h 849"/>
                  <a:gd name="T86" fmla="*/ 44 w 848"/>
                  <a:gd name="T87" fmla="*/ 238 h 849"/>
                  <a:gd name="T88" fmla="*/ 94 w 848"/>
                  <a:gd name="T89" fmla="*/ 160 h 849"/>
                  <a:gd name="T90" fmla="*/ 159 w 848"/>
                  <a:gd name="T91" fmla="*/ 93 h 849"/>
                  <a:gd name="T92" fmla="*/ 238 w 848"/>
                  <a:gd name="T93" fmla="*/ 43 h 849"/>
                  <a:gd name="T94" fmla="*/ 327 w 848"/>
                  <a:gd name="T95" fmla="*/ 11 h 849"/>
                  <a:gd name="T96" fmla="*/ 424 w 848"/>
                  <a:gd name="T97" fmla="*/ 0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48" h="849">
                    <a:moveTo>
                      <a:pt x="424" y="188"/>
                    </a:moveTo>
                    <a:lnTo>
                      <a:pt x="385" y="191"/>
                    </a:lnTo>
                    <a:lnTo>
                      <a:pt x="350" y="200"/>
                    </a:lnTo>
                    <a:lnTo>
                      <a:pt x="316" y="215"/>
                    </a:lnTo>
                    <a:lnTo>
                      <a:pt x="284" y="234"/>
                    </a:lnTo>
                    <a:lnTo>
                      <a:pt x="257" y="258"/>
                    </a:lnTo>
                    <a:lnTo>
                      <a:pt x="234" y="285"/>
                    </a:lnTo>
                    <a:lnTo>
                      <a:pt x="214" y="316"/>
                    </a:lnTo>
                    <a:lnTo>
                      <a:pt x="200" y="349"/>
                    </a:lnTo>
                    <a:lnTo>
                      <a:pt x="192" y="386"/>
                    </a:lnTo>
                    <a:lnTo>
                      <a:pt x="189" y="424"/>
                    </a:lnTo>
                    <a:lnTo>
                      <a:pt x="192" y="463"/>
                    </a:lnTo>
                    <a:lnTo>
                      <a:pt x="200" y="499"/>
                    </a:lnTo>
                    <a:lnTo>
                      <a:pt x="214" y="533"/>
                    </a:lnTo>
                    <a:lnTo>
                      <a:pt x="234" y="564"/>
                    </a:lnTo>
                    <a:lnTo>
                      <a:pt x="257" y="592"/>
                    </a:lnTo>
                    <a:lnTo>
                      <a:pt x="284" y="615"/>
                    </a:lnTo>
                    <a:lnTo>
                      <a:pt x="316" y="634"/>
                    </a:lnTo>
                    <a:lnTo>
                      <a:pt x="350" y="649"/>
                    </a:lnTo>
                    <a:lnTo>
                      <a:pt x="385" y="658"/>
                    </a:lnTo>
                    <a:lnTo>
                      <a:pt x="424" y="661"/>
                    </a:lnTo>
                    <a:lnTo>
                      <a:pt x="462" y="658"/>
                    </a:lnTo>
                    <a:lnTo>
                      <a:pt x="498" y="649"/>
                    </a:lnTo>
                    <a:lnTo>
                      <a:pt x="532" y="634"/>
                    </a:lnTo>
                    <a:lnTo>
                      <a:pt x="563" y="615"/>
                    </a:lnTo>
                    <a:lnTo>
                      <a:pt x="590" y="592"/>
                    </a:lnTo>
                    <a:lnTo>
                      <a:pt x="614" y="564"/>
                    </a:lnTo>
                    <a:lnTo>
                      <a:pt x="633" y="533"/>
                    </a:lnTo>
                    <a:lnTo>
                      <a:pt x="648" y="499"/>
                    </a:lnTo>
                    <a:lnTo>
                      <a:pt x="656" y="463"/>
                    </a:lnTo>
                    <a:lnTo>
                      <a:pt x="659" y="424"/>
                    </a:lnTo>
                    <a:lnTo>
                      <a:pt x="656" y="386"/>
                    </a:lnTo>
                    <a:lnTo>
                      <a:pt x="648" y="349"/>
                    </a:lnTo>
                    <a:lnTo>
                      <a:pt x="633" y="316"/>
                    </a:lnTo>
                    <a:lnTo>
                      <a:pt x="614" y="285"/>
                    </a:lnTo>
                    <a:lnTo>
                      <a:pt x="590" y="258"/>
                    </a:lnTo>
                    <a:lnTo>
                      <a:pt x="563" y="234"/>
                    </a:lnTo>
                    <a:lnTo>
                      <a:pt x="532" y="215"/>
                    </a:lnTo>
                    <a:lnTo>
                      <a:pt x="498" y="200"/>
                    </a:lnTo>
                    <a:lnTo>
                      <a:pt x="462" y="191"/>
                    </a:lnTo>
                    <a:lnTo>
                      <a:pt x="424" y="188"/>
                    </a:lnTo>
                    <a:close/>
                    <a:moveTo>
                      <a:pt x="424" y="0"/>
                    </a:moveTo>
                    <a:lnTo>
                      <a:pt x="473" y="2"/>
                    </a:lnTo>
                    <a:lnTo>
                      <a:pt x="521" y="11"/>
                    </a:lnTo>
                    <a:lnTo>
                      <a:pt x="567" y="25"/>
                    </a:lnTo>
                    <a:lnTo>
                      <a:pt x="610" y="43"/>
                    </a:lnTo>
                    <a:lnTo>
                      <a:pt x="651" y="67"/>
                    </a:lnTo>
                    <a:lnTo>
                      <a:pt x="689" y="93"/>
                    </a:lnTo>
                    <a:lnTo>
                      <a:pt x="723" y="125"/>
                    </a:lnTo>
                    <a:lnTo>
                      <a:pt x="754" y="160"/>
                    </a:lnTo>
                    <a:lnTo>
                      <a:pt x="781" y="197"/>
                    </a:lnTo>
                    <a:lnTo>
                      <a:pt x="804" y="238"/>
                    </a:lnTo>
                    <a:lnTo>
                      <a:pt x="822" y="281"/>
                    </a:lnTo>
                    <a:lnTo>
                      <a:pt x="836" y="327"/>
                    </a:lnTo>
                    <a:lnTo>
                      <a:pt x="844" y="375"/>
                    </a:lnTo>
                    <a:lnTo>
                      <a:pt x="848" y="424"/>
                    </a:lnTo>
                    <a:lnTo>
                      <a:pt x="844" y="474"/>
                    </a:lnTo>
                    <a:lnTo>
                      <a:pt x="836" y="522"/>
                    </a:lnTo>
                    <a:lnTo>
                      <a:pt x="822" y="567"/>
                    </a:lnTo>
                    <a:lnTo>
                      <a:pt x="804" y="611"/>
                    </a:lnTo>
                    <a:lnTo>
                      <a:pt x="781" y="652"/>
                    </a:lnTo>
                    <a:lnTo>
                      <a:pt x="754" y="690"/>
                    </a:lnTo>
                    <a:lnTo>
                      <a:pt x="723" y="724"/>
                    </a:lnTo>
                    <a:lnTo>
                      <a:pt x="689" y="756"/>
                    </a:lnTo>
                    <a:lnTo>
                      <a:pt x="651" y="783"/>
                    </a:lnTo>
                    <a:lnTo>
                      <a:pt x="610" y="806"/>
                    </a:lnTo>
                    <a:lnTo>
                      <a:pt x="567" y="824"/>
                    </a:lnTo>
                    <a:lnTo>
                      <a:pt x="521" y="838"/>
                    </a:lnTo>
                    <a:lnTo>
                      <a:pt x="473" y="846"/>
                    </a:lnTo>
                    <a:lnTo>
                      <a:pt x="424" y="849"/>
                    </a:lnTo>
                    <a:lnTo>
                      <a:pt x="375" y="846"/>
                    </a:lnTo>
                    <a:lnTo>
                      <a:pt x="327" y="838"/>
                    </a:lnTo>
                    <a:lnTo>
                      <a:pt x="281" y="824"/>
                    </a:lnTo>
                    <a:lnTo>
                      <a:pt x="238" y="806"/>
                    </a:lnTo>
                    <a:lnTo>
                      <a:pt x="197" y="783"/>
                    </a:lnTo>
                    <a:lnTo>
                      <a:pt x="159" y="756"/>
                    </a:lnTo>
                    <a:lnTo>
                      <a:pt x="125" y="724"/>
                    </a:lnTo>
                    <a:lnTo>
                      <a:pt x="94" y="690"/>
                    </a:lnTo>
                    <a:lnTo>
                      <a:pt x="67" y="652"/>
                    </a:lnTo>
                    <a:lnTo>
                      <a:pt x="44" y="611"/>
                    </a:lnTo>
                    <a:lnTo>
                      <a:pt x="25" y="567"/>
                    </a:lnTo>
                    <a:lnTo>
                      <a:pt x="12" y="522"/>
                    </a:lnTo>
                    <a:lnTo>
                      <a:pt x="3" y="474"/>
                    </a:lnTo>
                    <a:lnTo>
                      <a:pt x="0" y="424"/>
                    </a:lnTo>
                    <a:lnTo>
                      <a:pt x="3" y="375"/>
                    </a:lnTo>
                    <a:lnTo>
                      <a:pt x="12" y="327"/>
                    </a:lnTo>
                    <a:lnTo>
                      <a:pt x="25" y="281"/>
                    </a:lnTo>
                    <a:lnTo>
                      <a:pt x="44" y="238"/>
                    </a:lnTo>
                    <a:lnTo>
                      <a:pt x="67" y="197"/>
                    </a:lnTo>
                    <a:lnTo>
                      <a:pt x="94" y="160"/>
                    </a:lnTo>
                    <a:lnTo>
                      <a:pt x="125" y="125"/>
                    </a:lnTo>
                    <a:lnTo>
                      <a:pt x="159" y="93"/>
                    </a:lnTo>
                    <a:lnTo>
                      <a:pt x="197" y="67"/>
                    </a:lnTo>
                    <a:lnTo>
                      <a:pt x="238" y="43"/>
                    </a:lnTo>
                    <a:lnTo>
                      <a:pt x="281" y="25"/>
                    </a:lnTo>
                    <a:lnTo>
                      <a:pt x="327" y="11"/>
                    </a:lnTo>
                    <a:lnTo>
                      <a:pt x="375" y="2"/>
                    </a:lnTo>
                    <a:lnTo>
                      <a:pt x="424"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5" name="Freeform 517"/>
              <p:cNvSpPr>
                <a:spLocks/>
              </p:cNvSpPr>
              <p:nvPr/>
            </p:nvSpPr>
            <p:spPr bwMode="auto">
              <a:xfrm>
                <a:off x="5721351" y="2935288"/>
                <a:ext cx="525463" cy="581025"/>
              </a:xfrm>
              <a:custGeom>
                <a:avLst/>
                <a:gdLst>
                  <a:gd name="T0" fmla="*/ 805 w 1327"/>
                  <a:gd name="T1" fmla="*/ 1 h 1464"/>
                  <a:gd name="T2" fmla="*/ 828 w 1327"/>
                  <a:gd name="T3" fmla="*/ 8 h 1464"/>
                  <a:gd name="T4" fmla="*/ 848 w 1327"/>
                  <a:gd name="T5" fmla="*/ 19 h 1464"/>
                  <a:gd name="T6" fmla="*/ 869 w 1327"/>
                  <a:gd name="T7" fmla="*/ 36 h 1464"/>
                  <a:gd name="T8" fmla="*/ 891 w 1327"/>
                  <a:gd name="T9" fmla="*/ 61 h 1464"/>
                  <a:gd name="T10" fmla="*/ 921 w 1327"/>
                  <a:gd name="T11" fmla="*/ 102 h 1464"/>
                  <a:gd name="T12" fmla="*/ 945 w 1327"/>
                  <a:gd name="T13" fmla="*/ 149 h 1464"/>
                  <a:gd name="T14" fmla="*/ 957 w 1327"/>
                  <a:gd name="T15" fmla="*/ 183 h 1464"/>
                  <a:gd name="T16" fmla="*/ 979 w 1327"/>
                  <a:gd name="T17" fmla="*/ 245 h 1464"/>
                  <a:gd name="T18" fmla="*/ 1003 w 1327"/>
                  <a:gd name="T19" fmla="*/ 325 h 1464"/>
                  <a:gd name="T20" fmla="*/ 1034 w 1327"/>
                  <a:gd name="T21" fmla="*/ 426 h 1464"/>
                  <a:gd name="T22" fmla="*/ 1080 w 1327"/>
                  <a:gd name="T23" fmla="*/ 584 h 1464"/>
                  <a:gd name="T24" fmla="*/ 1161 w 1327"/>
                  <a:gd name="T25" fmla="*/ 867 h 1464"/>
                  <a:gd name="T26" fmla="*/ 1207 w 1327"/>
                  <a:gd name="T27" fmla="*/ 1033 h 1464"/>
                  <a:gd name="T28" fmla="*/ 1247 w 1327"/>
                  <a:gd name="T29" fmla="*/ 1180 h 1464"/>
                  <a:gd name="T30" fmla="*/ 1275 w 1327"/>
                  <a:gd name="T31" fmla="*/ 1281 h 1464"/>
                  <a:gd name="T32" fmla="*/ 1288 w 1327"/>
                  <a:gd name="T33" fmla="*/ 1330 h 1464"/>
                  <a:gd name="T34" fmla="*/ 1299 w 1327"/>
                  <a:gd name="T35" fmla="*/ 1368 h 1464"/>
                  <a:gd name="T36" fmla="*/ 1307 w 1327"/>
                  <a:gd name="T37" fmla="*/ 1394 h 1464"/>
                  <a:gd name="T38" fmla="*/ 1327 w 1327"/>
                  <a:gd name="T39" fmla="*/ 1464 h 1464"/>
                  <a:gd name="T40" fmla="*/ 1203 w 1327"/>
                  <a:gd name="T41" fmla="*/ 1370 h 1464"/>
                  <a:gd name="T42" fmla="*/ 1192 w 1327"/>
                  <a:gd name="T43" fmla="*/ 1334 h 1464"/>
                  <a:gd name="T44" fmla="*/ 1178 w 1327"/>
                  <a:gd name="T45" fmla="*/ 1282 h 1464"/>
                  <a:gd name="T46" fmla="*/ 1143 w 1327"/>
                  <a:gd name="T47" fmla="*/ 1152 h 1464"/>
                  <a:gd name="T48" fmla="*/ 1100 w 1327"/>
                  <a:gd name="T49" fmla="*/ 998 h 1464"/>
                  <a:gd name="T50" fmla="*/ 1020 w 1327"/>
                  <a:gd name="T51" fmla="*/ 715 h 1464"/>
                  <a:gd name="T52" fmla="*/ 973 w 1327"/>
                  <a:gd name="T53" fmla="*/ 548 h 1464"/>
                  <a:gd name="T54" fmla="*/ 928 w 1327"/>
                  <a:gd name="T55" fmla="*/ 398 h 1464"/>
                  <a:gd name="T56" fmla="*/ 904 w 1327"/>
                  <a:gd name="T57" fmla="*/ 320 h 1464"/>
                  <a:gd name="T58" fmla="*/ 886 w 1327"/>
                  <a:gd name="T59" fmla="*/ 264 h 1464"/>
                  <a:gd name="T60" fmla="*/ 867 w 1327"/>
                  <a:gd name="T61" fmla="*/ 207 h 1464"/>
                  <a:gd name="T62" fmla="*/ 854 w 1327"/>
                  <a:gd name="T63" fmla="*/ 177 h 1464"/>
                  <a:gd name="T64" fmla="*/ 851 w 1327"/>
                  <a:gd name="T65" fmla="*/ 168 h 1464"/>
                  <a:gd name="T66" fmla="*/ 823 w 1327"/>
                  <a:gd name="T67" fmla="*/ 125 h 1464"/>
                  <a:gd name="T68" fmla="*/ 803 w 1327"/>
                  <a:gd name="T69" fmla="*/ 102 h 1464"/>
                  <a:gd name="T70" fmla="*/ 795 w 1327"/>
                  <a:gd name="T71" fmla="*/ 97 h 1464"/>
                  <a:gd name="T72" fmla="*/ 789 w 1327"/>
                  <a:gd name="T73" fmla="*/ 94 h 1464"/>
                  <a:gd name="T74" fmla="*/ 233 w 1327"/>
                  <a:gd name="T75" fmla="*/ 96 h 1464"/>
                  <a:gd name="T76" fmla="*/ 188 w 1327"/>
                  <a:gd name="T77" fmla="*/ 103 h 1464"/>
                  <a:gd name="T78" fmla="*/ 149 w 1327"/>
                  <a:gd name="T79" fmla="*/ 119 h 1464"/>
                  <a:gd name="T80" fmla="*/ 127 w 1327"/>
                  <a:gd name="T81" fmla="*/ 134 h 1464"/>
                  <a:gd name="T82" fmla="*/ 117 w 1327"/>
                  <a:gd name="T83" fmla="*/ 145 h 1464"/>
                  <a:gd name="T84" fmla="*/ 99 w 1327"/>
                  <a:gd name="T85" fmla="*/ 186 h 1464"/>
                  <a:gd name="T86" fmla="*/ 95 w 1327"/>
                  <a:gd name="T87" fmla="*/ 217 h 1464"/>
                  <a:gd name="T88" fmla="*/ 95 w 1327"/>
                  <a:gd name="T89" fmla="*/ 284 h 1464"/>
                  <a:gd name="T90" fmla="*/ 2 w 1327"/>
                  <a:gd name="T91" fmla="*/ 1248 h 1464"/>
                  <a:gd name="T92" fmla="*/ 0 w 1327"/>
                  <a:gd name="T93" fmla="*/ 262 h 1464"/>
                  <a:gd name="T94" fmla="*/ 2 w 1327"/>
                  <a:gd name="T95" fmla="*/ 208 h 1464"/>
                  <a:gd name="T96" fmla="*/ 19 w 1327"/>
                  <a:gd name="T97" fmla="*/ 132 h 1464"/>
                  <a:gd name="T98" fmla="*/ 40 w 1327"/>
                  <a:gd name="T99" fmla="*/ 93 h 1464"/>
                  <a:gd name="T100" fmla="*/ 61 w 1327"/>
                  <a:gd name="T101" fmla="*/ 67 h 1464"/>
                  <a:gd name="T102" fmla="*/ 89 w 1327"/>
                  <a:gd name="T103" fmla="*/ 46 h 1464"/>
                  <a:gd name="T104" fmla="*/ 122 w 1327"/>
                  <a:gd name="T105" fmla="*/ 26 h 1464"/>
                  <a:gd name="T106" fmla="*/ 162 w 1327"/>
                  <a:gd name="T107" fmla="*/ 13 h 1464"/>
                  <a:gd name="T108" fmla="*/ 220 w 1327"/>
                  <a:gd name="T109" fmla="*/ 3 h 1464"/>
                  <a:gd name="T110" fmla="*/ 276 w 1327"/>
                  <a:gd name="T111" fmla="*/ 0 h 1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27" h="1464">
                    <a:moveTo>
                      <a:pt x="276" y="0"/>
                    </a:moveTo>
                    <a:lnTo>
                      <a:pt x="795" y="0"/>
                    </a:lnTo>
                    <a:lnTo>
                      <a:pt x="805" y="1"/>
                    </a:lnTo>
                    <a:lnTo>
                      <a:pt x="811" y="2"/>
                    </a:lnTo>
                    <a:lnTo>
                      <a:pt x="819" y="4"/>
                    </a:lnTo>
                    <a:lnTo>
                      <a:pt x="828" y="8"/>
                    </a:lnTo>
                    <a:lnTo>
                      <a:pt x="833" y="10"/>
                    </a:lnTo>
                    <a:lnTo>
                      <a:pt x="841" y="15"/>
                    </a:lnTo>
                    <a:lnTo>
                      <a:pt x="848" y="19"/>
                    </a:lnTo>
                    <a:lnTo>
                      <a:pt x="854" y="24"/>
                    </a:lnTo>
                    <a:lnTo>
                      <a:pt x="862" y="30"/>
                    </a:lnTo>
                    <a:lnTo>
                      <a:pt x="869" y="36"/>
                    </a:lnTo>
                    <a:lnTo>
                      <a:pt x="877" y="44"/>
                    </a:lnTo>
                    <a:lnTo>
                      <a:pt x="886" y="54"/>
                    </a:lnTo>
                    <a:lnTo>
                      <a:pt x="891" y="61"/>
                    </a:lnTo>
                    <a:lnTo>
                      <a:pt x="900" y="72"/>
                    </a:lnTo>
                    <a:lnTo>
                      <a:pt x="910" y="86"/>
                    </a:lnTo>
                    <a:lnTo>
                      <a:pt x="921" y="102"/>
                    </a:lnTo>
                    <a:lnTo>
                      <a:pt x="933" y="123"/>
                    </a:lnTo>
                    <a:lnTo>
                      <a:pt x="940" y="140"/>
                    </a:lnTo>
                    <a:lnTo>
                      <a:pt x="945" y="149"/>
                    </a:lnTo>
                    <a:lnTo>
                      <a:pt x="949" y="159"/>
                    </a:lnTo>
                    <a:lnTo>
                      <a:pt x="953" y="170"/>
                    </a:lnTo>
                    <a:lnTo>
                      <a:pt x="957" y="183"/>
                    </a:lnTo>
                    <a:lnTo>
                      <a:pt x="967" y="211"/>
                    </a:lnTo>
                    <a:lnTo>
                      <a:pt x="973" y="228"/>
                    </a:lnTo>
                    <a:lnTo>
                      <a:pt x="979" y="245"/>
                    </a:lnTo>
                    <a:lnTo>
                      <a:pt x="985" y="263"/>
                    </a:lnTo>
                    <a:lnTo>
                      <a:pt x="991" y="283"/>
                    </a:lnTo>
                    <a:lnTo>
                      <a:pt x="1003" y="325"/>
                    </a:lnTo>
                    <a:lnTo>
                      <a:pt x="1006" y="334"/>
                    </a:lnTo>
                    <a:lnTo>
                      <a:pt x="1019" y="379"/>
                    </a:lnTo>
                    <a:lnTo>
                      <a:pt x="1034" y="426"/>
                    </a:lnTo>
                    <a:lnTo>
                      <a:pt x="1049" y="477"/>
                    </a:lnTo>
                    <a:lnTo>
                      <a:pt x="1064" y="529"/>
                    </a:lnTo>
                    <a:lnTo>
                      <a:pt x="1080" y="584"/>
                    </a:lnTo>
                    <a:lnTo>
                      <a:pt x="1096" y="639"/>
                    </a:lnTo>
                    <a:lnTo>
                      <a:pt x="1112" y="696"/>
                    </a:lnTo>
                    <a:lnTo>
                      <a:pt x="1161" y="867"/>
                    </a:lnTo>
                    <a:lnTo>
                      <a:pt x="1176" y="923"/>
                    </a:lnTo>
                    <a:lnTo>
                      <a:pt x="1191" y="978"/>
                    </a:lnTo>
                    <a:lnTo>
                      <a:pt x="1207" y="1033"/>
                    </a:lnTo>
                    <a:lnTo>
                      <a:pt x="1221" y="1084"/>
                    </a:lnTo>
                    <a:lnTo>
                      <a:pt x="1234" y="1133"/>
                    </a:lnTo>
                    <a:lnTo>
                      <a:pt x="1247" y="1180"/>
                    </a:lnTo>
                    <a:lnTo>
                      <a:pt x="1260" y="1223"/>
                    </a:lnTo>
                    <a:lnTo>
                      <a:pt x="1270" y="1262"/>
                    </a:lnTo>
                    <a:lnTo>
                      <a:pt x="1275" y="1281"/>
                    </a:lnTo>
                    <a:lnTo>
                      <a:pt x="1280" y="1298"/>
                    </a:lnTo>
                    <a:lnTo>
                      <a:pt x="1284" y="1315"/>
                    </a:lnTo>
                    <a:lnTo>
                      <a:pt x="1288" y="1330"/>
                    </a:lnTo>
                    <a:lnTo>
                      <a:pt x="1292" y="1344"/>
                    </a:lnTo>
                    <a:lnTo>
                      <a:pt x="1296" y="1356"/>
                    </a:lnTo>
                    <a:lnTo>
                      <a:pt x="1299" y="1368"/>
                    </a:lnTo>
                    <a:lnTo>
                      <a:pt x="1301" y="1378"/>
                    </a:lnTo>
                    <a:lnTo>
                      <a:pt x="1304" y="1387"/>
                    </a:lnTo>
                    <a:lnTo>
                      <a:pt x="1307" y="1394"/>
                    </a:lnTo>
                    <a:lnTo>
                      <a:pt x="1308" y="1399"/>
                    </a:lnTo>
                    <a:lnTo>
                      <a:pt x="1309" y="1403"/>
                    </a:lnTo>
                    <a:lnTo>
                      <a:pt x="1327" y="1464"/>
                    </a:lnTo>
                    <a:lnTo>
                      <a:pt x="323" y="1464"/>
                    </a:lnTo>
                    <a:lnTo>
                      <a:pt x="323" y="1370"/>
                    </a:lnTo>
                    <a:lnTo>
                      <a:pt x="1203" y="1370"/>
                    </a:lnTo>
                    <a:lnTo>
                      <a:pt x="1201" y="1364"/>
                    </a:lnTo>
                    <a:lnTo>
                      <a:pt x="1197" y="1349"/>
                    </a:lnTo>
                    <a:lnTo>
                      <a:pt x="1192" y="1334"/>
                    </a:lnTo>
                    <a:lnTo>
                      <a:pt x="1188" y="1318"/>
                    </a:lnTo>
                    <a:lnTo>
                      <a:pt x="1183" y="1300"/>
                    </a:lnTo>
                    <a:lnTo>
                      <a:pt x="1178" y="1282"/>
                    </a:lnTo>
                    <a:lnTo>
                      <a:pt x="1168" y="1242"/>
                    </a:lnTo>
                    <a:lnTo>
                      <a:pt x="1156" y="1199"/>
                    </a:lnTo>
                    <a:lnTo>
                      <a:pt x="1143" y="1152"/>
                    </a:lnTo>
                    <a:lnTo>
                      <a:pt x="1129" y="1103"/>
                    </a:lnTo>
                    <a:lnTo>
                      <a:pt x="1115" y="1052"/>
                    </a:lnTo>
                    <a:lnTo>
                      <a:pt x="1100" y="998"/>
                    </a:lnTo>
                    <a:lnTo>
                      <a:pt x="1085" y="943"/>
                    </a:lnTo>
                    <a:lnTo>
                      <a:pt x="1069" y="887"/>
                    </a:lnTo>
                    <a:lnTo>
                      <a:pt x="1020" y="715"/>
                    </a:lnTo>
                    <a:lnTo>
                      <a:pt x="1004" y="659"/>
                    </a:lnTo>
                    <a:lnTo>
                      <a:pt x="989" y="604"/>
                    </a:lnTo>
                    <a:lnTo>
                      <a:pt x="973" y="548"/>
                    </a:lnTo>
                    <a:lnTo>
                      <a:pt x="957" y="496"/>
                    </a:lnTo>
                    <a:lnTo>
                      <a:pt x="942" y="445"/>
                    </a:lnTo>
                    <a:lnTo>
                      <a:pt x="928" y="398"/>
                    </a:lnTo>
                    <a:lnTo>
                      <a:pt x="917" y="361"/>
                    </a:lnTo>
                    <a:lnTo>
                      <a:pt x="917" y="361"/>
                    </a:lnTo>
                    <a:lnTo>
                      <a:pt x="904" y="320"/>
                    </a:lnTo>
                    <a:lnTo>
                      <a:pt x="898" y="300"/>
                    </a:lnTo>
                    <a:lnTo>
                      <a:pt x="892" y="282"/>
                    </a:lnTo>
                    <a:lnTo>
                      <a:pt x="886" y="264"/>
                    </a:lnTo>
                    <a:lnTo>
                      <a:pt x="881" y="248"/>
                    </a:lnTo>
                    <a:lnTo>
                      <a:pt x="871" y="219"/>
                    </a:lnTo>
                    <a:lnTo>
                      <a:pt x="867" y="207"/>
                    </a:lnTo>
                    <a:lnTo>
                      <a:pt x="863" y="196"/>
                    </a:lnTo>
                    <a:lnTo>
                      <a:pt x="859" y="186"/>
                    </a:lnTo>
                    <a:lnTo>
                      <a:pt x="854" y="177"/>
                    </a:lnTo>
                    <a:lnTo>
                      <a:pt x="851" y="170"/>
                    </a:lnTo>
                    <a:lnTo>
                      <a:pt x="852" y="170"/>
                    </a:lnTo>
                    <a:lnTo>
                      <a:pt x="851" y="168"/>
                    </a:lnTo>
                    <a:lnTo>
                      <a:pt x="843" y="154"/>
                    </a:lnTo>
                    <a:lnTo>
                      <a:pt x="833" y="138"/>
                    </a:lnTo>
                    <a:lnTo>
                      <a:pt x="823" y="125"/>
                    </a:lnTo>
                    <a:lnTo>
                      <a:pt x="817" y="117"/>
                    </a:lnTo>
                    <a:lnTo>
                      <a:pt x="811" y="110"/>
                    </a:lnTo>
                    <a:lnTo>
                      <a:pt x="803" y="102"/>
                    </a:lnTo>
                    <a:lnTo>
                      <a:pt x="802" y="101"/>
                    </a:lnTo>
                    <a:lnTo>
                      <a:pt x="802" y="102"/>
                    </a:lnTo>
                    <a:lnTo>
                      <a:pt x="795" y="97"/>
                    </a:lnTo>
                    <a:lnTo>
                      <a:pt x="793" y="96"/>
                    </a:lnTo>
                    <a:lnTo>
                      <a:pt x="791" y="95"/>
                    </a:lnTo>
                    <a:lnTo>
                      <a:pt x="789" y="94"/>
                    </a:lnTo>
                    <a:lnTo>
                      <a:pt x="276" y="94"/>
                    </a:lnTo>
                    <a:lnTo>
                      <a:pt x="252" y="95"/>
                    </a:lnTo>
                    <a:lnTo>
                      <a:pt x="233" y="96"/>
                    </a:lnTo>
                    <a:lnTo>
                      <a:pt x="218" y="98"/>
                    </a:lnTo>
                    <a:lnTo>
                      <a:pt x="199" y="101"/>
                    </a:lnTo>
                    <a:lnTo>
                      <a:pt x="188" y="103"/>
                    </a:lnTo>
                    <a:lnTo>
                      <a:pt x="173" y="108"/>
                    </a:lnTo>
                    <a:lnTo>
                      <a:pt x="159" y="113"/>
                    </a:lnTo>
                    <a:lnTo>
                      <a:pt x="149" y="119"/>
                    </a:lnTo>
                    <a:lnTo>
                      <a:pt x="142" y="123"/>
                    </a:lnTo>
                    <a:lnTo>
                      <a:pt x="135" y="129"/>
                    </a:lnTo>
                    <a:lnTo>
                      <a:pt x="127" y="134"/>
                    </a:lnTo>
                    <a:lnTo>
                      <a:pt x="119" y="143"/>
                    </a:lnTo>
                    <a:lnTo>
                      <a:pt x="119" y="143"/>
                    </a:lnTo>
                    <a:lnTo>
                      <a:pt x="117" y="145"/>
                    </a:lnTo>
                    <a:lnTo>
                      <a:pt x="112" y="153"/>
                    </a:lnTo>
                    <a:lnTo>
                      <a:pt x="105" y="168"/>
                    </a:lnTo>
                    <a:lnTo>
                      <a:pt x="99" y="186"/>
                    </a:lnTo>
                    <a:lnTo>
                      <a:pt x="96" y="204"/>
                    </a:lnTo>
                    <a:lnTo>
                      <a:pt x="95" y="217"/>
                    </a:lnTo>
                    <a:lnTo>
                      <a:pt x="95" y="217"/>
                    </a:lnTo>
                    <a:lnTo>
                      <a:pt x="94" y="240"/>
                    </a:lnTo>
                    <a:lnTo>
                      <a:pt x="94" y="262"/>
                    </a:lnTo>
                    <a:lnTo>
                      <a:pt x="95" y="284"/>
                    </a:lnTo>
                    <a:lnTo>
                      <a:pt x="96" y="304"/>
                    </a:lnTo>
                    <a:lnTo>
                      <a:pt x="96" y="1248"/>
                    </a:lnTo>
                    <a:lnTo>
                      <a:pt x="2" y="1248"/>
                    </a:lnTo>
                    <a:lnTo>
                      <a:pt x="2" y="304"/>
                    </a:lnTo>
                    <a:lnTo>
                      <a:pt x="1" y="284"/>
                    </a:lnTo>
                    <a:lnTo>
                      <a:pt x="0" y="262"/>
                    </a:lnTo>
                    <a:lnTo>
                      <a:pt x="0" y="240"/>
                    </a:lnTo>
                    <a:lnTo>
                      <a:pt x="1" y="217"/>
                    </a:lnTo>
                    <a:lnTo>
                      <a:pt x="2" y="208"/>
                    </a:lnTo>
                    <a:lnTo>
                      <a:pt x="4" y="185"/>
                    </a:lnTo>
                    <a:lnTo>
                      <a:pt x="8" y="162"/>
                    </a:lnTo>
                    <a:lnTo>
                      <a:pt x="19" y="132"/>
                    </a:lnTo>
                    <a:lnTo>
                      <a:pt x="29" y="110"/>
                    </a:lnTo>
                    <a:lnTo>
                      <a:pt x="34" y="103"/>
                    </a:lnTo>
                    <a:lnTo>
                      <a:pt x="40" y="93"/>
                    </a:lnTo>
                    <a:lnTo>
                      <a:pt x="47" y="84"/>
                    </a:lnTo>
                    <a:lnTo>
                      <a:pt x="53" y="76"/>
                    </a:lnTo>
                    <a:lnTo>
                      <a:pt x="61" y="67"/>
                    </a:lnTo>
                    <a:lnTo>
                      <a:pt x="71" y="59"/>
                    </a:lnTo>
                    <a:lnTo>
                      <a:pt x="78" y="53"/>
                    </a:lnTo>
                    <a:lnTo>
                      <a:pt x="89" y="46"/>
                    </a:lnTo>
                    <a:lnTo>
                      <a:pt x="101" y="38"/>
                    </a:lnTo>
                    <a:lnTo>
                      <a:pt x="109" y="34"/>
                    </a:lnTo>
                    <a:lnTo>
                      <a:pt x="122" y="26"/>
                    </a:lnTo>
                    <a:lnTo>
                      <a:pt x="137" y="21"/>
                    </a:lnTo>
                    <a:lnTo>
                      <a:pt x="153" y="16"/>
                    </a:lnTo>
                    <a:lnTo>
                      <a:pt x="162" y="13"/>
                    </a:lnTo>
                    <a:lnTo>
                      <a:pt x="179" y="9"/>
                    </a:lnTo>
                    <a:lnTo>
                      <a:pt x="199" y="6"/>
                    </a:lnTo>
                    <a:lnTo>
                      <a:pt x="220" y="3"/>
                    </a:lnTo>
                    <a:lnTo>
                      <a:pt x="229" y="2"/>
                    </a:lnTo>
                    <a:lnTo>
                      <a:pt x="252" y="1"/>
                    </a:lnTo>
                    <a:lnTo>
                      <a:pt x="276"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6" name="Freeform 518"/>
              <p:cNvSpPr>
                <a:spLocks/>
              </p:cNvSpPr>
              <p:nvPr/>
            </p:nvSpPr>
            <p:spPr bwMode="auto">
              <a:xfrm>
                <a:off x="5818188" y="3259138"/>
                <a:ext cx="52388" cy="233363"/>
              </a:xfrm>
              <a:custGeom>
                <a:avLst/>
                <a:gdLst>
                  <a:gd name="T0" fmla="*/ 33 w 134"/>
                  <a:gd name="T1" fmla="*/ 0 h 586"/>
                  <a:gd name="T2" fmla="*/ 100 w 134"/>
                  <a:gd name="T3" fmla="*/ 0 h 586"/>
                  <a:gd name="T4" fmla="*/ 114 w 134"/>
                  <a:gd name="T5" fmla="*/ 3 h 586"/>
                  <a:gd name="T6" fmla="*/ 124 w 134"/>
                  <a:gd name="T7" fmla="*/ 10 h 586"/>
                  <a:gd name="T8" fmla="*/ 131 w 134"/>
                  <a:gd name="T9" fmla="*/ 21 h 586"/>
                  <a:gd name="T10" fmla="*/ 134 w 134"/>
                  <a:gd name="T11" fmla="*/ 34 h 586"/>
                  <a:gd name="T12" fmla="*/ 134 w 134"/>
                  <a:gd name="T13" fmla="*/ 553 h 586"/>
                  <a:gd name="T14" fmla="*/ 131 w 134"/>
                  <a:gd name="T15" fmla="*/ 565 h 586"/>
                  <a:gd name="T16" fmla="*/ 124 w 134"/>
                  <a:gd name="T17" fmla="*/ 576 h 586"/>
                  <a:gd name="T18" fmla="*/ 114 w 134"/>
                  <a:gd name="T19" fmla="*/ 583 h 586"/>
                  <a:gd name="T20" fmla="*/ 100 w 134"/>
                  <a:gd name="T21" fmla="*/ 586 h 586"/>
                  <a:gd name="T22" fmla="*/ 33 w 134"/>
                  <a:gd name="T23" fmla="*/ 586 h 586"/>
                  <a:gd name="T24" fmla="*/ 20 w 134"/>
                  <a:gd name="T25" fmla="*/ 583 h 586"/>
                  <a:gd name="T26" fmla="*/ 10 w 134"/>
                  <a:gd name="T27" fmla="*/ 576 h 586"/>
                  <a:gd name="T28" fmla="*/ 3 w 134"/>
                  <a:gd name="T29" fmla="*/ 565 h 586"/>
                  <a:gd name="T30" fmla="*/ 0 w 134"/>
                  <a:gd name="T31" fmla="*/ 553 h 586"/>
                  <a:gd name="T32" fmla="*/ 0 w 134"/>
                  <a:gd name="T33" fmla="*/ 34 h 586"/>
                  <a:gd name="T34" fmla="*/ 3 w 134"/>
                  <a:gd name="T35" fmla="*/ 21 h 586"/>
                  <a:gd name="T36" fmla="*/ 10 w 134"/>
                  <a:gd name="T37" fmla="*/ 10 h 586"/>
                  <a:gd name="T38" fmla="*/ 20 w 134"/>
                  <a:gd name="T39" fmla="*/ 3 h 586"/>
                  <a:gd name="T40" fmla="*/ 33 w 134"/>
                  <a:gd name="T41" fmla="*/ 0 h 5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4" h="586">
                    <a:moveTo>
                      <a:pt x="33" y="0"/>
                    </a:moveTo>
                    <a:lnTo>
                      <a:pt x="100" y="0"/>
                    </a:lnTo>
                    <a:lnTo>
                      <a:pt x="114" y="3"/>
                    </a:lnTo>
                    <a:lnTo>
                      <a:pt x="124" y="10"/>
                    </a:lnTo>
                    <a:lnTo>
                      <a:pt x="131" y="21"/>
                    </a:lnTo>
                    <a:lnTo>
                      <a:pt x="134" y="34"/>
                    </a:lnTo>
                    <a:lnTo>
                      <a:pt x="134" y="553"/>
                    </a:lnTo>
                    <a:lnTo>
                      <a:pt x="131" y="565"/>
                    </a:lnTo>
                    <a:lnTo>
                      <a:pt x="124" y="576"/>
                    </a:lnTo>
                    <a:lnTo>
                      <a:pt x="114" y="583"/>
                    </a:lnTo>
                    <a:lnTo>
                      <a:pt x="100" y="586"/>
                    </a:lnTo>
                    <a:lnTo>
                      <a:pt x="33" y="586"/>
                    </a:lnTo>
                    <a:lnTo>
                      <a:pt x="20" y="583"/>
                    </a:lnTo>
                    <a:lnTo>
                      <a:pt x="10" y="576"/>
                    </a:lnTo>
                    <a:lnTo>
                      <a:pt x="3" y="565"/>
                    </a:lnTo>
                    <a:lnTo>
                      <a:pt x="0" y="553"/>
                    </a:lnTo>
                    <a:lnTo>
                      <a:pt x="0" y="34"/>
                    </a:lnTo>
                    <a:lnTo>
                      <a:pt x="3" y="21"/>
                    </a:lnTo>
                    <a:lnTo>
                      <a:pt x="10" y="10"/>
                    </a:lnTo>
                    <a:lnTo>
                      <a:pt x="20" y="3"/>
                    </a:lnTo>
                    <a:lnTo>
                      <a:pt x="33"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sp>
            <p:nvSpPr>
              <p:cNvPr id="67" name="Freeform 519"/>
              <p:cNvSpPr>
                <a:spLocks/>
              </p:cNvSpPr>
              <p:nvPr/>
            </p:nvSpPr>
            <p:spPr bwMode="auto">
              <a:xfrm>
                <a:off x="5427663" y="3416301"/>
                <a:ext cx="896938" cy="374650"/>
              </a:xfrm>
              <a:custGeom>
                <a:avLst/>
                <a:gdLst>
                  <a:gd name="T0" fmla="*/ 1211 w 2260"/>
                  <a:gd name="T1" fmla="*/ 0 h 944"/>
                  <a:gd name="T2" fmla="*/ 1234 w 2260"/>
                  <a:gd name="T3" fmla="*/ 11 h 944"/>
                  <a:gd name="T4" fmla="*/ 1244 w 2260"/>
                  <a:gd name="T5" fmla="*/ 34 h 944"/>
                  <a:gd name="T6" fmla="*/ 2227 w 2260"/>
                  <a:gd name="T7" fmla="*/ 157 h 944"/>
                  <a:gd name="T8" fmla="*/ 2251 w 2260"/>
                  <a:gd name="T9" fmla="*/ 166 h 944"/>
                  <a:gd name="T10" fmla="*/ 2260 w 2260"/>
                  <a:gd name="T11" fmla="*/ 190 h 944"/>
                  <a:gd name="T12" fmla="*/ 2225 w 2260"/>
                  <a:gd name="T13" fmla="*/ 483 h 944"/>
                  <a:gd name="T14" fmla="*/ 2144 w 2260"/>
                  <a:gd name="T15" fmla="*/ 421 h 944"/>
                  <a:gd name="T16" fmla="*/ 2053 w 2260"/>
                  <a:gd name="T17" fmla="*/ 373 h 944"/>
                  <a:gd name="T18" fmla="*/ 1953 w 2260"/>
                  <a:gd name="T19" fmla="*/ 344 h 944"/>
                  <a:gd name="T20" fmla="*/ 1846 w 2260"/>
                  <a:gd name="T21" fmla="*/ 333 h 944"/>
                  <a:gd name="T22" fmla="*/ 1734 w 2260"/>
                  <a:gd name="T23" fmla="*/ 345 h 944"/>
                  <a:gd name="T24" fmla="*/ 1629 w 2260"/>
                  <a:gd name="T25" fmla="*/ 377 h 944"/>
                  <a:gd name="T26" fmla="*/ 1534 w 2260"/>
                  <a:gd name="T27" fmla="*/ 428 h 944"/>
                  <a:gd name="T28" fmla="*/ 1453 w 2260"/>
                  <a:gd name="T29" fmla="*/ 497 h 944"/>
                  <a:gd name="T30" fmla="*/ 1385 w 2260"/>
                  <a:gd name="T31" fmla="*/ 580 h 944"/>
                  <a:gd name="T32" fmla="*/ 1333 w 2260"/>
                  <a:gd name="T33" fmla="*/ 675 h 944"/>
                  <a:gd name="T34" fmla="*/ 1300 w 2260"/>
                  <a:gd name="T35" fmla="*/ 779 h 944"/>
                  <a:gd name="T36" fmla="*/ 1289 w 2260"/>
                  <a:gd name="T37" fmla="*/ 891 h 944"/>
                  <a:gd name="T38" fmla="*/ 1208 w 2260"/>
                  <a:gd name="T39" fmla="*/ 944 h 944"/>
                  <a:gd name="T40" fmla="*/ 1208 w 2260"/>
                  <a:gd name="T41" fmla="*/ 835 h 944"/>
                  <a:gd name="T42" fmla="*/ 1185 w 2260"/>
                  <a:gd name="T43" fmla="*/ 726 h 944"/>
                  <a:gd name="T44" fmla="*/ 1143 w 2260"/>
                  <a:gd name="T45" fmla="*/ 625 h 944"/>
                  <a:gd name="T46" fmla="*/ 1083 w 2260"/>
                  <a:gd name="T47" fmla="*/ 537 h 944"/>
                  <a:gd name="T48" fmla="*/ 1008 w 2260"/>
                  <a:gd name="T49" fmla="*/ 461 h 944"/>
                  <a:gd name="T50" fmla="*/ 919 w 2260"/>
                  <a:gd name="T51" fmla="*/ 401 h 944"/>
                  <a:gd name="T52" fmla="*/ 820 w 2260"/>
                  <a:gd name="T53" fmla="*/ 358 h 944"/>
                  <a:gd name="T54" fmla="*/ 711 w 2260"/>
                  <a:gd name="T55" fmla="*/ 335 h 944"/>
                  <a:gd name="T56" fmla="*/ 598 w 2260"/>
                  <a:gd name="T57" fmla="*/ 335 h 944"/>
                  <a:gd name="T58" fmla="*/ 489 w 2260"/>
                  <a:gd name="T59" fmla="*/ 358 h 944"/>
                  <a:gd name="T60" fmla="*/ 389 w 2260"/>
                  <a:gd name="T61" fmla="*/ 401 h 944"/>
                  <a:gd name="T62" fmla="*/ 300 w 2260"/>
                  <a:gd name="T63" fmla="*/ 461 h 944"/>
                  <a:gd name="T64" fmla="*/ 225 w 2260"/>
                  <a:gd name="T65" fmla="*/ 537 h 944"/>
                  <a:gd name="T66" fmla="*/ 165 w 2260"/>
                  <a:gd name="T67" fmla="*/ 625 h 944"/>
                  <a:gd name="T68" fmla="*/ 122 w 2260"/>
                  <a:gd name="T69" fmla="*/ 726 h 944"/>
                  <a:gd name="T70" fmla="*/ 101 w 2260"/>
                  <a:gd name="T71" fmla="*/ 835 h 944"/>
                  <a:gd name="T72" fmla="*/ 100 w 2260"/>
                  <a:gd name="T73" fmla="*/ 944 h 944"/>
                  <a:gd name="T74" fmla="*/ 20 w 2260"/>
                  <a:gd name="T75" fmla="*/ 942 h 944"/>
                  <a:gd name="T76" fmla="*/ 3 w 2260"/>
                  <a:gd name="T77" fmla="*/ 924 h 944"/>
                  <a:gd name="T78" fmla="*/ 0 w 2260"/>
                  <a:gd name="T79" fmla="*/ 34 h 944"/>
                  <a:gd name="T80" fmla="*/ 10 w 2260"/>
                  <a:gd name="T81" fmla="*/ 11 h 944"/>
                  <a:gd name="T82" fmla="*/ 34 w 2260"/>
                  <a:gd name="T83" fmla="*/ 0 h 9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0" h="944">
                    <a:moveTo>
                      <a:pt x="34" y="0"/>
                    </a:moveTo>
                    <a:lnTo>
                      <a:pt x="1211" y="0"/>
                    </a:lnTo>
                    <a:lnTo>
                      <a:pt x="1224" y="3"/>
                    </a:lnTo>
                    <a:lnTo>
                      <a:pt x="1234" y="11"/>
                    </a:lnTo>
                    <a:lnTo>
                      <a:pt x="1241" y="21"/>
                    </a:lnTo>
                    <a:lnTo>
                      <a:pt x="1244" y="34"/>
                    </a:lnTo>
                    <a:lnTo>
                      <a:pt x="1244" y="157"/>
                    </a:lnTo>
                    <a:lnTo>
                      <a:pt x="2227" y="157"/>
                    </a:lnTo>
                    <a:lnTo>
                      <a:pt x="2240" y="159"/>
                    </a:lnTo>
                    <a:lnTo>
                      <a:pt x="2251" y="166"/>
                    </a:lnTo>
                    <a:lnTo>
                      <a:pt x="2258" y="177"/>
                    </a:lnTo>
                    <a:lnTo>
                      <a:pt x="2260" y="190"/>
                    </a:lnTo>
                    <a:lnTo>
                      <a:pt x="2260" y="520"/>
                    </a:lnTo>
                    <a:lnTo>
                      <a:pt x="2225" y="483"/>
                    </a:lnTo>
                    <a:lnTo>
                      <a:pt x="2186" y="451"/>
                    </a:lnTo>
                    <a:lnTo>
                      <a:pt x="2144" y="421"/>
                    </a:lnTo>
                    <a:lnTo>
                      <a:pt x="2099" y="395"/>
                    </a:lnTo>
                    <a:lnTo>
                      <a:pt x="2053" y="373"/>
                    </a:lnTo>
                    <a:lnTo>
                      <a:pt x="2004" y="356"/>
                    </a:lnTo>
                    <a:lnTo>
                      <a:pt x="1953" y="344"/>
                    </a:lnTo>
                    <a:lnTo>
                      <a:pt x="1900" y="335"/>
                    </a:lnTo>
                    <a:lnTo>
                      <a:pt x="1846" y="333"/>
                    </a:lnTo>
                    <a:lnTo>
                      <a:pt x="1789" y="335"/>
                    </a:lnTo>
                    <a:lnTo>
                      <a:pt x="1734" y="345"/>
                    </a:lnTo>
                    <a:lnTo>
                      <a:pt x="1681" y="358"/>
                    </a:lnTo>
                    <a:lnTo>
                      <a:pt x="1629" y="377"/>
                    </a:lnTo>
                    <a:lnTo>
                      <a:pt x="1581" y="401"/>
                    </a:lnTo>
                    <a:lnTo>
                      <a:pt x="1534" y="428"/>
                    </a:lnTo>
                    <a:lnTo>
                      <a:pt x="1492" y="461"/>
                    </a:lnTo>
                    <a:lnTo>
                      <a:pt x="1453" y="497"/>
                    </a:lnTo>
                    <a:lnTo>
                      <a:pt x="1416" y="537"/>
                    </a:lnTo>
                    <a:lnTo>
                      <a:pt x="1385" y="580"/>
                    </a:lnTo>
                    <a:lnTo>
                      <a:pt x="1356" y="625"/>
                    </a:lnTo>
                    <a:lnTo>
                      <a:pt x="1333" y="675"/>
                    </a:lnTo>
                    <a:lnTo>
                      <a:pt x="1314" y="726"/>
                    </a:lnTo>
                    <a:lnTo>
                      <a:pt x="1300" y="779"/>
                    </a:lnTo>
                    <a:lnTo>
                      <a:pt x="1292" y="835"/>
                    </a:lnTo>
                    <a:lnTo>
                      <a:pt x="1289" y="891"/>
                    </a:lnTo>
                    <a:lnTo>
                      <a:pt x="1292" y="944"/>
                    </a:lnTo>
                    <a:lnTo>
                      <a:pt x="1208" y="944"/>
                    </a:lnTo>
                    <a:lnTo>
                      <a:pt x="1211" y="891"/>
                    </a:lnTo>
                    <a:lnTo>
                      <a:pt x="1208" y="835"/>
                    </a:lnTo>
                    <a:lnTo>
                      <a:pt x="1199" y="779"/>
                    </a:lnTo>
                    <a:lnTo>
                      <a:pt x="1185" y="726"/>
                    </a:lnTo>
                    <a:lnTo>
                      <a:pt x="1167" y="675"/>
                    </a:lnTo>
                    <a:lnTo>
                      <a:pt x="1143" y="625"/>
                    </a:lnTo>
                    <a:lnTo>
                      <a:pt x="1116" y="580"/>
                    </a:lnTo>
                    <a:lnTo>
                      <a:pt x="1083" y="537"/>
                    </a:lnTo>
                    <a:lnTo>
                      <a:pt x="1048" y="497"/>
                    </a:lnTo>
                    <a:lnTo>
                      <a:pt x="1008" y="461"/>
                    </a:lnTo>
                    <a:lnTo>
                      <a:pt x="965" y="428"/>
                    </a:lnTo>
                    <a:lnTo>
                      <a:pt x="919" y="401"/>
                    </a:lnTo>
                    <a:lnTo>
                      <a:pt x="871" y="377"/>
                    </a:lnTo>
                    <a:lnTo>
                      <a:pt x="820" y="358"/>
                    </a:lnTo>
                    <a:lnTo>
                      <a:pt x="766" y="345"/>
                    </a:lnTo>
                    <a:lnTo>
                      <a:pt x="711" y="335"/>
                    </a:lnTo>
                    <a:lnTo>
                      <a:pt x="654" y="333"/>
                    </a:lnTo>
                    <a:lnTo>
                      <a:pt x="598" y="335"/>
                    </a:lnTo>
                    <a:lnTo>
                      <a:pt x="542" y="345"/>
                    </a:lnTo>
                    <a:lnTo>
                      <a:pt x="489" y="358"/>
                    </a:lnTo>
                    <a:lnTo>
                      <a:pt x="438" y="377"/>
                    </a:lnTo>
                    <a:lnTo>
                      <a:pt x="389" y="401"/>
                    </a:lnTo>
                    <a:lnTo>
                      <a:pt x="343" y="428"/>
                    </a:lnTo>
                    <a:lnTo>
                      <a:pt x="300" y="461"/>
                    </a:lnTo>
                    <a:lnTo>
                      <a:pt x="261" y="497"/>
                    </a:lnTo>
                    <a:lnTo>
                      <a:pt x="225" y="537"/>
                    </a:lnTo>
                    <a:lnTo>
                      <a:pt x="192" y="580"/>
                    </a:lnTo>
                    <a:lnTo>
                      <a:pt x="165" y="625"/>
                    </a:lnTo>
                    <a:lnTo>
                      <a:pt x="142" y="675"/>
                    </a:lnTo>
                    <a:lnTo>
                      <a:pt x="122" y="726"/>
                    </a:lnTo>
                    <a:lnTo>
                      <a:pt x="109" y="779"/>
                    </a:lnTo>
                    <a:lnTo>
                      <a:pt x="101" y="835"/>
                    </a:lnTo>
                    <a:lnTo>
                      <a:pt x="98" y="891"/>
                    </a:lnTo>
                    <a:lnTo>
                      <a:pt x="100" y="944"/>
                    </a:lnTo>
                    <a:lnTo>
                      <a:pt x="34" y="944"/>
                    </a:lnTo>
                    <a:lnTo>
                      <a:pt x="20" y="942"/>
                    </a:lnTo>
                    <a:lnTo>
                      <a:pt x="10" y="935"/>
                    </a:lnTo>
                    <a:lnTo>
                      <a:pt x="3" y="924"/>
                    </a:lnTo>
                    <a:lnTo>
                      <a:pt x="0" y="910"/>
                    </a:lnTo>
                    <a:lnTo>
                      <a:pt x="0" y="34"/>
                    </a:lnTo>
                    <a:lnTo>
                      <a:pt x="3" y="21"/>
                    </a:lnTo>
                    <a:lnTo>
                      <a:pt x="10" y="11"/>
                    </a:lnTo>
                    <a:lnTo>
                      <a:pt x="20" y="3"/>
                    </a:lnTo>
                    <a:lnTo>
                      <a:pt x="34" y="0"/>
                    </a:lnTo>
                    <a:close/>
                  </a:path>
                </a:pathLst>
              </a:custGeom>
              <a:grpFill/>
              <a:ln w="0">
                <a:noFill/>
                <a:prstDash val="solid"/>
                <a:round/>
                <a:headEnd/>
                <a:tailEnd/>
              </a:ln>
            </p:spPr>
            <p:txBody>
              <a:bodyPr vert="horz" wrap="square" lIns="87880" tIns="43940" rIns="87880" bIns="4394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30" b="0" i="0" u="none" strike="noStrike" kern="0" cap="none" spc="0" normalizeH="0" baseline="0" noProof="0">
                  <a:ln>
                    <a:noFill/>
                  </a:ln>
                  <a:solidFill>
                    <a:srgbClr val="000000"/>
                  </a:solidFill>
                  <a:effectLst/>
                  <a:uLnTx/>
                  <a:uFillTx/>
                  <a:latin typeface="Calibri" panose="020F0502020204030204"/>
                </a:endParaRPr>
              </a:p>
            </p:txBody>
          </p:sp>
        </p:grpSp>
      </p:grpSp>
      <p:cxnSp>
        <p:nvCxnSpPr>
          <p:cNvPr id="74" name="Straight Arrow Connector 73"/>
          <p:cNvCxnSpPr>
            <a:stCxn id="9" idx="1"/>
          </p:cNvCxnSpPr>
          <p:nvPr/>
        </p:nvCxnSpPr>
        <p:spPr>
          <a:xfrm flipH="1">
            <a:off x="1514038" y="4297008"/>
            <a:ext cx="910672" cy="614636"/>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75" name="Straight Arrow Connector 74"/>
          <p:cNvCxnSpPr/>
          <p:nvPr/>
        </p:nvCxnSpPr>
        <p:spPr>
          <a:xfrm flipH="1">
            <a:off x="1338355" y="4066331"/>
            <a:ext cx="324162" cy="326726"/>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76" name="Straight Arrow Connector 75"/>
          <p:cNvCxnSpPr/>
          <p:nvPr/>
        </p:nvCxnSpPr>
        <p:spPr>
          <a:xfrm flipH="1" flipV="1">
            <a:off x="1324454" y="4205466"/>
            <a:ext cx="465973" cy="717936"/>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77" name="Straight Arrow Connector 76"/>
          <p:cNvCxnSpPr/>
          <p:nvPr/>
        </p:nvCxnSpPr>
        <p:spPr>
          <a:xfrm flipH="1" flipV="1">
            <a:off x="1277855" y="4759585"/>
            <a:ext cx="1298387" cy="1139"/>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78" name="Straight Arrow Connector 77"/>
          <p:cNvCxnSpPr/>
          <p:nvPr/>
        </p:nvCxnSpPr>
        <p:spPr>
          <a:xfrm flipH="1" flipV="1">
            <a:off x="1639749" y="4054573"/>
            <a:ext cx="936494" cy="718259"/>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79" name="Straight Arrow Connector 78"/>
          <p:cNvCxnSpPr/>
          <p:nvPr/>
        </p:nvCxnSpPr>
        <p:spPr>
          <a:xfrm flipH="1" flipV="1">
            <a:off x="1309366" y="4185986"/>
            <a:ext cx="1266877" cy="585356"/>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80" name="Straight Arrow Connector 79"/>
          <p:cNvCxnSpPr>
            <a:endCxn id="70" idx="2"/>
          </p:cNvCxnSpPr>
          <p:nvPr/>
        </p:nvCxnSpPr>
        <p:spPr>
          <a:xfrm flipV="1">
            <a:off x="1315428" y="4171556"/>
            <a:ext cx="765391" cy="526977"/>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81" name="Straight Arrow Connector 80"/>
          <p:cNvCxnSpPr/>
          <p:nvPr/>
        </p:nvCxnSpPr>
        <p:spPr>
          <a:xfrm flipH="1">
            <a:off x="2267734" y="4296732"/>
            <a:ext cx="316510" cy="403798"/>
          </a:xfrm>
          <a:prstGeom prst="straightConnector1">
            <a:avLst/>
          </a:prstGeom>
          <a:noFill/>
          <a:ln w="38100" cap="rnd" cmpd="sng" algn="ctr">
            <a:solidFill>
              <a:sysClr val="window" lastClr="FFFFFF">
                <a:lumMod val="85000"/>
              </a:sysClr>
            </a:solidFill>
            <a:prstDash val="sysDot"/>
            <a:headEnd type="none"/>
            <a:tailEnd type="none"/>
          </a:ln>
          <a:effectLst/>
        </p:spPr>
      </p:cxnSp>
      <p:cxnSp>
        <p:nvCxnSpPr>
          <p:cNvPr id="82" name="Straight Arrow Connector 81"/>
          <p:cNvCxnSpPr>
            <a:stCxn id="9" idx="1"/>
          </p:cNvCxnSpPr>
          <p:nvPr/>
        </p:nvCxnSpPr>
        <p:spPr>
          <a:xfrm flipH="1" flipV="1">
            <a:off x="2241650" y="4171558"/>
            <a:ext cx="183060" cy="125450"/>
          </a:xfrm>
          <a:prstGeom prst="straightConnector1">
            <a:avLst/>
          </a:prstGeom>
          <a:noFill/>
          <a:ln w="38100" cap="rnd" cmpd="sng" algn="ctr">
            <a:solidFill>
              <a:sysClr val="window" lastClr="FFFFFF">
                <a:lumMod val="85000"/>
              </a:sysClr>
            </a:solidFill>
            <a:prstDash val="sysDot"/>
            <a:headEnd type="none"/>
            <a:tailEnd type="none"/>
          </a:ln>
          <a:effectLst/>
        </p:spPr>
      </p:cxnSp>
      <p:pic>
        <p:nvPicPr>
          <p:cNvPr id="83" name="Picture 8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73746" y="3051686"/>
            <a:ext cx="786717" cy="770401"/>
          </a:xfrm>
          <a:prstGeom prst="rect">
            <a:avLst/>
          </a:prstGeom>
        </p:spPr>
      </p:pic>
      <p:pic>
        <p:nvPicPr>
          <p:cNvPr id="84" name="Picture 8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71258" y="3280473"/>
            <a:ext cx="804114" cy="771373"/>
          </a:xfrm>
          <a:prstGeom prst="rect">
            <a:avLst/>
          </a:prstGeom>
        </p:spPr>
      </p:pic>
      <p:pic>
        <p:nvPicPr>
          <p:cNvPr id="85" name="Picture 8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7406" y="3402784"/>
            <a:ext cx="646637" cy="566729"/>
          </a:xfrm>
          <a:prstGeom prst="rect">
            <a:avLst/>
          </a:prstGeom>
        </p:spPr>
      </p:pic>
      <p:sp>
        <p:nvSpPr>
          <p:cNvPr id="86" name="Freeform 239"/>
          <p:cNvSpPr>
            <a:spLocks/>
          </p:cNvSpPr>
          <p:nvPr/>
        </p:nvSpPr>
        <p:spPr bwMode="auto">
          <a:xfrm>
            <a:off x="2477341" y="3454070"/>
            <a:ext cx="590888" cy="460201"/>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solidFill>
            <a:srgbClr val="FFFFFF"/>
          </a:solidFill>
          <a:ln>
            <a:noFill/>
          </a:ln>
          <a:extLst/>
        </p:spPr>
        <p:txBody>
          <a:bodyPr vert="horz" wrap="square" lIns="89630" tIns="44814" rIns="89630" bIns="44814" numCol="1" anchor="t" anchorCtr="0" compatLnSpc="1">
            <a:prstTxWarp prst="textNoShape">
              <a:avLst/>
            </a:prstTxWarp>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76" b="1" i="0" u="none" strike="noStrike" kern="0" cap="none" spc="0" normalizeH="0" baseline="0" noProof="0" dirty="0">
              <a:ln>
                <a:noFill/>
              </a:ln>
              <a:solidFill>
                <a:srgbClr val="00D8CC"/>
              </a:solidFill>
              <a:effectLst/>
              <a:uLnTx/>
              <a:uFillTx/>
            </a:endParaRPr>
          </a:p>
        </p:txBody>
      </p:sp>
      <p:pic>
        <p:nvPicPr>
          <p:cNvPr id="87" name="Picture 8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80380" y="4993939"/>
            <a:ext cx="709210" cy="626665"/>
          </a:xfrm>
          <a:prstGeom prst="rect">
            <a:avLst/>
          </a:prstGeom>
        </p:spPr>
      </p:pic>
      <p:pic>
        <p:nvPicPr>
          <p:cNvPr id="88" name="Picture 87"/>
          <p:cNvPicPr>
            <a:picLocks noChangeAspect="1"/>
          </p:cNvPicPr>
          <p:nvPr/>
        </p:nvPicPr>
        <p:blipFill rotWithShape="1">
          <a:blip r:embed="rId7" cstate="email">
            <a:extLst>
              <a:ext uri="{28A0092B-C50C-407E-A947-70E740481C1C}">
                <a14:useLocalDpi xmlns:a14="http://schemas.microsoft.com/office/drawing/2010/main" val="0"/>
              </a:ext>
            </a:extLst>
          </a:blip>
          <a:srcRect/>
          <a:stretch/>
        </p:blipFill>
        <p:spPr>
          <a:xfrm>
            <a:off x="9115953" y="1303083"/>
            <a:ext cx="2509422" cy="1234096"/>
          </a:xfrm>
          <a:prstGeom prst="rect">
            <a:avLst/>
          </a:prstGeom>
        </p:spPr>
      </p:pic>
      <p:sp>
        <p:nvSpPr>
          <p:cNvPr id="3" name="Left-Right Arrow 2"/>
          <p:cNvSpPr/>
          <p:nvPr/>
        </p:nvSpPr>
        <p:spPr bwMode="auto">
          <a:xfrm>
            <a:off x="362859" y="1380701"/>
            <a:ext cx="2874225" cy="105769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ru-RU"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Сбор и предоставление данных</a:t>
            </a:r>
          </a:p>
        </p:txBody>
      </p:sp>
      <p:sp>
        <p:nvSpPr>
          <p:cNvPr id="89" name="Left-Right Arrow 88"/>
          <p:cNvSpPr/>
          <p:nvPr/>
        </p:nvSpPr>
        <p:spPr bwMode="auto">
          <a:xfrm>
            <a:off x="3244835" y="1380701"/>
            <a:ext cx="2847122" cy="105769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ru-RU"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Коммуникации</a:t>
            </a:r>
          </a:p>
        </p:txBody>
      </p:sp>
      <p:sp>
        <p:nvSpPr>
          <p:cNvPr id="90" name="Left-Right Arrow 89"/>
          <p:cNvSpPr/>
          <p:nvPr/>
        </p:nvSpPr>
        <p:spPr bwMode="auto">
          <a:xfrm>
            <a:off x="6095939" y="1389054"/>
            <a:ext cx="2839153" cy="1057698"/>
          </a:xfrm>
          <a:prstGeom prst="leftRigh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ru-RU" sz="14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Обработка данных</a:t>
            </a:r>
          </a:p>
        </p:txBody>
      </p:sp>
      <p:sp>
        <p:nvSpPr>
          <p:cNvPr id="4" name="Oval 3"/>
          <p:cNvSpPr/>
          <p:nvPr/>
        </p:nvSpPr>
        <p:spPr bwMode="auto">
          <a:xfrm>
            <a:off x="1466861" y="2186170"/>
            <a:ext cx="566781" cy="449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ru-RU"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1</a:t>
            </a:r>
          </a:p>
        </p:txBody>
      </p:sp>
      <p:sp>
        <p:nvSpPr>
          <p:cNvPr id="91" name="Oval 90"/>
          <p:cNvSpPr/>
          <p:nvPr/>
        </p:nvSpPr>
        <p:spPr bwMode="auto">
          <a:xfrm>
            <a:off x="4328933" y="2186170"/>
            <a:ext cx="566781" cy="449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ru-RU"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2</a:t>
            </a:r>
          </a:p>
        </p:txBody>
      </p:sp>
      <p:sp>
        <p:nvSpPr>
          <p:cNvPr id="92" name="Oval 91"/>
          <p:cNvSpPr/>
          <p:nvPr/>
        </p:nvSpPr>
        <p:spPr bwMode="auto">
          <a:xfrm>
            <a:off x="7227963" y="2195057"/>
            <a:ext cx="566781" cy="449943"/>
          </a:xfrm>
          <a:prstGeom prst="ellipse">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r>
              <a:rPr kumimoji="0" lang="ru-RU" sz="1600" b="0" i="0" u="none" strike="noStrike" kern="0" cap="none" spc="0" normalizeH="0" baseline="0" noProof="0" dirty="0">
                <a:ln>
                  <a:noFill/>
                </a:ln>
                <a:gradFill>
                  <a:gsLst>
                    <a:gs pos="0">
                      <a:srgbClr val="FFFFFF"/>
                    </a:gs>
                    <a:gs pos="100000">
                      <a:srgbClr val="FFFFFF"/>
                    </a:gs>
                  </a:gsLst>
                  <a:lin ang="5400000" scaled="0"/>
                </a:gradFill>
                <a:effectLst/>
                <a:uLnTx/>
                <a:uFillTx/>
                <a:ea typeface="Segoe UI" pitchFamily="34" charset="0"/>
                <a:cs typeface="Segoe UI" pitchFamily="34" charset="0"/>
              </a:rPr>
              <a:t>3</a:t>
            </a:r>
          </a:p>
        </p:txBody>
      </p:sp>
      <p:sp>
        <p:nvSpPr>
          <p:cNvPr id="93" name="TextBox 92"/>
          <p:cNvSpPr txBox="1"/>
          <p:nvPr/>
        </p:nvSpPr>
        <p:spPr>
          <a:xfrm>
            <a:off x="506231" y="5791182"/>
            <a:ext cx="11426106" cy="8771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ru-RU" sz="1400" b="0" i="0" u="none" strike="noStrike" kern="0" cap="none" spc="0" normalizeH="0" baseline="0" noProof="0" dirty="0">
                <a:ln>
                  <a:noFill/>
                </a:ln>
                <a:gradFill>
                  <a:gsLst>
                    <a:gs pos="2917">
                      <a:schemeClr val="tx1"/>
                    </a:gs>
                    <a:gs pos="30000">
                      <a:schemeClr val="tx1"/>
                    </a:gs>
                  </a:gsLst>
                  <a:lin ang="5400000" scaled="0"/>
                </a:gradFill>
                <a:effectLst/>
                <a:uLnTx/>
                <a:uFillTx/>
              </a:rPr>
              <a:t>«</a:t>
            </a:r>
            <a:r>
              <a:rPr kumimoji="0" lang="ru-RU" sz="1400" b="1" i="0" u="none" strike="noStrike" kern="0" cap="none" spc="0" normalizeH="0" baseline="0" noProof="0" dirty="0">
                <a:ln>
                  <a:noFill/>
                </a:ln>
                <a:gradFill>
                  <a:gsLst>
                    <a:gs pos="2917">
                      <a:schemeClr val="tx1"/>
                    </a:gs>
                    <a:gs pos="30000">
                      <a:schemeClr val="tx1"/>
                    </a:gs>
                  </a:gsLst>
                  <a:lin ang="5400000" scaled="0"/>
                </a:gradFill>
                <a:effectLst/>
                <a:uLnTx/>
                <a:uFillTx/>
              </a:rPr>
              <a:t>Умный город (регион)</a:t>
            </a:r>
            <a:r>
              <a:rPr kumimoji="0" lang="ru-RU" sz="1400" b="0" i="0" u="none" strike="noStrike" kern="0" cap="none" spc="0" normalizeH="0" baseline="0" noProof="0" dirty="0">
                <a:ln>
                  <a:noFill/>
                </a:ln>
                <a:gradFill>
                  <a:gsLst>
                    <a:gs pos="2917">
                      <a:schemeClr val="tx1"/>
                    </a:gs>
                    <a:gs pos="30000">
                      <a:schemeClr val="tx1"/>
                    </a:gs>
                  </a:gsLst>
                  <a:lin ang="5400000" scaled="0"/>
                </a:gradFill>
                <a:effectLst/>
                <a:uLnTx/>
                <a:uFillTx/>
              </a:rPr>
              <a:t> – это город, который использует ИКТ для улучшений в области </a:t>
            </a:r>
            <a:r>
              <a:rPr kumimoji="0" lang="ru-RU" sz="1400" b="1" i="0" u="none" strike="noStrike" kern="0" cap="none" spc="0" normalizeH="0" baseline="0" noProof="0" dirty="0">
                <a:ln>
                  <a:noFill/>
                </a:ln>
                <a:gradFill>
                  <a:gsLst>
                    <a:gs pos="2917">
                      <a:schemeClr val="tx1"/>
                    </a:gs>
                    <a:gs pos="30000">
                      <a:schemeClr val="tx1"/>
                    </a:gs>
                  </a:gsLst>
                  <a:lin ang="5400000" scaled="0"/>
                </a:gradFill>
                <a:effectLst/>
                <a:uLnTx/>
                <a:uFillTx/>
              </a:rPr>
              <a:t>качества жизни, условий работы и устойчивого развития</a:t>
            </a:r>
            <a:r>
              <a:rPr kumimoji="0" lang="ru-RU" sz="1400" b="0" i="0" u="none" strike="noStrike" kern="0" cap="none" spc="0" normalizeH="0" baseline="0" noProof="0" dirty="0">
                <a:ln>
                  <a:noFill/>
                </a:ln>
                <a:gradFill>
                  <a:gsLst>
                    <a:gs pos="2917">
                      <a:schemeClr val="tx1"/>
                    </a:gs>
                    <a:gs pos="30000">
                      <a:schemeClr val="tx1"/>
                    </a:gs>
                  </a:gsLst>
                  <a:lin ang="5400000" scaled="0"/>
                </a:gradFill>
                <a:effectLst/>
                <a:uLnTx/>
                <a:uFillTx/>
              </a:rPr>
              <a:t>. Эта достигается через использование технологий в 3-х областях: 1) Сбор информации; 2) Коммуникации; 3) Обработка информации» (Smart </a:t>
            </a:r>
            <a:r>
              <a:rPr kumimoji="0" lang="ru-RU" sz="1400" b="0" i="0" u="none" strike="noStrike" kern="0" cap="none" spc="0" normalizeH="0" baseline="0" noProof="0" dirty="0" err="1">
                <a:ln>
                  <a:noFill/>
                </a:ln>
                <a:gradFill>
                  <a:gsLst>
                    <a:gs pos="2917">
                      <a:schemeClr val="tx1"/>
                    </a:gs>
                    <a:gs pos="30000">
                      <a:schemeClr val="tx1"/>
                    </a:gs>
                  </a:gsLst>
                  <a:lin ang="5400000" scaled="0"/>
                </a:gradFill>
                <a:effectLst/>
                <a:uLnTx/>
                <a:uFillTx/>
              </a:rPr>
              <a:t>Cities</a:t>
            </a:r>
            <a:r>
              <a:rPr kumimoji="0" lang="ru-RU" sz="1400" b="0" i="0" u="none" strike="noStrike" kern="0" cap="none" spc="0" normalizeH="0" baseline="0" noProof="0" dirty="0">
                <a:ln>
                  <a:noFill/>
                </a:ln>
                <a:gradFill>
                  <a:gsLst>
                    <a:gs pos="2917">
                      <a:schemeClr val="tx1"/>
                    </a:gs>
                    <a:gs pos="30000">
                      <a:schemeClr val="tx1"/>
                    </a:gs>
                  </a:gsLst>
                  <a:lin ang="5400000" scaled="0"/>
                </a:gradFill>
                <a:effectLst/>
                <a:uLnTx/>
                <a:uFillTx/>
              </a:rPr>
              <a:t> </a:t>
            </a:r>
            <a:r>
              <a:rPr kumimoji="0" lang="ru-RU" sz="1400" b="0" i="0" u="none" strike="noStrike" kern="0" cap="none" spc="0" normalizeH="0" baseline="0" noProof="0" dirty="0" err="1">
                <a:ln>
                  <a:noFill/>
                </a:ln>
                <a:gradFill>
                  <a:gsLst>
                    <a:gs pos="2917">
                      <a:schemeClr val="tx1"/>
                    </a:gs>
                    <a:gs pos="30000">
                      <a:schemeClr val="tx1"/>
                    </a:gs>
                  </a:gsLst>
                  <a:lin ang="5400000" scaled="0"/>
                </a:gradFill>
                <a:effectLst/>
                <a:uLnTx/>
                <a:uFillTx/>
              </a:rPr>
              <a:t>Council</a:t>
            </a:r>
            <a:r>
              <a:rPr kumimoji="0" lang="ru-RU" sz="1400" b="0" i="0" u="none" strike="noStrike" kern="0" cap="none" spc="0" normalizeH="0" baseline="0" noProof="0" dirty="0">
                <a:ln>
                  <a:noFill/>
                </a:ln>
                <a:gradFill>
                  <a:gsLst>
                    <a:gs pos="2917">
                      <a:schemeClr val="tx1"/>
                    </a:gs>
                    <a:gs pos="30000">
                      <a:schemeClr val="tx1"/>
                    </a:gs>
                  </a:gsLst>
                  <a:lin ang="5400000" scaled="0"/>
                </a:gradFill>
                <a:effectLst/>
                <a:uLnTx/>
                <a:uFillTx/>
              </a:rPr>
              <a:t>)</a:t>
            </a:r>
          </a:p>
        </p:txBody>
      </p:sp>
    </p:spTree>
    <p:extLst>
      <p:ext uri="{BB962C8B-B14F-4D97-AF65-F5344CB8AC3E}">
        <p14:creationId xmlns:p14="http://schemas.microsoft.com/office/powerpoint/2010/main" val="152852881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63" presetClass="path" presetSubtype="0" accel="50000" decel="50000" fill="hold" nodeType="withEffect">
                                  <p:stCondLst>
                                    <p:cond delay="20"/>
                                  </p:stCondLst>
                                  <p:childTnLst>
                                    <p:animMotion origin="layout" path="M -0.05235 -3.33333E-6 L 1.875E-6 -3.33333E-6 " pathEditMode="relative" rAng="0" ptsTypes="AA">
                                      <p:cBhvr>
                                        <p:cTn id="9" dur="750" fill="hold"/>
                                        <p:tgtEl>
                                          <p:spTgt spid="50"/>
                                        </p:tgtEl>
                                        <p:attrNameLst>
                                          <p:attrName>ppt_x</p:attrName>
                                          <p:attrName>ppt_y</p:attrName>
                                        </p:attrNameLst>
                                      </p:cBhvr>
                                      <p:rCtr x="2617" y="0"/>
                                    </p:animMotion>
                                  </p:childTnLst>
                                </p:cTn>
                              </p:par>
                              <p:par>
                                <p:cTn id="10" presetID="10" presetClass="entr" presetSubtype="0" fill="hold" nodeType="withEffect">
                                  <p:stCondLst>
                                    <p:cond delay="20"/>
                                  </p:stCondLst>
                                  <p:childTnLst>
                                    <p:set>
                                      <p:cBhvr>
                                        <p:cTn id="11" dur="1" fill="hold">
                                          <p:stCondLst>
                                            <p:cond delay="0"/>
                                          </p:stCondLst>
                                        </p:cTn>
                                        <p:tgtEl>
                                          <p:spTgt spid="36"/>
                                        </p:tgtEl>
                                        <p:attrNameLst>
                                          <p:attrName>style.visibility</p:attrName>
                                        </p:attrNameLst>
                                      </p:cBhvr>
                                      <p:to>
                                        <p:strVal val="visible"/>
                                      </p:to>
                                    </p:set>
                                    <p:animEffect transition="in" filter="fade">
                                      <p:cBhvr>
                                        <p:cTn id="12" dur="500"/>
                                        <p:tgtEl>
                                          <p:spTgt spid="36"/>
                                        </p:tgtEl>
                                      </p:cBhvr>
                                    </p:animEffect>
                                  </p:childTnLst>
                                </p:cTn>
                              </p:par>
                              <p:par>
                                <p:cTn id="13" presetID="63" presetClass="path" presetSubtype="0" accel="50000" decel="50000" fill="hold" nodeType="withEffect">
                                  <p:stCondLst>
                                    <p:cond delay="20"/>
                                  </p:stCondLst>
                                  <p:childTnLst>
                                    <p:animMotion origin="layout" path="M -0.05234 -3.33333E-6 L -3.125E-6 -3.33333E-6 " pathEditMode="relative" rAng="0" ptsTypes="AA">
                                      <p:cBhvr>
                                        <p:cTn id="14" dur="750" fill="hold"/>
                                        <p:tgtEl>
                                          <p:spTgt spid="36"/>
                                        </p:tgtEl>
                                        <p:attrNameLst>
                                          <p:attrName>ppt_x</p:attrName>
                                          <p:attrName>ppt_y</p:attrName>
                                        </p:attrNameLst>
                                      </p:cBhvr>
                                      <p:rCtr x="2617" y="0"/>
                                    </p:animMotion>
                                  </p:childTnLst>
                                </p:cTn>
                              </p:par>
                              <p:par>
                                <p:cTn id="15" presetID="10" presetClass="entr" presetSubtype="0" fill="hold" nodeType="withEffect">
                                  <p:stCondLst>
                                    <p:cond delay="2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par>
                                <p:cTn id="18" presetID="63" presetClass="path" presetSubtype="0" accel="50000" decel="50000" fill="hold" nodeType="withEffect">
                                  <p:stCondLst>
                                    <p:cond delay="20"/>
                                  </p:stCondLst>
                                  <p:childTnLst>
                                    <p:animMotion origin="layout" path="M -0.05234 -3.33333E-6 L 1.04167E-6 -3.33333E-6 " pathEditMode="relative" rAng="0" ptsTypes="AA">
                                      <p:cBhvr>
                                        <p:cTn id="19" dur="750" fill="hold"/>
                                        <p:tgtEl>
                                          <p:spTgt spid="18"/>
                                        </p:tgtEl>
                                        <p:attrNameLst>
                                          <p:attrName>ppt_x</p:attrName>
                                          <p:attrName>ppt_y</p:attrName>
                                        </p:attrNameLst>
                                      </p:cBhvr>
                                      <p:rCtr x="2617" y="0"/>
                                    </p:animMotion>
                                  </p:childTnLst>
                                </p:cTn>
                              </p:par>
                              <p:par>
                                <p:cTn id="20" presetID="10" presetClass="entr" presetSubtype="0" fill="hold" nodeType="withEffect">
                                  <p:stCondLst>
                                    <p:cond delay="2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par>
                                <p:cTn id="23" presetID="63" presetClass="path" presetSubtype="0" accel="50000" decel="50000" fill="hold" nodeType="withEffect">
                                  <p:stCondLst>
                                    <p:cond delay="20"/>
                                  </p:stCondLst>
                                  <p:childTnLst>
                                    <p:animMotion origin="layout" path="M -0.05234 -3.33333E-6 L -3.75E-6 -3.33333E-6 " pathEditMode="relative" rAng="0" ptsTypes="AA">
                                      <p:cBhvr>
                                        <p:cTn id="24" dur="750" fill="hold"/>
                                        <p:tgtEl>
                                          <p:spTgt spid="11"/>
                                        </p:tgtEl>
                                        <p:attrNameLst>
                                          <p:attrName>ppt_x</p:attrName>
                                          <p:attrName>ppt_y</p:attrName>
                                        </p:attrNameLst>
                                      </p:cBhvr>
                                      <p:rCtr x="2617" y="0"/>
                                    </p:animMotion>
                                  </p:childTnLst>
                                </p:cTn>
                              </p:par>
                            </p:childTnLst>
                          </p:cTn>
                        </p:par>
                        <p:par>
                          <p:cTn id="25" fill="hold">
                            <p:stCondLst>
                              <p:cond delay="770"/>
                            </p:stCondLst>
                            <p:childTnLst>
                              <p:par>
                                <p:cTn id="26" presetID="22" presetClass="entr" presetSubtype="4" fill="hold" nodeType="afterEffect">
                                  <p:stCondLst>
                                    <p:cond delay="0"/>
                                  </p:stCondLst>
                                  <p:childTnLst>
                                    <p:set>
                                      <p:cBhvr>
                                        <p:cTn id="27" dur="1" fill="hold">
                                          <p:stCondLst>
                                            <p:cond delay="0"/>
                                          </p:stCondLst>
                                        </p:cTn>
                                        <p:tgtEl>
                                          <p:spTgt spid="80"/>
                                        </p:tgtEl>
                                        <p:attrNameLst>
                                          <p:attrName>style.visibility</p:attrName>
                                        </p:attrNameLst>
                                      </p:cBhvr>
                                      <p:to>
                                        <p:strVal val="visible"/>
                                      </p:to>
                                    </p:set>
                                    <p:animEffect transition="in" filter="wipe(down)">
                                      <p:cBhvr>
                                        <p:cTn id="28" dur="750"/>
                                        <p:tgtEl>
                                          <p:spTgt spid="80"/>
                                        </p:tgtEl>
                                      </p:cBhvr>
                                    </p:animEffect>
                                  </p:childTnLst>
                                </p:cTn>
                              </p:par>
                            </p:childTnLst>
                          </p:cTn>
                        </p:par>
                        <p:par>
                          <p:cTn id="29" fill="hold">
                            <p:stCondLst>
                              <p:cond delay="1520"/>
                            </p:stCondLst>
                            <p:childTnLst>
                              <p:par>
                                <p:cTn id="30" presetID="10" presetClass="exit" presetSubtype="0" fill="hold" nodeType="afterEffect">
                                  <p:stCondLst>
                                    <p:cond delay="0"/>
                                  </p:stCondLst>
                                  <p:childTnLst>
                                    <p:animEffect transition="out" filter="fade">
                                      <p:cBhvr>
                                        <p:cTn id="31" dur="500"/>
                                        <p:tgtEl>
                                          <p:spTgt spid="80"/>
                                        </p:tgtEl>
                                      </p:cBhvr>
                                    </p:animEffect>
                                    <p:set>
                                      <p:cBhvr>
                                        <p:cTn id="32" dur="1" fill="hold">
                                          <p:stCondLst>
                                            <p:cond delay="499"/>
                                          </p:stCondLst>
                                        </p:cTn>
                                        <p:tgtEl>
                                          <p:spTgt spid="80"/>
                                        </p:tgtEl>
                                        <p:attrNameLst>
                                          <p:attrName>style.visibility</p:attrName>
                                        </p:attrNameLst>
                                      </p:cBhvr>
                                      <p:to>
                                        <p:strVal val="hidden"/>
                                      </p:to>
                                    </p:set>
                                  </p:childTnLst>
                                </p:cTn>
                              </p:par>
                              <p:par>
                                <p:cTn id="33" presetID="22" presetClass="entr" presetSubtype="4" fill="hold" nodeType="withEffect">
                                  <p:stCondLst>
                                    <p:cond delay="0"/>
                                  </p:stCondLst>
                                  <p:childTnLst>
                                    <p:set>
                                      <p:cBhvr>
                                        <p:cTn id="34" dur="1" fill="hold">
                                          <p:stCondLst>
                                            <p:cond delay="0"/>
                                          </p:stCondLst>
                                        </p:cTn>
                                        <p:tgtEl>
                                          <p:spTgt spid="76"/>
                                        </p:tgtEl>
                                        <p:attrNameLst>
                                          <p:attrName>style.visibility</p:attrName>
                                        </p:attrNameLst>
                                      </p:cBhvr>
                                      <p:to>
                                        <p:strVal val="visible"/>
                                      </p:to>
                                    </p:set>
                                    <p:animEffect transition="in" filter="wipe(down)">
                                      <p:cBhvr>
                                        <p:cTn id="35" dur="750"/>
                                        <p:tgtEl>
                                          <p:spTgt spid="76"/>
                                        </p:tgtEl>
                                      </p:cBhvr>
                                    </p:animEffect>
                                  </p:childTnLst>
                                </p:cTn>
                              </p:par>
                            </p:childTnLst>
                          </p:cTn>
                        </p:par>
                        <p:par>
                          <p:cTn id="36" fill="hold">
                            <p:stCondLst>
                              <p:cond delay="2270"/>
                            </p:stCondLst>
                            <p:childTnLst>
                              <p:par>
                                <p:cTn id="37" presetID="10" presetClass="exit" presetSubtype="0" fill="hold" nodeType="afterEffect">
                                  <p:stCondLst>
                                    <p:cond delay="0"/>
                                  </p:stCondLst>
                                  <p:childTnLst>
                                    <p:animEffect transition="out" filter="fade">
                                      <p:cBhvr>
                                        <p:cTn id="38" dur="500"/>
                                        <p:tgtEl>
                                          <p:spTgt spid="76"/>
                                        </p:tgtEl>
                                      </p:cBhvr>
                                    </p:animEffect>
                                    <p:set>
                                      <p:cBhvr>
                                        <p:cTn id="39" dur="1" fill="hold">
                                          <p:stCondLst>
                                            <p:cond delay="499"/>
                                          </p:stCondLst>
                                        </p:cTn>
                                        <p:tgtEl>
                                          <p:spTgt spid="76"/>
                                        </p:tgtEl>
                                        <p:attrNameLst>
                                          <p:attrName>style.visibility</p:attrName>
                                        </p:attrNameLst>
                                      </p:cBhvr>
                                      <p:to>
                                        <p:strVal val="hidden"/>
                                      </p:to>
                                    </p:set>
                                  </p:childTnLst>
                                </p:cTn>
                              </p:par>
                              <p:par>
                                <p:cTn id="40" presetID="22" presetClass="entr" presetSubtype="4" fill="hold" nodeType="withEffect">
                                  <p:stCondLst>
                                    <p:cond delay="0"/>
                                  </p:stCondLst>
                                  <p:childTnLst>
                                    <p:set>
                                      <p:cBhvr>
                                        <p:cTn id="41" dur="1" fill="hold">
                                          <p:stCondLst>
                                            <p:cond delay="0"/>
                                          </p:stCondLst>
                                        </p:cTn>
                                        <p:tgtEl>
                                          <p:spTgt spid="75"/>
                                        </p:tgtEl>
                                        <p:attrNameLst>
                                          <p:attrName>style.visibility</p:attrName>
                                        </p:attrNameLst>
                                      </p:cBhvr>
                                      <p:to>
                                        <p:strVal val="visible"/>
                                      </p:to>
                                    </p:set>
                                    <p:animEffect transition="in" filter="wipe(down)">
                                      <p:cBhvr>
                                        <p:cTn id="42" dur="750"/>
                                        <p:tgtEl>
                                          <p:spTgt spid="75"/>
                                        </p:tgtEl>
                                      </p:cBhvr>
                                    </p:animEffect>
                                  </p:childTnLst>
                                </p:cTn>
                              </p:par>
                            </p:childTnLst>
                          </p:cTn>
                        </p:par>
                        <p:par>
                          <p:cTn id="43" fill="hold">
                            <p:stCondLst>
                              <p:cond delay="3020"/>
                            </p:stCondLst>
                            <p:childTnLst>
                              <p:par>
                                <p:cTn id="44" presetID="10" presetClass="exit" presetSubtype="0" fill="hold" nodeType="afterEffect">
                                  <p:stCondLst>
                                    <p:cond delay="0"/>
                                  </p:stCondLst>
                                  <p:childTnLst>
                                    <p:animEffect transition="out" filter="fade">
                                      <p:cBhvr>
                                        <p:cTn id="45" dur="500"/>
                                        <p:tgtEl>
                                          <p:spTgt spid="75"/>
                                        </p:tgtEl>
                                      </p:cBhvr>
                                    </p:animEffect>
                                    <p:set>
                                      <p:cBhvr>
                                        <p:cTn id="46" dur="1" fill="hold">
                                          <p:stCondLst>
                                            <p:cond delay="499"/>
                                          </p:stCondLst>
                                        </p:cTn>
                                        <p:tgtEl>
                                          <p:spTgt spid="75"/>
                                        </p:tgtEl>
                                        <p:attrNameLst>
                                          <p:attrName>style.visibility</p:attrName>
                                        </p:attrNameLst>
                                      </p:cBhvr>
                                      <p:to>
                                        <p:strVal val="hidden"/>
                                      </p:to>
                                    </p:set>
                                  </p:childTnLst>
                                </p:cTn>
                              </p:par>
                              <p:par>
                                <p:cTn id="47" presetID="22" presetClass="entr" presetSubtype="4" fill="hold" nodeType="withEffect">
                                  <p:stCondLst>
                                    <p:cond delay="0"/>
                                  </p:stCondLst>
                                  <p:childTnLst>
                                    <p:set>
                                      <p:cBhvr>
                                        <p:cTn id="48" dur="1" fill="hold">
                                          <p:stCondLst>
                                            <p:cond delay="0"/>
                                          </p:stCondLst>
                                        </p:cTn>
                                        <p:tgtEl>
                                          <p:spTgt spid="74"/>
                                        </p:tgtEl>
                                        <p:attrNameLst>
                                          <p:attrName>style.visibility</p:attrName>
                                        </p:attrNameLst>
                                      </p:cBhvr>
                                      <p:to>
                                        <p:strVal val="visible"/>
                                      </p:to>
                                    </p:set>
                                    <p:animEffect transition="in" filter="wipe(down)">
                                      <p:cBhvr>
                                        <p:cTn id="49" dur="750"/>
                                        <p:tgtEl>
                                          <p:spTgt spid="74"/>
                                        </p:tgtEl>
                                      </p:cBhvr>
                                    </p:animEffect>
                                  </p:childTnLst>
                                </p:cTn>
                              </p:par>
                            </p:childTnLst>
                          </p:cTn>
                        </p:par>
                        <p:par>
                          <p:cTn id="50" fill="hold">
                            <p:stCondLst>
                              <p:cond delay="3770"/>
                            </p:stCondLst>
                            <p:childTnLst>
                              <p:par>
                                <p:cTn id="51" presetID="22" presetClass="entr" presetSubtype="8" fill="hold" grpId="0" nodeType="afterEffect">
                                  <p:stCondLst>
                                    <p:cond delay="0"/>
                                  </p:stCondLst>
                                  <p:childTnLst>
                                    <p:set>
                                      <p:cBhvr>
                                        <p:cTn id="52" dur="1" fill="hold">
                                          <p:stCondLst>
                                            <p:cond delay="0"/>
                                          </p:stCondLst>
                                        </p:cTn>
                                        <p:tgtEl>
                                          <p:spTgt spid="9"/>
                                        </p:tgtEl>
                                        <p:attrNameLst>
                                          <p:attrName>style.visibility</p:attrName>
                                        </p:attrNameLst>
                                      </p:cBhvr>
                                      <p:to>
                                        <p:strVal val="visible"/>
                                      </p:to>
                                    </p:set>
                                    <p:animEffect transition="in" filter="wipe(left)">
                                      <p:cBhvr>
                                        <p:cTn id="53" dur="1000"/>
                                        <p:tgtEl>
                                          <p:spTgt spid="9"/>
                                        </p:tgtEl>
                                      </p:cBhvr>
                                    </p:animEffect>
                                  </p:childTnLst>
                                </p:cTn>
                              </p:par>
                              <p:par>
                                <p:cTn id="54" presetID="6" presetClass="entr" presetSubtype="32" fill="hold" grpId="0" nodeType="withEffect">
                                  <p:stCondLst>
                                    <p:cond delay="0"/>
                                  </p:stCondLst>
                                  <p:childTnLst>
                                    <p:set>
                                      <p:cBhvr>
                                        <p:cTn id="55" dur="1" fill="hold">
                                          <p:stCondLst>
                                            <p:cond delay="0"/>
                                          </p:stCondLst>
                                        </p:cTn>
                                        <p:tgtEl>
                                          <p:spTgt spid="49"/>
                                        </p:tgtEl>
                                        <p:attrNameLst>
                                          <p:attrName>style.visibility</p:attrName>
                                        </p:attrNameLst>
                                      </p:cBhvr>
                                      <p:to>
                                        <p:strVal val="visible"/>
                                      </p:to>
                                    </p:set>
                                    <p:animEffect transition="in" filter="circle(out)">
                                      <p:cBhvr>
                                        <p:cTn id="56" dur="750"/>
                                        <p:tgtEl>
                                          <p:spTgt spid="49"/>
                                        </p:tgtEl>
                                      </p:cBhvr>
                                    </p:animEffect>
                                  </p:childTnLst>
                                </p:cTn>
                              </p:par>
                              <p:par>
                                <p:cTn id="57" presetID="10" presetClass="exit" presetSubtype="0" fill="hold" nodeType="withEffect">
                                  <p:stCondLst>
                                    <p:cond delay="0"/>
                                  </p:stCondLst>
                                  <p:childTnLst>
                                    <p:animEffect transition="out" filter="fade">
                                      <p:cBhvr>
                                        <p:cTn id="58" dur="500"/>
                                        <p:tgtEl>
                                          <p:spTgt spid="74"/>
                                        </p:tgtEl>
                                      </p:cBhvr>
                                    </p:animEffect>
                                    <p:set>
                                      <p:cBhvr>
                                        <p:cTn id="59" dur="1" fill="hold">
                                          <p:stCondLst>
                                            <p:cond delay="499"/>
                                          </p:stCondLst>
                                        </p:cTn>
                                        <p:tgtEl>
                                          <p:spTgt spid="74"/>
                                        </p:tgtEl>
                                        <p:attrNameLst>
                                          <p:attrName>style.visibility</p:attrName>
                                        </p:attrNameLst>
                                      </p:cBhvr>
                                      <p:to>
                                        <p:strVal val="hidden"/>
                                      </p:to>
                                    </p:set>
                                  </p:childTnLst>
                                </p:cTn>
                              </p:par>
                              <p:par>
                                <p:cTn id="60" presetID="22" presetClass="entr" presetSubtype="8" fill="hold" nodeType="withEffect">
                                  <p:stCondLst>
                                    <p:cond delay="0"/>
                                  </p:stCondLst>
                                  <p:childTnLst>
                                    <p:set>
                                      <p:cBhvr>
                                        <p:cTn id="61" dur="1" fill="hold">
                                          <p:stCondLst>
                                            <p:cond delay="0"/>
                                          </p:stCondLst>
                                        </p:cTn>
                                        <p:tgtEl>
                                          <p:spTgt spid="82"/>
                                        </p:tgtEl>
                                        <p:attrNameLst>
                                          <p:attrName>style.visibility</p:attrName>
                                        </p:attrNameLst>
                                      </p:cBhvr>
                                      <p:to>
                                        <p:strVal val="visible"/>
                                      </p:to>
                                    </p:set>
                                    <p:animEffect transition="in" filter="wipe(left)">
                                      <p:cBhvr>
                                        <p:cTn id="62" dur="750"/>
                                        <p:tgtEl>
                                          <p:spTgt spid="82"/>
                                        </p:tgtEl>
                                      </p:cBhvr>
                                    </p:animEffect>
                                  </p:childTnLst>
                                </p:cTn>
                              </p:par>
                            </p:childTnLst>
                          </p:cTn>
                        </p:par>
                        <p:par>
                          <p:cTn id="63" fill="hold">
                            <p:stCondLst>
                              <p:cond delay="4770"/>
                            </p:stCondLst>
                            <p:childTnLst>
                              <p:par>
                                <p:cTn id="64" presetID="10" presetClass="exit" presetSubtype="0" fill="hold" nodeType="afterEffect">
                                  <p:stCondLst>
                                    <p:cond delay="0"/>
                                  </p:stCondLst>
                                  <p:childTnLst>
                                    <p:animEffect transition="out" filter="fade">
                                      <p:cBhvr>
                                        <p:cTn id="65" dur="500"/>
                                        <p:tgtEl>
                                          <p:spTgt spid="82"/>
                                        </p:tgtEl>
                                      </p:cBhvr>
                                    </p:animEffect>
                                    <p:set>
                                      <p:cBhvr>
                                        <p:cTn id="66" dur="1" fill="hold">
                                          <p:stCondLst>
                                            <p:cond delay="499"/>
                                          </p:stCondLst>
                                        </p:cTn>
                                        <p:tgtEl>
                                          <p:spTgt spid="82"/>
                                        </p:tgtEl>
                                        <p:attrNameLst>
                                          <p:attrName>style.visibility</p:attrName>
                                        </p:attrNameLst>
                                      </p:cBhvr>
                                      <p:to>
                                        <p:strVal val="hidden"/>
                                      </p:to>
                                    </p:set>
                                  </p:childTnLst>
                                </p:cTn>
                              </p:par>
                              <p:par>
                                <p:cTn id="67" presetID="22" presetClass="entr" presetSubtype="4" fill="hold" nodeType="withEffect">
                                  <p:stCondLst>
                                    <p:cond delay="0"/>
                                  </p:stCondLst>
                                  <p:childTnLst>
                                    <p:set>
                                      <p:cBhvr>
                                        <p:cTn id="68" dur="1" fill="hold">
                                          <p:stCondLst>
                                            <p:cond delay="0"/>
                                          </p:stCondLst>
                                        </p:cTn>
                                        <p:tgtEl>
                                          <p:spTgt spid="81"/>
                                        </p:tgtEl>
                                        <p:attrNameLst>
                                          <p:attrName>style.visibility</p:attrName>
                                        </p:attrNameLst>
                                      </p:cBhvr>
                                      <p:to>
                                        <p:strVal val="visible"/>
                                      </p:to>
                                    </p:set>
                                    <p:animEffect transition="in" filter="wipe(down)">
                                      <p:cBhvr>
                                        <p:cTn id="69" dur="750"/>
                                        <p:tgtEl>
                                          <p:spTgt spid="81"/>
                                        </p:tgtEl>
                                      </p:cBhvr>
                                    </p:animEffect>
                                  </p:childTnLst>
                                </p:cTn>
                              </p:par>
                            </p:childTnLst>
                          </p:cTn>
                        </p:par>
                        <p:par>
                          <p:cTn id="70" fill="hold">
                            <p:stCondLst>
                              <p:cond delay="5520"/>
                            </p:stCondLst>
                            <p:childTnLst>
                              <p:par>
                                <p:cTn id="71" presetID="10" presetClass="exit" presetSubtype="0" fill="hold" nodeType="afterEffect">
                                  <p:stCondLst>
                                    <p:cond delay="0"/>
                                  </p:stCondLst>
                                  <p:childTnLst>
                                    <p:animEffect transition="out" filter="fade">
                                      <p:cBhvr>
                                        <p:cTn id="72" dur="500"/>
                                        <p:tgtEl>
                                          <p:spTgt spid="81"/>
                                        </p:tgtEl>
                                      </p:cBhvr>
                                    </p:animEffect>
                                    <p:set>
                                      <p:cBhvr>
                                        <p:cTn id="73" dur="1" fill="hold">
                                          <p:stCondLst>
                                            <p:cond delay="499"/>
                                          </p:stCondLst>
                                        </p:cTn>
                                        <p:tgtEl>
                                          <p:spTgt spid="81"/>
                                        </p:tgtEl>
                                        <p:attrNameLst>
                                          <p:attrName>style.visibility</p:attrName>
                                        </p:attrNameLst>
                                      </p:cBhvr>
                                      <p:to>
                                        <p:strVal val="hidden"/>
                                      </p:to>
                                    </p:set>
                                  </p:childTnLst>
                                </p:cTn>
                              </p:par>
                            </p:childTnLst>
                          </p:cTn>
                        </p:par>
                        <p:par>
                          <p:cTn id="74" fill="hold">
                            <p:stCondLst>
                              <p:cond delay="6020"/>
                            </p:stCondLst>
                            <p:childTnLst>
                              <p:par>
                                <p:cTn id="75" presetID="22" presetClass="entr" presetSubtype="2" fill="hold" grpId="0" nodeType="afterEffect">
                                  <p:stCondLst>
                                    <p:cond delay="0"/>
                                  </p:stCondLst>
                                  <p:childTnLst>
                                    <p:set>
                                      <p:cBhvr>
                                        <p:cTn id="76" dur="1" fill="hold">
                                          <p:stCondLst>
                                            <p:cond delay="0"/>
                                          </p:stCondLst>
                                        </p:cTn>
                                        <p:tgtEl>
                                          <p:spTgt spid="10"/>
                                        </p:tgtEl>
                                        <p:attrNameLst>
                                          <p:attrName>style.visibility</p:attrName>
                                        </p:attrNameLst>
                                      </p:cBhvr>
                                      <p:to>
                                        <p:strVal val="visible"/>
                                      </p:to>
                                    </p:set>
                                    <p:animEffect transition="in" filter="wipe(right)">
                                      <p:cBhvr>
                                        <p:cTn id="77" dur="1000"/>
                                        <p:tgtEl>
                                          <p:spTgt spid="10"/>
                                        </p:tgtEl>
                                      </p:cBhvr>
                                    </p:animEffect>
                                  </p:childTnLst>
                                </p:cTn>
                              </p:par>
                            </p:childTnLst>
                          </p:cTn>
                        </p:par>
                        <p:par>
                          <p:cTn id="78" fill="hold">
                            <p:stCondLst>
                              <p:cond delay="7020"/>
                            </p:stCondLst>
                            <p:childTnLst>
                              <p:par>
                                <p:cTn id="79" presetID="22" presetClass="entr" presetSubtype="2" fill="hold" nodeType="afterEffect">
                                  <p:stCondLst>
                                    <p:cond delay="0"/>
                                  </p:stCondLst>
                                  <p:childTnLst>
                                    <p:set>
                                      <p:cBhvr>
                                        <p:cTn id="80" dur="1" fill="hold">
                                          <p:stCondLst>
                                            <p:cond delay="0"/>
                                          </p:stCondLst>
                                        </p:cTn>
                                        <p:tgtEl>
                                          <p:spTgt spid="77"/>
                                        </p:tgtEl>
                                        <p:attrNameLst>
                                          <p:attrName>style.visibility</p:attrName>
                                        </p:attrNameLst>
                                      </p:cBhvr>
                                      <p:to>
                                        <p:strVal val="visible"/>
                                      </p:to>
                                    </p:set>
                                    <p:animEffect transition="in" filter="wipe(right)">
                                      <p:cBhvr>
                                        <p:cTn id="81" dur="750"/>
                                        <p:tgtEl>
                                          <p:spTgt spid="77"/>
                                        </p:tgtEl>
                                      </p:cBhvr>
                                    </p:animEffect>
                                  </p:childTnLst>
                                </p:cTn>
                              </p:par>
                            </p:childTnLst>
                          </p:cTn>
                        </p:par>
                        <p:par>
                          <p:cTn id="82" fill="hold">
                            <p:stCondLst>
                              <p:cond delay="7770"/>
                            </p:stCondLst>
                            <p:childTnLst>
                              <p:par>
                                <p:cTn id="83" presetID="10" presetClass="exit" presetSubtype="0" fill="hold" nodeType="afterEffect">
                                  <p:stCondLst>
                                    <p:cond delay="0"/>
                                  </p:stCondLst>
                                  <p:childTnLst>
                                    <p:animEffect transition="out" filter="fade">
                                      <p:cBhvr>
                                        <p:cTn id="84" dur="500"/>
                                        <p:tgtEl>
                                          <p:spTgt spid="77"/>
                                        </p:tgtEl>
                                      </p:cBhvr>
                                    </p:animEffect>
                                    <p:set>
                                      <p:cBhvr>
                                        <p:cTn id="85" dur="1" fill="hold">
                                          <p:stCondLst>
                                            <p:cond delay="499"/>
                                          </p:stCondLst>
                                        </p:cTn>
                                        <p:tgtEl>
                                          <p:spTgt spid="77"/>
                                        </p:tgtEl>
                                        <p:attrNameLst>
                                          <p:attrName>style.visibility</p:attrName>
                                        </p:attrNameLst>
                                      </p:cBhvr>
                                      <p:to>
                                        <p:strVal val="hidden"/>
                                      </p:to>
                                    </p:set>
                                  </p:childTnLst>
                                </p:cTn>
                              </p:par>
                              <p:par>
                                <p:cTn id="86" presetID="22" presetClass="entr" presetSubtype="2" fill="hold"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wipe(right)">
                                      <p:cBhvr>
                                        <p:cTn id="88" dur="750"/>
                                        <p:tgtEl>
                                          <p:spTgt spid="78"/>
                                        </p:tgtEl>
                                      </p:cBhvr>
                                    </p:animEffect>
                                  </p:childTnLst>
                                </p:cTn>
                              </p:par>
                            </p:childTnLst>
                          </p:cTn>
                        </p:par>
                        <p:par>
                          <p:cTn id="89" fill="hold">
                            <p:stCondLst>
                              <p:cond delay="8520"/>
                            </p:stCondLst>
                            <p:childTnLst>
                              <p:par>
                                <p:cTn id="90" presetID="10" presetClass="exit" presetSubtype="0" fill="hold" nodeType="afterEffect">
                                  <p:stCondLst>
                                    <p:cond delay="0"/>
                                  </p:stCondLst>
                                  <p:childTnLst>
                                    <p:animEffect transition="out" filter="fade">
                                      <p:cBhvr>
                                        <p:cTn id="91" dur="500"/>
                                        <p:tgtEl>
                                          <p:spTgt spid="78"/>
                                        </p:tgtEl>
                                      </p:cBhvr>
                                    </p:animEffect>
                                    <p:set>
                                      <p:cBhvr>
                                        <p:cTn id="92" dur="1" fill="hold">
                                          <p:stCondLst>
                                            <p:cond delay="499"/>
                                          </p:stCondLst>
                                        </p:cTn>
                                        <p:tgtEl>
                                          <p:spTgt spid="78"/>
                                        </p:tgtEl>
                                        <p:attrNameLst>
                                          <p:attrName>style.visibility</p:attrName>
                                        </p:attrNameLst>
                                      </p:cBhvr>
                                      <p:to>
                                        <p:strVal val="hidden"/>
                                      </p:to>
                                    </p:set>
                                  </p:childTnLst>
                                </p:cTn>
                              </p:par>
                              <p:par>
                                <p:cTn id="93" presetID="22" presetClass="entr" presetSubtype="2" fill="hold" nodeType="withEffect">
                                  <p:stCondLst>
                                    <p:cond delay="0"/>
                                  </p:stCondLst>
                                  <p:childTnLst>
                                    <p:set>
                                      <p:cBhvr>
                                        <p:cTn id="94" dur="1" fill="hold">
                                          <p:stCondLst>
                                            <p:cond delay="0"/>
                                          </p:stCondLst>
                                        </p:cTn>
                                        <p:tgtEl>
                                          <p:spTgt spid="79"/>
                                        </p:tgtEl>
                                        <p:attrNameLst>
                                          <p:attrName>style.visibility</p:attrName>
                                        </p:attrNameLst>
                                      </p:cBhvr>
                                      <p:to>
                                        <p:strVal val="visible"/>
                                      </p:to>
                                    </p:set>
                                    <p:animEffect transition="in" filter="wipe(right)">
                                      <p:cBhvr>
                                        <p:cTn id="95" dur="750"/>
                                        <p:tgtEl>
                                          <p:spTgt spid="79"/>
                                        </p:tgtEl>
                                      </p:cBhvr>
                                    </p:animEffect>
                                  </p:childTnLst>
                                </p:cTn>
                              </p:par>
                            </p:childTnLst>
                          </p:cTn>
                        </p:par>
                        <p:par>
                          <p:cTn id="96" fill="hold">
                            <p:stCondLst>
                              <p:cond delay="9270"/>
                            </p:stCondLst>
                            <p:childTnLst>
                              <p:par>
                                <p:cTn id="97" presetID="10" presetClass="exit" presetSubtype="0" fill="hold" nodeType="afterEffect">
                                  <p:stCondLst>
                                    <p:cond delay="0"/>
                                  </p:stCondLst>
                                  <p:childTnLst>
                                    <p:animEffect transition="out" filter="fade">
                                      <p:cBhvr>
                                        <p:cTn id="98" dur="500"/>
                                        <p:tgtEl>
                                          <p:spTgt spid="79"/>
                                        </p:tgtEl>
                                      </p:cBhvr>
                                    </p:animEffect>
                                    <p:set>
                                      <p:cBhvr>
                                        <p:cTn id="99" dur="1" fill="hold">
                                          <p:stCondLst>
                                            <p:cond delay="499"/>
                                          </p:stCondLst>
                                        </p:cTn>
                                        <p:tgtEl>
                                          <p:spTgt spid="79"/>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4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53783" y="165341"/>
            <a:ext cx="10515600" cy="656851"/>
          </a:xfrm>
        </p:spPr>
        <p:txBody>
          <a:bodyPr>
            <a:normAutofit fontScale="90000"/>
          </a:bodyPr>
          <a:lstStyle/>
          <a:p>
            <a:r>
              <a:rPr lang="ru-RU" dirty="0"/>
              <a:t>Умный город, регион</a:t>
            </a:r>
          </a:p>
        </p:txBody>
      </p:sp>
      <p:sp>
        <p:nvSpPr>
          <p:cNvPr id="3" name="Content Placeholder 2"/>
          <p:cNvSpPr>
            <a:spLocks noGrp="1"/>
          </p:cNvSpPr>
          <p:nvPr>
            <p:ph idx="1"/>
          </p:nvPr>
        </p:nvSpPr>
        <p:spPr>
          <a:xfrm>
            <a:off x="884305" y="814510"/>
            <a:ext cx="10515600" cy="1180546"/>
          </a:xfrm>
        </p:spPr>
        <p:txBody>
          <a:bodyPr>
            <a:normAutofit fontScale="70000" lnSpcReduction="20000"/>
          </a:bodyPr>
          <a:lstStyle/>
          <a:p>
            <a:r>
              <a:rPr lang="ru-RU" dirty="0"/>
              <a:t>«Умные города собирают, анализируют и используют информацию для достижения целей, связанных с улучшением условий жизни граждан, а также устойчивого роста и развития»</a:t>
            </a:r>
          </a:p>
        </p:txBody>
      </p:sp>
      <p:sp>
        <p:nvSpPr>
          <p:cNvPr id="4" name="TextBox 3"/>
          <p:cNvSpPr txBox="1"/>
          <p:nvPr/>
        </p:nvSpPr>
        <p:spPr>
          <a:xfrm>
            <a:off x="179951" y="5818908"/>
            <a:ext cx="2978885" cy="849463"/>
          </a:xfrm>
          <a:prstGeom prst="rect">
            <a:avLst/>
          </a:prstGeom>
          <a:noFill/>
        </p:spPr>
        <p:txBody>
          <a:bodyPr wrap="square" lIns="182880" tIns="146304" rIns="182880" bIns="146304" rtlCol="0">
            <a:spAutoFit/>
          </a:bodyPr>
          <a:lstStyle/>
          <a:p>
            <a:pPr marL="0" marR="0" lvl="0" indent="0" defTabSz="914400" eaLnBrk="1" fontAlgn="auto" latinLnBrk="0" hangingPunct="1">
              <a:lnSpc>
                <a:spcPct val="90000"/>
              </a:lnSpc>
              <a:spcBef>
                <a:spcPts val="0"/>
              </a:spcBef>
              <a:spcAft>
                <a:spcPts val="600"/>
              </a:spcAft>
              <a:buClrTx/>
              <a:buSzTx/>
              <a:buFontTx/>
              <a:buNone/>
              <a:tabLst/>
              <a:defRPr/>
            </a:pPr>
            <a:r>
              <a:rPr kumimoji="0" lang="ru-RU" sz="2000" b="0" i="0" u="none" strike="noStrike" kern="0" cap="none" spc="0" normalizeH="0" baseline="0" noProof="0" dirty="0">
                <a:ln>
                  <a:noFill/>
                </a:ln>
                <a:gradFill>
                  <a:gsLst>
                    <a:gs pos="2917">
                      <a:schemeClr val="tx1"/>
                    </a:gs>
                    <a:gs pos="30000">
                      <a:schemeClr val="tx1"/>
                    </a:gs>
                  </a:gsLst>
                  <a:lin ang="5400000" scaled="0"/>
                </a:gradFill>
                <a:effectLst/>
                <a:uLnTx/>
                <a:uFillTx/>
              </a:rPr>
              <a:t>Модель «умных» городов </a:t>
            </a:r>
            <a:r>
              <a:rPr kumimoji="0" lang="en-US" sz="2000" b="0" i="0" u="none" strike="noStrike" kern="0" cap="none" spc="0" normalizeH="0" baseline="0" noProof="0" dirty="0">
                <a:ln>
                  <a:noFill/>
                </a:ln>
                <a:gradFill>
                  <a:gsLst>
                    <a:gs pos="2917">
                      <a:schemeClr val="tx1"/>
                    </a:gs>
                    <a:gs pos="30000">
                      <a:schemeClr val="tx1"/>
                    </a:gs>
                  </a:gsLst>
                  <a:lin ang="5400000" scaled="0"/>
                </a:gradFill>
                <a:effectLst/>
                <a:uLnTx/>
                <a:uFillTx/>
              </a:rPr>
              <a:t>(Gartner, IDC)</a:t>
            </a:r>
            <a:endParaRPr kumimoji="0" lang="ru-RU" sz="2000" b="0" i="0" u="none" strike="noStrike" kern="0" cap="none" spc="0" normalizeH="0" baseline="0" noProof="0" dirty="0" err="1">
              <a:ln>
                <a:noFill/>
              </a:ln>
              <a:gradFill>
                <a:gsLst>
                  <a:gs pos="2917">
                    <a:schemeClr val="tx1"/>
                  </a:gs>
                  <a:gs pos="30000">
                    <a:schemeClr val="tx1"/>
                  </a:gs>
                </a:gsLst>
                <a:lin ang="5400000" scaled="0"/>
              </a:gradFill>
              <a:effectLst/>
              <a:uLnTx/>
              <a:uFillTx/>
            </a:endParaRPr>
          </a:p>
        </p:txBody>
      </p:sp>
      <p:pic>
        <p:nvPicPr>
          <p:cNvPr id="6" name="Picture 5"/>
          <p:cNvPicPr>
            <a:picLocks noChangeAspect="1"/>
          </p:cNvPicPr>
          <p:nvPr/>
        </p:nvPicPr>
        <p:blipFill>
          <a:blip r:embed="rId3"/>
          <a:stretch>
            <a:fillRect/>
          </a:stretch>
        </p:blipFill>
        <p:spPr>
          <a:xfrm>
            <a:off x="1669393" y="2286763"/>
            <a:ext cx="8352062" cy="3929310"/>
          </a:xfrm>
          <a:prstGeom prst="rect">
            <a:avLst/>
          </a:prstGeom>
        </p:spPr>
      </p:pic>
    </p:spTree>
    <p:extLst>
      <p:ext uri="{BB962C8B-B14F-4D97-AF65-F5344CB8AC3E}">
        <p14:creationId xmlns:p14="http://schemas.microsoft.com/office/powerpoint/2010/main" val="154006321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4897" y="62165"/>
            <a:ext cx="11655840" cy="648830"/>
          </a:xfrm>
        </p:spPr>
        <p:txBody>
          <a:bodyPr/>
          <a:lstStyle/>
          <a:p>
            <a:pPr defTabSz="896214"/>
            <a:r>
              <a:rPr lang="en-US" sz="3600" dirty="0">
                <a:solidFill>
                  <a:schemeClr val="accent4"/>
                </a:solidFill>
                <a:latin typeface="Segoe UI Light" pitchFamily="34" charset="0"/>
                <a:ea typeface="+mj-ea"/>
                <a:cs typeface="+mj-cs"/>
              </a:rPr>
              <a:t>Microsoft CityNext</a:t>
            </a:r>
            <a:r>
              <a:rPr lang="ru-RU" sz="3600" dirty="0">
                <a:solidFill>
                  <a:schemeClr val="accent4"/>
                </a:solidFill>
                <a:latin typeface="Segoe UI Light" pitchFamily="34" charset="0"/>
                <a:ea typeface="+mj-ea"/>
                <a:cs typeface="+mj-cs"/>
              </a:rPr>
              <a:t> – Цифровые города и регионы будущего</a:t>
            </a:r>
            <a:endParaRPr lang="en-US" sz="3600" dirty="0">
              <a:solidFill>
                <a:schemeClr val="accent4"/>
              </a:solidFill>
              <a:latin typeface="Segoe UI Light" pitchFamily="34" charset="0"/>
              <a:ea typeface="+mj-ea"/>
              <a:cs typeface="+mj-cs"/>
            </a:endParaRPr>
          </a:p>
        </p:txBody>
      </p:sp>
      <p:sp>
        <p:nvSpPr>
          <p:cNvPr id="119" name="Rectangle 118"/>
          <p:cNvSpPr>
            <a:spLocks/>
          </p:cNvSpPr>
          <p:nvPr>
            <p:custDataLst>
              <p:tags r:id="rId1"/>
            </p:custDataLst>
          </p:nvPr>
        </p:nvSpPr>
        <p:spPr>
          <a:xfrm>
            <a:off x="5842023" y="2082548"/>
            <a:ext cx="885269" cy="850271"/>
          </a:xfrm>
          <a:prstGeom prst="rect">
            <a:avLst/>
          </a:prstGeom>
          <a:solidFill>
            <a:srgbClr val="002050"/>
          </a:solidFill>
          <a:ln w="25400" cap="flat" cmpd="sng" algn="ctr">
            <a:noFill/>
            <a:prstDash val="solid"/>
          </a:ln>
          <a:effectLst/>
        </p:spPr>
        <p:txBody>
          <a:bodyPr lIns="32611" tIns="33265" rIns="48905" bIns="33265" rtlCol="0" anchor="b"/>
          <a:lstStyle/>
          <a:p>
            <a:pPr algn="ctr" defTabSz="664698">
              <a:lnSpc>
                <a:spcPct val="90000"/>
              </a:lnSpc>
              <a:defRPr/>
            </a:pPr>
            <a:r>
              <a:rPr lang="ru-RU" sz="950" kern="0" dirty="0">
                <a:solidFill>
                  <a:srgbClr val="FFFFFF"/>
                </a:solidFill>
                <a:ea typeface="Segoe UI" pitchFamily="34" charset="0"/>
                <a:cs typeface="Segoe UI" pitchFamily="34" charset="0"/>
              </a:rPr>
              <a:t>Туризм, отдых, культура</a:t>
            </a:r>
            <a:endParaRPr lang="en-US" sz="950" kern="0" dirty="0">
              <a:solidFill>
                <a:srgbClr val="FFFFFF"/>
              </a:solidFill>
              <a:ea typeface="Segoe UI" pitchFamily="34" charset="0"/>
              <a:cs typeface="Segoe UI" pitchFamily="34" charset="0"/>
            </a:endParaRPr>
          </a:p>
        </p:txBody>
      </p:sp>
      <p:sp>
        <p:nvSpPr>
          <p:cNvPr id="121" name="Rectangle 120"/>
          <p:cNvSpPr>
            <a:spLocks/>
          </p:cNvSpPr>
          <p:nvPr>
            <p:custDataLst>
              <p:tags r:id="rId2"/>
            </p:custDataLst>
          </p:nvPr>
        </p:nvSpPr>
        <p:spPr>
          <a:xfrm>
            <a:off x="5835817" y="992489"/>
            <a:ext cx="889497" cy="1064476"/>
          </a:xfrm>
          <a:prstGeom prst="rect">
            <a:avLst/>
          </a:prstGeom>
          <a:solidFill>
            <a:srgbClr val="002050"/>
          </a:solidFill>
          <a:ln w="25400" cap="flat" cmpd="sng" algn="ctr">
            <a:noFill/>
            <a:prstDash val="solid"/>
          </a:ln>
          <a:effectLst/>
        </p:spPr>
        <p:txBody>
          <a:bodyPr lIns="32611" tIns="33251" rIns="49861" bIns="33251" rtlCol="0" anchor="b"/>
          <a:lstStyle/>
          <a:p>
            <a:pPr algn="ctr" defTabSz="664698">
              <a:lnSpc>
                <a:spcPct val="90000"/>
              </a:lnSpc>
              <a:defRPr/>
            </a:pPr>
            <a:r>
              <a:rPr lang="ru-RU" sz="950" kern="0" dirty="0">
                <a:solidFill>
                  <a:srgbClr val="FFFFFF"/>
                </a:solidFill>
                <a:ea typeface="Segoe UI" pitchFamily="34" charset="0"/>
                <a:cs typeface="Segoe UI" pitchFamily="34" charset="0"/>
              </a:rPr>
              <a:t>Гос. </a:t>
            </a:r>
            <a:r>
              <a:rPr lang="ru-RU" sz="950" kern="0" dirty="0" err="1">
                <a:solidFill>
                  <a:srgbClr val="FFFFFF"/>
                </a:solidFill>
                <a:ea typeface="Segoe UI" pitchFamily="34" charset="0"/>
                <a:cs typeface="Segoe UI" pitchFamily="34" charset="0"/>
              </a:rPr>
              <a:t>Админи-стрирование</a:t>
            </a:r>
            <a:endParaRPr lang="en-US" sz="950" kern="0" dirty="0">
              <a:solidFill>
                <a:srgbClr val="FFFFFF"/>
              </a:solidFill>
              <a:ea typeface="Segoe UI" pitchFamily="34" charset="0"/>
              <a:cs typeface="Segoe UI" pitchFamily="34" charset="0"/>
            </a:endParaRPr>
          </a:p>
        </p:txBody>
      </p:sp>
      <p:sp>
        <p:nvSpPr>
          <p:cNvPr id="122" name="Rectangle 121"/>
          <p:cNvSpPr>
            <a:spLocks/>
          </p:cNvSpPr>
          <p:nvPr>
            <p:custDataLst>
              <p:tags r:id="rId3"/>
            </p:custDataLst>
          </p:nvPr>
        </p:nvSpPr>
        <p:spPr>
          <a:xfrm>
            <a:off x="157248" y="2307115"/>
            <a:ext cx="850271" cy="850271"/>
          </a:xfrm>
          <a:prstGeom prst="rect">
            <a:avLst/>
          </a:prstGeom>
          <a:solidFill>
            <a:srgbClr val="68217A"/>
          </a:solidFill>
          <a:ln w="25400" cap="flat" cmpd="sng" algn="ctr">
            <a:noFill/>
            <a:prstDash val="solid"/>
          </a:ln>
          <a:effectLst/>
        </p:spPr>
        <p:txBody>
          <a:bodyPr lIns="32611" tIns="33251" rIns="49861" bIns="33251" rtlCol="0" anchor="b"/>
          <a:lstStyle/>
          <a:p>
            <a:pPr algn="ctr" defTabSz="664698">
              <a:lnSpc>
                <a:spcPct val="90000"/>
              </a:lnSpc>
              <a:defRPr/>
            </a:pPr>
            <a:r>
              <a:rPr lang="ru-RU" sz="950" kern="0" dirty="0">
                <a:solidFill>
                  <a:prstClr val="white"/>
                </a:solidFill>
                <a:ea typeface="Segoe UI" pitchFamily="34" charset="0"/>
                <a:cs typeface="Segoe UI" pitchFamily="34" charset="0"/>
              </a:rPr>
              <a:t>Образование</a:t>
            </a:r>
            <a:endParaRPr lang="en-US" sz="950" kern="0" dirty="0">
              <a:solidFill>
                <a:prstClr val="white"/>
              </a:solidFill>
              <a:ea typeface="Segoe UI" pitchFamily="34" charset="0"/>
              <a:cs typeface="Segoe UI" pitchFamily="34" charset="0"/>
            </a:endParaRPr>
          </a:p>
        </p:txBody>
      </p:sp>
      <p:sp>
        <p:nvSpPr>
          <p:cNvPr id="123" name="Rectangle 122"/>
          <p:cNvSpPr>
            <a:spLocks/>
          </p:cNvSpPr>
          <p:nvPr>
            <p:custDataLst>
              <p:tags r:id="rId4"/>
            </p:custDataLst>
          </p:nvPr>
        </p:nvSpPr>
        <p:spPr>
          <a:xfrm>
            <a:off x="145055" y="4802229"/>
            <a:ext cx="850271" cy="850271"/>
          </a:xfrm>
          <a:prstGeom prst="rect">
            <a:avLst/>
          </a:prstGeom>
          <a:solidFill>
            <a:srgbClr val="4668C5"/>
          </a:solidFill>
          <a:ln w="25400" cap="flat" cmpd="sng" algn="ctr">
            <a:noFill/>
            <a:prstDash val="solid"/>
          </a:ln>
          <a:effectLst/>
        </p:spPr>
        <p:txBody>
          <a:bodyPr lIns="32611" tIns="33265" rIns="32611" bIns="33265" rtlCol="0" anchor="b"/>
          <a:lstStyle/>
          <a:p>
            <a:pPr algn="ctr" defTabSz="664698">
              <a:lnSpc>
                <a:spcPct val="90000"/>
              </a:lnSpc>
              <a:defRPr/>
            </a:pPr>
            <a:r>
              <a:rPr lang="ru-RU" sz="950" kern="0" dirty="0" err="1">
                <a:solidFill>
                  <a:srgbClr val="FFFFFF"/>
                </a:solidFill>
                <a:ea typeface="Segoe UI" pitchFamily="34" charset="0"/>
                <a:cs typeface="Segoe UI" pitchFamily="34" charset="0"/>
              </a:rPr>
              <a:t>Здравоохра-нение</a:t>
            </a:r>
            <a:r>
              <a:rPr lang="ru-RU" sz="950" kern="0" dirty="0">
                <a:solidFill>
                  <a:srgbClr val="FFFFFF"/>
                </a:solidFill>
                <a:ea typeface="Segoe UI" pitchFamily="34" charset="0"/>
                <a:cs typeface="Segoe UI" pitchFamily="34" charset="0"/>
              </a:rPr>
              <a:t> и соц. помощь</a:t>
            </a:r>
            <a:endParaRPr lang="en-US" sz="950" kern="0" dirty="0">
              <a:solidFill>
                <a:srgbClr val="FFFFFF"/>
              </a:solidFill>
              <a:ea typeface="Segoe UI" pitchFamily="34" charset="0"/>
              <a:cs typeface="Segoe UI" pitchFamily="34" charset="0"/>
            </a:endParaRPr>
          </a:p>
        </p:txBody>
      </p:sp>
      <p:sp>
        <p:nvSpPr>
          <p:cNvPr id="124" name="Rectangle 123"/>
          <p:cNvSpPr>
            <a:spLocks/>
          </p:cNvSpPr>
          <p:nvPr>
            <p:custDataLst>
              <p:tags r:id="rId5"/>
            </p:custDataLst>
          </p:nvPr>
        </p:nvSpPr>
        <p:spPr>
          <a:xfrm>
            <a:off x="131733" y="3536317"/>
            <a:ext cx="905944" cy="850271"/>
          </a:xfrm>
          <a:prstGeom prst="rect">
            <a:avLst/>
          </a:prstGeom>
          <a:solidFill>
            <a:srgbClr val="009E49"/>
          </a:solidFill>
          <a:ln w="25400" cap="flat" cmpd="sng" algn="ctr">
            <a:noFill/>
            <a:prstDash val="solid"/>
          </a:ln>
          <a:effectLst/>
        </p:spPr>
        <p:txBody>
          <a:bodyPr lIns="31978" rIns="47952" rtlCol="0" anchor="b"/>
          <a:lstStyle/>
          <a:p>
            <a:pPr defTabSz="664698">
              <a:lnSpc>
                <a:spcPct val="90000"/>
              </a:lnSpc>
              <a:defRPr/>
            </a:pPr>
            <a:r>
              <a:rPr lang="ru-RU" sz="950" kern="0" dirty="0">
                <a:solidFill>
                  <a:srgbClr val="FFFFFF"/>
                </a:solidFill>
                <a:ea typeface="Segoe UI" pitchFamily="34" charset="0"/>
                <a:cs typeface="Segoe UI" pitchFamily="34" charset="0"/>
              </a:rPr>
              <a:t>Общественная безопасность, юстиция</a:t>
            </a:r>
            <a:endParaRPr lang="en-US" sz="950" kern="0" dirty="0">
              <a:solidFill>
                <a:srgbClr val="FFFFFF"/>
              </a:solidFill>
              <a:ea typeface="Segoe UI" pitchFamily="34" charset="0"/>
              <a:cs typeface="Segoe UI" pitchFamily="34" charset="0"/>
            </a:endParaRPr>
          </a:p>
        </p:txBody>
      </p:sp>
      <p:sp>
        <p:nvSpPr>
          <p:cNvPr id="125" name="Freeform 139"/>
          <p:cNvSpPr>
            <a:spLocks/>
          </p:cNvSpPr>
          <p:nvPr/>
        </p:nvSpPr>
        <p:spPr bwMode="black">
          <a:xfrm>
            <a:off x="360777" y="3590835"/>
            <a:ext cx="437134" cy="297999"/>
          </a:xfrm>
          <a:custGeom>
            <a:avLst/>
            <a:gdLst>
              <a:gd name="T0" fmla="*/ 384 w 450"/>
              <a:gd name="T1" fmla="*/ 111 h 378"/>
              <a:gd name="T2" fmla="*/ 388 w 450"/>
              <a:gd name="T3" fmla="*/ 104 h 378"/>
              <a:gd name="T4" fmla="*/ 381 w 450"/>
              <a:gd name="T5" fmla="*/ 97 h 378"/>
              <a:gd name="T6" fmla="*/ 349 w 450"/>
              <a:gd name="T7" fmla="*/ 97 h 378"/>
              <a:gd name="T8" fmla="*/ 257 w 450"/>
              <a:gd name="T9" fmla="*/ 68 h 378"/>
              <a:gd name="T10" fmla="*/ 231 w 450"/>
              <a:gd name="T11" fmla="*/ 50 h 378"/>
              <a:gd name="T12" fmla="*/ 231 w 450"/>
              <a:gd name="T13" fmla="*/ 33 h 378"/>
              <a:gd name="T14" fmla="*/ 242 w 450"/>
              <a:gd name="T15" fmla="*/ 17 h 378"/>
              <a:gd name="T16" fmla="*/ 224 w 450"/>
              <a:gd name="T17" fmla="*/ 0 h 378"/>
              <a:gd name="T18" fmla="*/ 207 w 450"/>
              <a:gd name="T19" fmla="*/ 17 h 378"/>
              <a:gd name="T20" fmla="*/ 217 w 450"/>
              <a:gd name="T21" fmla="*/ 33 h 378"/>
              <a:gd name="T22" fmla="*/ 217 w 450"/>
              <a:gd name="T23" fmla="*/ 50 h 378"/>
              <a:gd name="T24" fmla="*/ 192 w 450"/>
              <a:gd name="T25" fmla="*/ 68 h 378"/>
              <a:gd name="T26" fmla="*/ 99 w 450"/>
              <a:gd name="T27" fmla="*/ 97 h 378"/>
              <a:gd name="T28" fmla="*/ 69 w 450"/>
              <a:gd name="T29" fmla="*/ 97 h 378"/>
              <a:gd name="T30" fmla="*/ 62 w 450"/>
              <a:gd name="T31" fmla="*/ 104 h 378"/>
              <a:gd name="T32" fmla="*/ 66 w 450"/>
              <a:gd name="T33" fmla="*/ 111 h 378"/>
              <a:gd name="T34" fmla="*/ 6 w 450"/>
              <a:gd name="T35" fmla="*/ 255 h 378"/>
              <a:gd name="T36" fmla="*/ 20 w 450"/>
              <a:gd name="T37" fmla="*/ 255 h 378"/>
              <a:gd name="T38" fmla="*/ 69 w 450"/>
              <a:gd name="T39" fmla="*/ 136 h 378"/>
              <a:gd name="T40" fmla="*/ 125 w 450"/>
              <a:gd name="T41" fmla="*/ 270 h 378"/>
              <a:gd name="T42" fmla="*/ 0 w 450"/>
              <a:gd name="T43" fmla="*/ 270 h 378"/>
              <a:gd name="T44" fmla="*/ 69 w 450"/>
              <a:gd name="T45" fmla="*/ 319 h 378"/>
              <a:gd name="T46" fmla="*/ 139 w 450"/>
              <a:gd name="T47" fmla="*/ 270 h 378"/>
              <a:gd name="T48" fmla="*/ 73 w 450"/>
              <a:gd name="T49" fmla="*/ 112 h 378"/>
              <a:gd name="T50" fmla="*/ 196 w 450"/>
              <a:gd name="T51" fmla="*/ 112 h 378"/>
              <a:gd name="T52" fmla="*/ 213 w 450"/>
              <a:gd name="T53" fmla="*/ 122 h 378"/>
              <a:gd name="T54" fmla="*/ 213 w 450"/>
              <a:gd name="T55" fmla="*/ 328 h 378"/>
              <a:gd name="T56" fmla="*/ 108 w 450"/>
              <a:gd name="T57" fmla="*/ 367 h 378"/>
              <a:gd name="T58" fmla="*/ 108 w 450"/>
              <a:gd name="T59" fmla="*/ 378 h 378"/>
              <a:gd name="T60" fmla="*/ 342 w 450"/>
              <a:gd name="T61" fmla="*/ 378 h 378"/>
              <a:gd name="T62" fmla="*/ 342 w 450"/>
              <a:gd name="T63" fmla="*/ 367 h 378"/>
              <a:gd name="T64" fmla="*/ 236 w 450"/>
              <a:gd name="T65" fmla="*/ 328 h 378"/>
              <a:gd name="T66" fmla="*/ 236 w 450"/>
              <a:gd name="T67" fmla="*/ 122 h 378"/>
              <a:gd name="T68" fmla="*/ 252 w 450"/>
              <a:gd name="T69" fmla="*/ 112 h 378"/>
              <a:gd name="T70" fmla="*/ 377 w 450"/>
              <a:gd name="T71" fmla="*/ 112 h 378"/>
              <a:gd name="T72" fmla="*/ 317 w 450"/>
              <a:gd name="T73" fmla="*/ 255 h 378"/>
              <a:gd name="T74" fmla="*/ 331 w 450"/>
              <a:gd name="T75" fmla="*/ 255 h 378"/>
              <a:gd name="T76" fmla="*/ 380 w 450"/>
              <a:gd name="T77" fmla="*/ 136 h 378"/>
              <a:gd name="T78" fmla="*/ 436 w 450"/>
              <a:gd name="T79" fmla="*/ 270 h 378"/>
              <a:gd name="T80" fmla="*/ 311 w 450"/>
              <a:gd name="T81" fmla="*/ 270 h 378"/>
              <a:gd name="T82" fmla="*/ 380 w 450"/>
              <a:gd name="T83" fmla="*/ 319 h 378"/>
              <a:gd name="T84" fmla="*/ 450 w 450"/>
              <a:gd name="T85" fmla="*/ 270 h 378"/>
              <a:gd name="T86" fmla="*/ 384 w 450"/>
              <a:gd name="T87" fmla="*/ 111 h 3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50" h="378">
                <a:moveTo>
                  <a:pt x="384" y="111"/>
                </a:moveTo>
                <a:cubicBezTo>
                  <a:pt x="386" y="110"/>
                  <a:pt x="388" y="107"/>
                  <a:pt x="388" y="104"/>
                </a:cubicBezTo>
                <a:cubicBezTo>
                  <a:pt x="388" y="100"/>
                  <a:pt x="385" y="97"/>
                  <a:pt x="381" y="97"/>
                </a:cubicBezTo>
                <a:cubicBezTo>
                  <a:pt x="349" y="97"/>
                  <a:pt x="349" y="97"/>
                  <a:pt x="349" y="97"/>
                </a:cubicBezTo>
                <a:cubicBezTo>
                  <a:pt x="321" y="89"/>
                  <a:pt x="292" y="74"/>
                  <a:pt x="257" y="68"/>
                </a:cubicBezTo>
                <a:cubicBezTo>
                  <a:pt x="251" y="59"/>
                  <a:pt x="242" y="52"/>
                  <a:pt x="231" y="50"/>
                </a:cubicBezTo>
                <a:cubicBezTo>
                  <a:pt x="231" y="33"/>
                  <a:pt x="231" y="33"/>
                  <a:pt x="231" y="33"/>
                </a:cubicBezTo>
                <a:cubicBezTo>
                  <a:pt x="237" y="31"/>
                  <a:pt x="242" y="24"/>
                  <a:pt x="242" y="17"/>
                </a:cubicBezTo>
                <a:cubicBezTo>
                  <a:pt x="242" y="8"/>
                  <a:pt x="234" y="0"/>
                  <a:pt x="224" y="0"/>
                </a:cubicBezTo>
                <a:cubicBezTo>
                  <a:pt x="215" y="0"/>
                  <a:pt x="207" y="8"/>
                  <a:pt x="207" y="17"/>
                </a:cubicBezTo>
                <a:cubicBezTo>
                  <a:pt x="207" y="24"/>
                  <a:pt x="211" y="31"/>
                  <a:pt x="217" y="33"/>
                </a:cubicBezTo>
                <a:cubicBezTo>
                  <a:pt x="217" y="50"/>
                  <a:pt x="217" y="50"/>
                  <a:pt x="217" y="50"/>
                </a:cubicBezTo>
                <a:cubicBezTo>
                  <a:pt x="206" y="52"/>
                  <a:pt x="197" y="59"/>
                  <a:pt x="192" y="68"/>
                </a:cubicBezTo>
                <a:cubicBezTo>
                  <a:pt x="156" y="74"/>
                  <a:pt x="128" y="89"/>
                  <a:pt x="99" y="97"/>
                </a:cubicBezTo>
                <a:cubicBezTo>
                  <a:pt x="69" y="97"/>
                  <a:pt x="69" y="97"/>
                  <a:pt x="69" y="97"/>
                </a:cubicBezTo>
                <a:cubicBezTo>
                  <a:pt x="65" y="97"/>
                  <a:pt x="62" y="100"/>
                  <a:pt x="62" y="104"/>
                </a:cubicBezTo>
                <a:cubicBezTo>
                  <a:pt x="62" y="107"/>
                  <a:pt x="63" y="110"/>
                  <a:pt x="66" y="111"/>
                </a:cubicBezTo>
                <a:cubicBezTo>
                  <a:pt x="6" y="255"/>
                  <a:pt x="6" y="255"/>
                  <a:pt x="6" y="255"/>
                </a:cubicBezTo>
                <a:cubicBezTo>
                  <a:pt x="20" y="255"/>
                  <a:pt x="20" y="255"/>
                  <a:pt x="20" y="255"/>
                </a:cubicBezTo>
                <a:cubicBezTo>
                  <a:pt x="69" y="136"/>
                  <a:pt x="69" y="136"/>
                  <a:pt x="69" y="136"/>
                </a:cubicBezTo>
                <a:cubicBezTo>
                  <a:pt x="125" y="270"/>
                  <a:pt x="125" y="270"/>
                  <a:pt x="125" y="270"/>
                </a:cubicBezTo>
                <a:cubicBezTo>
                  <a:pt x="0" y="270"/>
                  <a:pt x="0" y="270"/>
                  <a:pt x="0" y="270"/>
                </a:cubicBezTo>
                <a:cubicBezTo>
                  <a:pt x="0" y="297"/>
                  <a:pt x="31" y="319"/>
                  <a:pt x="69" y="319"/>
                </a:cubicBezTo>
                <a:cubicBezTo>
                  <a:pt x="108" y="319"/>
                  <a:pt x="139" y="297"/>
                  <a:pt x="139" y="270"/>
                </a:cubicBezTo>
                <a:cubicBezTo>
                  <a:pt x="73" y="112"/>
                  <a:pt x="73" y="112"/>
                  <a:pt x="73" y="112"/>
                </a:cubicBezTo>
                <a:cubicBezTo>
                  <a:pt x="196" y="112"/>
                  <a:pt x="196" y="112"/>
                  <a:pt x="196" y="112"/>
                </a:cubicBezTo>
                <a:cubicBezTo>
                  <a:pt x="201" y="117"/>
                  <a:pt x="206" y="120"/>
                  <a:pt x="213" y="122"/>
                </a:cubicBezTo>
                <a:cubicBezTo>
                  <a:pt x="213" y="328"/>
                  <a:pt x="213" y="328"/>
                  <a:pt x="213" y="328"/>
                </a:cubicBezTo>
                <a:cubicBezTo>
                  <a:pt x="164" y="331"/>
                  <a:pt x="124" y="351"/>
                  <a:pt x="108" y="367"/>
                </a:cubicBezTo>
                <a:cubicBezTo>
                  <a:pt x="108" y="370"/>
                  <a:pt x="108" y="373"/>
                  <a:pt x="108" y="378"/>
                </a:cubicBezTo>
                <a:cubicBezTo>
                  <a:pt x="114" y="378"/>
                  <a:pt x="335" y="378"/>
                  <a:pt x="342" y="378"/>
                </a:cubicBezTo>
                <a:cubicBezTo>
                  <a:pt x="342" y="373"/>
                  <a:pt x="342" y="370"/>
                  <a:pt x="342" y="367"/>
                </a:cubicBezTo>
                <a:cubicBezTo>
                  <a:pt x="326" y="351"/>
                  <a:pt x="285" y="331"/>
                  <a:pt x="236" y="328"/>
                </a:cubicBezTo>
                <a:cubicBezTo>
                  <a:pt x="236" y="122"/>
                  <a:pt x="236" y="122"/>
                  <a:pt x="236" y="122"/>
                </a:cubicBezTo>
                <a:cubicBezTo>
                  <a:pt x="242" y="120"/>
                  <a:pt x="248" y="117"/>
                  <a:pt x="252" y="112"/>
                </a:cubicBezTo>
                <a:cubicBezTo>
                  <a:pt x="377" y="112"/>
                  <a:pt x="377" y="112"/>
                  <a:pt x="377" y="112"/>
                </a:cubicBezTo>
                <a:cubicBezTo>
                  <a:pt x="317" y="255"/>
                  <a:pt x="317" y="255"/>
                  <a:pt x="317" y="255"/>
                </a:cubicBezTo>
                <a:cubicBezTo>
                  <a:pt x="331" y="255"/>
                  <a:pt x="331" y="255"/>
                  <a:pt x="331" y="255"/>
                </a:cubicBezTo>
                <a:cubicBezTo>
                  <a:pt x="380" y="136"/>
                  <a:pt x="380" y="136"/>
                  <a:pt x="380" y="136"/>
                </a:cubicBezTo>
                <a:cubicBezTo>
                  <a:pt x="436" y="270"/>
                  <a:pt x="436" y="270"/>
                  <a:pt x="436" y="270"/>
                </a:cubicBezTo>
                <a:cubicBezTo>
                  <a:pt x="311" y="270"/>
                  <a:pt x="311" y="270"/>
                  <a:pt x="311" y="270"/>
                </a:cubicBezTo>
                <a:cubicBezTo>
                  <a:pt x="311" y="297"/>
                  <a:pt x="342" y="319"/>
                  <a:pt x="380" y="319"/>
                </a:cubicBezTo>
                <a:cubicBezTo>
                  <a:pt x="419" y="319"/>
                  <a:pt x="450" y="297"/>
                  <a:pt x="450" y="270"/>
                </a:cubicBezTo>
                <a:lnTo>
                  <a:pt x="384" y="111"/>
                </a:lnTo>
                <a:close/>
              </a:path>
            </a:pathLst>
          </a:custGeom>
          <a:solidFill>
            <a:srgbClr val="FFFFFF"/>
          </a:solidFill>
          <a:ln>
            <a:noFill/>
          </a:ln>
        </p:spPr>
        <p:txBody>
          <a:bodyPr vert="horz" wrap="square" lIns="31978" tIns="28775" rIns="57550" bIns="28775" numCol="1" anchor="t" anchorCtr="0" compatLnSpc="1">
            <a:prstTxWarp prst="textNoShape">
              <a:avLst/>
            </a:prstTxWarp>
          </a:bodyPr>
          <a:lstStyle/>
          <a:p>
            <a:pPr defTabSz="664870">
              <a:defRPr/>
            </a:pPr>
            <a:endParaRPr lang="en-US" sz="856" kern="0" dirty="0">
              <a:solidFill>
                <a:srgbClr val="505050"/>
              </a:solidFill>
            </a:endParaRPr>
          </a:p>
        </p:txBody>
      </p:sp>
      <p:pic>
        <p:nvPicPr>
          <p:cNvPr id="126" name="Picture 24" descr="\\.psf\Home\Documents\Slidework\Deb template\Education\Green-book.png"/>
          <p:cNvPicPr>
            <a:picLocks noChangeAspect="1" noChangeArrowheads="1"/>
          </p:cNvPicPr>
          <p:nvPr/>
        </p:nvPicPr>
        <p:blipFill>
          <a:blip r:embed="rId17" cstate="email">
            <a:biLevel thresh="50000"/>
            <a:extLst>
              <a:ext uri="{28A0092B-C50C-407E-A947-70E740481C1C}">
                <a14:useLocalDpi xmlns:a14="http://schemas.microsoft.com/office/drawing/2010/main"/>
              </a:ext>
            </a:extLst>
          </a:blip>
          <a:srcRect/>
          <a:stretch>
            <a:fillRect/>
          </a:stretch>
        </p:blipFill>
        <p:spPr bwMode="auto">
          <a:xfrm>
            <a:off x="372789" y="2540665"/>
            <a:ext cx="427439" cy="293027"/>
          </a:xfrm>
          <a:prstGeom prst="rect">
            <a:avLst/>
          </a:prstGeom>
          <a:noFill/>
          <a:extLst>
            <a:ext uri="{909E8E84-426E-40DD-AFC4-6F175D3DCCD1}">
              <a14:hiddenFill xmlns:a14="http://schemas.microsoft.com/office/drawing/2010/main">
                <a:solidFill>
                  <a:srgbClr val="FFFFFF"/>
                </a:solidFill>
              </a14:hiddenFill>
            </a:ext>
          </a:extLst>
        </p:spPr>
      </p:pic>
      <p:sp>
        <p:nvSpPr>
          <p:cNvPr id="127" name="Freeform 14"/>
          <p:cNvSpPr>
            <a:spLocks noChangeAspect="1" noEditPoints="1"/>
          </p:cNvSpPr>
          <p:nvPr/>
        </p:nvSpPr>
        <p:spPr bwMode="auto">
          <a:xfrm>
            <a:off x="421636" y="4914050"/>
            <a:ext cx="297107" cy="240164"/>
          </a:xfrm>
          <a:custGeom>
            <a:avLst/>
            <a:gdLst>
              <a:gd name="T0" fmla="*/ 195 w 300"/>
              <a:gd name="T1" fmla="*/ 217 h 266"/>
              <a:gd name="T2" fmla="*/ 196 w 300"/>
              <a:gd name="T3" fmla="*/ 227 h 266"/>
              <a:gd name="T4" fmla="*/ 149 w 300"/>
              <a:gd name="T5" fmla="*/ 266 h 266"/>
              <a:gd name="T6" fmla="*/ 8 w 300"/>
              <a:gd name="T7" fmla="*/ 116 h 266"/>
              <a:gd name="T8" fmla="*/ 0 w 300"/>
              <a:gd name="T9" fmla="*/ 78 h 266"/>
              <a:gd name="T10" fmla="*/ 78 w 300"/>
              <a:gd name="T11" fmla="*/ 0 h 266"/>
              <a:gd name="T12" fmla="*/ 150 w 300"/>
              <a:gd name="T13" fmla="*/ 48 h 266"/>
              <a:gd name="T14" fmla="*/ 222 w 300"/>
              <a:gd name="T15" fmla="*/ 0 h 266"/>
              <a:gd name="T16" fmla="*/ 300 w 300"/>
              <a:gd name="T17" fmla="*/ 78 h 266"/>
              <a:gd name="T18" fmla="*/ 292 w 300"/>
              <a:gd name="T19" fmla="*/ 116 h 266"/>
              <a:gd name="T20" fmla="*/ 262 w 300"/>
              <a:gd name="T21" fmla="*/ 162 h 266"/>
              <a:gd name="T22" fmla="*/ 251 w 300"/>
              <a:gd name="T23" fmla="*/ 161 h 266"/>
              <a:gd name="T24" fmla="*/ 195 w 300"/>
              <a:gd name="T25" fmla="*/ 217 h 266"/>
              <a:gd name="T26" fmla="*/ 257 w 300"/>
              <a:gd name="T27" fmla="*/ 211 h 266"/>
              <a:gd name="T28" fmla="*/ 275 w 300"/>
              <a:gd name="T29" fmla="*/ 211 h 266"/>
              <a:gd name="T30" fmla="*/ 275 w 300"/>
              <a:gd name="T31" fmla="*/ 223 h 266"/>
              <a:gd name="T32" fmla="*/ 257 w 300"/>
              <a:gd name="T33" fmla="*/ 223 h 266"/>
              <a:gd name="T34" fmla="*/ 257 w 300"/>
              <a:gd name="T35" fmla="*/ 241 h 266"/>
              <a:gd name="T36" fmla="*/ 245 w 300"/>
              <a:gd name="T37" fmla="*/ 241 h 266"/>
              <a:gd name="T38" fmla="*/ 245 w 300"/>
              <a:gd name="T39" fmla="*/ 223 h 266"/>
              <a:gd name="T40" fmla="*/ 227 w 300"/>
              <a:gd name="T41" fmla="*/ 223 h 266"/>
              <a:gd name="T42" fmla="*/ 227 w 300"/>
              <a:gd name="T43" fmla="*/ 211 h 266"/>
              <a:gd name="T44" fmla="*/ 245 w 300"/>
              <a:gd name="T45" fmla="*/ 211 h 266"/>
              <a:gd name="T46" fmla="*/ 245 w 300"/>
              <a:gd name="T47" fmla="*/ 193 h 266"/>
              <a:gd name="T48" fmla="*/ 257 w 300"/>
              <a:gd name="T49" fmla="*/ 193 h 266"/>
              <a:gd name="T50" fmla="*/ 257 w 300"/>
              <a:gd name="T51" fmla="*/ 211 h 266"/>
              <a:gd name="T52" fmla="*/ 251 w 300"/>
              <a:gd name="T53" fmla="*/ 258 h 266"/>
              <a:gd name="T54" fmla="*/ 210 w 300"/>
              <a:gd name="T55" fmla="*/ 217 h 266"/>
              <a:gd name="T56" fmla="*/ 251 w 300"/>
              <a:gd name="T57" fmla="*/ 176 h 266"/>
              <a:gd name="T58" fmla="*/ 293 w 300"/>
              <a:gd name="T59" fmla="*/ 217 h 266"/>
              <a:gd name="T60" fmla="*/ 251 w 300"/>
              <a:gd name="T61" fmla="*/ 258 h 266"/>
              <a:gd name="T62" fmla="*/ 251 w 300"/>
              <a:gd name="T63" fmla="*/ 168 h 266"/>
              <a:gd name="T64" fmla="*/ 203 w 300"/>
              <a:gd name="T65" fmla="*/ 217 h 266"/>
              <a:gd name="T66" fmla="*/ 251 w 300"/>
              <a:gd name="T67" fmla="*/ 266 h 266"/>
              <a:gd name="T68" fmla="*/ 300 w 300"/>
              <a:gd name="T69" fmla="*/ 217 h 266"/>
              <a:gd name="T70" fmla="*/ 251 w 300"/>
              <a:gd name="T71" fmla="*/ 168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00" h="266">
                <a:moveTo>
                  <a:pt x="195" y="217"/>
                </a:moveTo>
                <a:cubicBezTo>
                  <a:pt x="195" y="221"/>
                  <a:pt x="195" y="224"/>
                  <a:pt x="196" y="227"/>
                </a:cubicBezTo>
                <a:cubicBezTo>
                  <a:pt x="170" y="250"/>
                  <a:pt x="149" y="266"/>
                  <a:pt x="149" y="266"/>
                </a:cubicBezTo>
                <a:cubicBezTo>
                  <a:pt x="149" y="266"/>
                  <a:pt x="32" y="176"/>
                  <a:pt x="8" y="116"/>
                </a:cubicBezTo>
                <a:cubicBezTo>
                  <a:pt x="4" y="106"/>
                  <a:pt x="0" y="90"/>
                  <a:pt x="0" y="78"/>
                </a:cubicBezTo>
                <a:cubicBezTo>
                  <a:pt x="0" y="35"/>
                  <a:pt x="35" y="0"/>
                  <a:pt x="78" y="0"/>
                </a:cubicBezTo>
                <a:cubicBezTo>
                  <a:pt x="110" y="0"/>
                  <a:pt x="138" y="20"/>
                  <a:pt x="150" y="48"/>
                </a:cubicBezTo>
                <a:cubicBezTo>
                  <a:pt x="162" y="20"/>
                  <a:pt x="190" y="0"/>
                  <a:pt x="222" y="0"/>
                </a:cubicBezTo>
                <a:cubicBezTo>
                  <a:pt x="265" y="0"/>
                  <a:pt x="300" y="35"/>
                  <a:pt x="300" y="78"/>
                </a:cubicBezTo>
                <a:cubicBezTo>
                  <a:pt x="300" y="91"/>
                  <a:pt x="296" y="106"/>
                  <a:pt x="292" y="116"/>
                </a:cubicBezTo>
                <a:cubicBezTo>
                  <a:pt x="287" y="130"/>
                  <a:pt x="275" y="146"/>
                  <a:pt x="262" y="162"/>
                </a:cubicBezTo>
                <a:cubicBezTo>
                  <a:pt x="258" y="161"/>
                  <a:pt x="255" y="161"/>
                  <a:pt x="251" y="161"/>
                </a:cubicBezTo>
                <a:cubicBezTo>
                  <a:pt x="220" y="161"/>
                  <a:pt x="195" y="186"/>
                  <a:pt x="195" y="217"/>
                </a:cubicBezTo>
                <a:close/>
                <a:moveTo>
                  <a:pt x="257" y="211"/>
                </a:moveTo>
                <a:cubicBezTo>
                  <a:pt x="275" y="211"/>
                  <a:pt x="275" y="211"/>
                  <a:pt x="275" y="211"/>
                </a:cubicBezTo>
                <a:cubicBezTo>
                  <a:pt x="275" y="223"/>
                  <a:pt x="275" y="223"/>
                  <a:pt x="275" y="223"/>
                </a:cubicBezTo>
                <a:cubicBezTo>
                  <a:pt x="257" y="223"/>
                  <a:pt x="257" y="223"/>
                  <a:pt x="257" y="223"/>
                </a:cubicBezTo>
                <a:cubicBezTo>
                  <a:pt x="257" y="241"/>
                  <a:pt x="257" y="241"/>
                  <a:pt x="257" y="241"/>
                </a:cubicBezTo>
                <a:cubicBezTo>
                  <a:pt x="245" y="241"/>
                  <a:pt x="245" y="241"/>
                  <a:pt x="245" y="241"/>
                </a:cubicBezTo>
                <a:cubicBezTo>
                  <a:pt x="245" y="223"/>
                  <a:pt x="245" y="223"/>
                  <a:pt x="245" y="223"/>
                </a:cubicBezTo>
                <a:cubicBezTo>
                  <a:pt x="227" y="223"/>
                  <a:pt x="227" y="223"/>
                  <a:pt x="227" y="223"/>
                </a:cubicBezTo>
                <a:cubicBezTo>
                  <a:pt x="227" y="211"/>
                  <a:pt x="227" y="211"/>
                  <a:pt x="227" y="211"/>
                </a:cubicBezTo>
                <a:cubicBezTo>
                  <a:pt x="245" y="211"/>
                  <a:pt x="245" y="211"/>
                  <a:pt x="245" y="211"/>
                </a:cubicBezTo>
                <a:cubicBezTo>
                  <a:pt x="245" y="193"/>
                  <a:pt x="245" y="193"/>
                  <a:pt x="245" y="193"/>
                </a:cubicBezTo>
                <a:cubicBezTo>
                  <a:pt x="257" y="193"/>
                  <a:pt x="257" y="193"/>
                  <a:pt x="257" y="193"/>
                </a:cubicBezTo>
                <a:lnTo>
                  <a:pt x="257" y="211"/>
                </a:lnTo>
                <a:close/>
                <a:moveTo>
                  <a:pt x="251" y="258"/>
                </a:moveTo>
                <a:cubicBezTo>
                  <a:pt x="229" y="258"/>
                  <a:pt x="210" y="240"/>
                  <a:pt x="210" y="217"/>
                </a:cubicBezTo>
                <a:cubicBezTo>
                  <a:pt x="210" y="194"/>
                  <a:pt x="229" y="176"/>
                  <a:pt x="251" y="176"/>
                </a:cubicBezTo>
                <a:cubicBezTo>
                  <a:pt x="274" y="176"/>
                  <a:pt x="293" y="194"/>
                  <a:pt x="293" y="217"/>
                </a:cubicBezTo>
                <a:cubicBezTo>
                  <a:pt x="293" y="240"/>
                  <a:pt x="274" y="258"/>
                  <a:pt x="251" y="258"/>
                </a:cubicBezTo>
                <a:close/>
                <a:moveTo>
                  <a:pt x="251" y="168"/>
                </a:moveTo>
                <a:cubicBezTo>
                  <a:pt x="224" y="168"/>
                  <a:pt x="203" y="190"/>
                  <a:pt x="203" y="217"/>
                </a:cubicBezTo>
                <a:cubicBezTo>
                  <a:pt x="203" y="244"/>
                  <a:pt x="224" y="266"/>
                  <a:pt x="251" y="266"/>
                </a:cubicBezTo>
                <a:cubicBezTo>
                  <a:pt x="278" y="266"/>
                  <a:pt x="300" y="244"/>
                  <a:pt x="300" y="217"/>
                </a:cubicBezTo>
                <a:cubicBezTo>
                  <a:pt x="300" y="190"/>
                  <a:pt x="278" y="168"/>
                  <a:pt x="251" y="168"/>
                </a:cubicBezTo>
                <a:close/>
              </a:path>
            </a:pathLst>
          </a:custGeom>
          <a:solidFill>
            <a:sysClr val="window" lastClr="FFFFFF"/>
          </a:solidFill>
          <a:ln>
            <a:noFill/>
          </a:ln>
        </p:spPr>
        <p:txBody>
          <a:bodyPr vert="horz" wrap="square" lIns="65193" tIns="32596" rIns="65193" bIns="32596" numCol="1" anchor="t" anchorCtr="0" compatLnSpc="1">
            <a:prstTxWarp prst="textNoShape">
              <a:avLst/>
            </a:prstTxWarp>
          </a:bodyPr>
          <a:lstStyle/>
          <a:p>
            <a:pPr defTabSz="791491">
              <a:defRPr/>
            </a:pPr>
            <a:endParaRPr lang="en-US" sz="1285" kern="0" dirty="0">
              <a:gradFill>
                <a:gsLst>
                  <a:gs pos="0">
                    <a:srgbClr val="FFFFFF"/>
                  </a:gs>
                  <a:gs pos="100000">
                    <a:srgbClr val="FFFFFF"/>
                  </a:gs>
                </a:gsLst>
                <a:lin ang="5400000" scaled="0"/>
              </a:gradFill>
            </a:endParaRPr>
          </a:p>
        </p:txBody>
      </p:sp>
      <p:grpSp>
        <p:nvGrpSpPr>
          <p:cNvPr id="128" name="Group 127"/>
          <p:cNvGrpSpPr>
            <a:grpSpLocks noChangeAspect="1"/>
          </p:cNvGrpSpPr>
          <p:nvPr/>
        </p:nvGrpSpPr>
        <p:grpSpPr>
          <a:xfrm>
            <a:off x="6116529" y="2142266"/>
            <a:ext cx="369277" cy="285621"/>
            <a:chOff x="10471892" y="2560166"/>
            <a:chExt cx="293837" cy="263674"/>
          </a:xfrm>
          <a:solidFill>
            <a:sysClr val="window" lastClr="FFFFFF"/>
          </a:solidFill>
        </p:grpSpPr>
        <p:sp>
          <p:nvSpPr>
            <p:cNvPr id="129" name="Freeform 26"/>
            <p:cNvSpPr>
              <a:spLocks/>
            </p:cNvSpPr>
            <p:nvPr/>
          </p:nvSpPr>
          <p:spPr bwMode="auto">
            <a:xfrm>
              <a:off x="10538659" y="2560166"/>
              <a:ext cx="227070" cy="248966"/>
            </a:xfrm>
            <a:custGeom>
              <a:avLst/>
              <a:gdLst>
                <a:gd name="T0" fmla="*/ 36 w 312"/>
                <a:gd name="T1" fmla="*/ 0 h 301"/>
                <a:gd name="T2" fmla="*/ 0 w 312"/>
                <a:gd name="T3" fmla="*/ 94 h 301"/>
                <a:gd name="T4" fmla="*/ 32 w 312"/>
                <a:gd name="T5" fmla="*/ 94 h 301"/>
                <a:gd name="T6" fmla="*/ 54 w 312"/>
                <a:gd name="T7" fmla="*/ 39 h 301"/>
                <a:gd name="T8" fmla="*/ 272 w 312"/>
                <a:gd name="T9" fmla="*/ 124 h 301"/>
                <a:gd name="T10" fmla="*/ 219 w 312"/>
                <a:gd name="T11" fmla="*/ 262 h 301"/>
                <a:gd name="T12" fmla="*/ 219 w 312"/>
                <a:gd name="T13" fmla="*/ 295 h 301"/>
                <a:gd name="T14" fmla="*/ 237 w 312"/>
                <a:gd name="T15" fmla="*/ 301 h 301"/>
                <a:gd name="T16" fmla="*/ 312 w 312"/>
                <a:gd name="T17" fmla="*/ 106 h 301"/>
                <a:gd name="T18" fmla="*/ 36 w 312"/>
                <a:gd name="T19" fmla="*/ 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2" h="301">
                  <a:moveTo>
                    <a:pt x="36" y="0"/>
                  </a:moveTo>
                  <a:cubicBezTo>
                    <a:pt x="0" y="94"/>
                    <a:pt x="0" y="94"/>
                    <a:pt x="0" y="94"/>
                  </a:cubicBezTo>
                  <a:cubicBezTo>
                    <a:pt x="32" y="94"/>
                    <a:pt x="32" y="94"/>
                    <a:pt x="32" y="94"/>
                  </a:cubicBezTo>
                  <a:cubicBezTo>
                    <a:pt x="41" y="73"/>
                    <a:pt x="54" y="39"/>
                    <a:pt x="54" y="39"/>
                  </a:cubicBezTo>
                  <a:cubicBezTo>
                    <a:pt x="272" y="124"/>
                    <a:pt x="272" y="124"/>
                    <a:pt x="272" y="124"/>
                  </a:cubicBezTo>
                  <a:cubicBezTo>
                    <a:pt x="219" y="262"/>
                    <a:pt x="219" y="262"/>
                    <a:pt x="219" y="262"/>
                  </a:cubicBezTo>
                  <a:cubicBezTo>
                    <a:pt x="219" y="295"/>
                    <a:pt x="219" y="295"/>
                    <a:pt x="219" y="295"/>
                  </a:cubicBezTo>
                  <a:cubicBezTo>
                    <a:pt x="237" y="301"/>
                    <a:pt x="237" y="301"/>
                    <a:pt x="237" y="301"/>
                  </a:cubicBezTo>
                  <a:cubicBezTo>
                    <a:pt x="312" y="106"/>
                    <a:pt x="312" y="106"/>
                    <a:pt x="312" y="106"/>
                  </a:cubicBezTo>
                  <a:lnTo>
                    <a:pt x="36" y="0"/>
                  </a:lnTo>
                  <a:close/>
                </a:path>
              </a:pathLst>
            </a:custGeom>
            <a:grpFill/>
            <a:ln w="25400"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63918" tIns="31959" rIns="63918" bIns="31959" numCol="1" rtlCol="0" anchor="ctr" anchorCtr="0" compatLnSpc="1">
              <a:prstTxWarp prst="textNoShape">
                <a:avLst/>
              </a:prstTxWarp>
            </a:bodyPr>
            <a:lstStyle/>
            <a:p>
              <a:pPr defTabSz="598365">
                <a:defRPr/>
              </a:pPr>
              <a:endParaRPr lang="en-US" sz="1285" kern="0" spc="-98" dirty="0">
                <a:gradFill>
                  <a:gsLst>
                    <a:gs pos="0">
                      <a:srgbClr val="FFFFFF"/>
                    </a:gs>
                    <a:gs pos="100000">
                      <a:srgbClr val="FFFFFF"/>
                    </a:gs>
                  </a:gsLst>
                  <a:lin ang="5400000" scaled="0"/>
                </a:gradFill>
                <a:latin typeface="Segoe Light" pitchFamily="34" charset="0"/>
              </a:endParaRPr>
            </a:p>
          </p:txBody>
        </p:sp>
        <p:sp>
          <p:nvSpPr>
            <p:cNvPr id="130" name="Freeform 27"/>
            <p:cNvSpPr>
              <a:spLocks noEditPoints="1"/>
            </p:cNvSpPr>
            <p:nvPr/>
          </p:nvSpPr>
          <p:spPr bwMode="auto">
            <a:xfrm>
              <a:off x="10471892" y="2651209"/>
              <a:ext cx="214455" cy="172631"/>
            </a:xfrm>
            <a:custGeom>
              <a:avLst/>
              <a:gdLst>
                <a:gd name="T0" fmla="*/ 0 w 697"/>
                <a:gd name="T1" fmla="*/ 0 h 493"/>
                <a:gd name="T2" fmla="*/ 0 w 697"/>
                <a:gd name="T3" fmla="*/ 493 h 493"/>
                <a:gd name="T4" fmla="*/ 697 w 697"/>
                <a:gd name="T5" fmla="*/ 493 h 493"/>
                <a:gd name="T6" fmla="*/ 697 w 697"/>
                <a:gd name="T7" fmla="*/ 0 h 493"/>
                <a:gd name="T8" fmla="*/ 0 w 697"/>
                <a:gd name="T9" fmla="*/ 0 h 493"/>
                <a:gd name="T10" fmla="*/ 626 w 697"/>
                <a:gd name="T11" fmla="*/ 422 h 493"/>
                <a:gd name="T12" fmla="*/ 71 w 697"/>
                <a:gd name="T13" fmla="*/ 422 h 493"/>
                <a:gd name="T14" fmla="*/ 71 w 697"/>
                <a:gd name="T15" fmla="*/ 73 h 493"/>
                <a:gd name="T16" fmla="*/ 626 w 697"/>
                <a:gd name="T17" fmla="*/ 73 h 493"/>
                <a:gd name="T18" fmla="*/ 626 w 697"/>
                <a:gd name="T19" fmla="*/ 422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7" h="493">
                  <a:moveTo>
                    <a:pt x="0" y="0"/>
                  </a:moveTo>
                  <a:lnTo>
                    <a:pt x="0" y="493"/>
                  </a:lnTo>
                  <a:lnTo>
                    <a:pt x="697" y="493"/>
                  </a:lnTo>
                  <a:lnTo>
                    <a:pt x="697" y="0"/>
                  </a:lnTo>
                  <a:lnTo>
                    <a:pt x="0" y="0"/>
                  </a:lnTo>
                  <a:close/>
                  <a:moveTo>
                    <a:pt x="626" y="422"/>
                  </a:moveTo>
                  <a:lnTo>
                    <a:pt x="71" y="422"/>
                  </a:lnTo>
                  <a:lnTo>
                    <a:pt x="71" y="73"/>
                  </a:lnTo>
                  <a:lnTo>
                    <a:pt x="626" y="73"/>
                  </a:lnTo>
                  <a:lnTo>
                    <a:pt x="626" y="422"/>
                  </a:lnTo>
                  <a:close/>
                </a:path>
              </a:pathLst>
            </a:custGeom>
            <a:grpFill/>
            <a:ln w="25400"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63918" tIns="31959" rIns="63918" bIns="31959" numCol="1" rtlCol="0" anchor="ctr" anchorCtr="0" compatLnSpc="1">
              <a:prstTxWarp prst="textNoShape">
                <a:avLst/>
              </a:prstTxWarp>
            </a:bodyPr>
            <a:lstStyle/>
            <a:p>
              <a:pPr defTabSz="598365">
                <a:defRPr/>
              </a:pPr>
              <a:endParaRPr lang="en-US" sz="1285" kern="0" spc="-98" dirty="0">
                <a:gradFill>
                  <a:gsLst>
                    <a:gs pos="0">
                      <a:srgbClr val="FFFFFF"/>
                    </a:gs>
                    <a:gs pos="100000">
                      <a:srgbClr val="FFFFFF"/>
                    </a:gs>
                  </a:gsLst>
                  <a:lin ang="5400000" scaled="0"/>
                </a:gradFill>
                <a:latin typeface="Segoe Light" pitchFamily="34" charset="0"/>
              </a:endParaRPr>
            </a:p>
          </p:txBody>
        </p:sp>
        <p:sp>
          <p:nvSpPr>
            <p:cNvPr id="131" name="Freeform 28"/>
            <p:cNvSpPr>
              <a:spLocks/>
            </p:cNvSpPr>
            <p:nvPr/>
          </p:nvSpPr>
          <p:spPr bwMode="auto">
            <a:xfrm>
              <a:off x="10511891" y="2739450"/>
              <a:ext cx="77843" cy="74585"/>
            </a:xfrm>
            <a:custGeom>
              <a:avLst/>
              <a:gdLst>
                <a:gd name="T0" fmla="*/ 0 w 107"/>
                <a:gd name="T1" fmla="*/ 90 h 90"/>
                <a:gd name="T2" fmla="*/ 54 w 107"/>
                <a:gd name="T3" fmla="*/ 0 h 90"/>
                <a:gd name="T4" fmla="*/ 107 w 107"/>
                <a:gd name="T5" fmla="*/ 90 h 90"/>
                <a:gd name="T6" fmla="*/ 0 w 107"/>
                <a:gd name="T7" fmla="*/ 90 h 90"/>
              </a:gdLst>
              <a:ahLst/>
              <a:cxnLst>
                <a:cxn ang="0">
                  <a:pos x="T0" y="T1"/>
                </a:cxn>
                <a:cxn ang="0">
                  <a:pos x="T2" y="T3"/>
                </a:cxn>
                <a:cxn ang="0">
                  <a:pos x="T4" y="T5"/>
                </a:cxn>
                <a:cxn ang="0">
                  <a:pos x="T6" y="T7"/>
                </a:cxn>
              </a:cxnLst>
              <a:rect l="0" t="0" r="r" b="b"/>
              <a:pathLst>
                <a:path w="107" h="90">
                  <a:moveTo>
                    <a:pt x="0" y="90"/>
                  </a:moveTo>
                  <a:cubicBezTo>
                    <a:pt x="0" y="40"/>
                    <a:pt x="8" y="0"/>
                    <a:pt x="54" y="0"/>
                  </a:cubicBezTo>
                  <a:cubicBezTo>
                    <a:pt x="99" y="0"/>
                    <a:pt x="107" y="40"/>
                    <a:pt x="107" y="90"/>
                  </a:cubicBezTo>
                  <a:lnTo>
                    <a:pt x="0" y="90"/>
                  </a:lnTo>
                  <a:close/>
                </a:path>
              </a:pathLst>
            </a:custGeom>
            <a:grpFill/>
            <a:ln w="25400"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63918" tIns="31959" rIns="63918" bIns="31959" numCol="1" rtlCol="0" anchor="ctr" anchorCtr="0" compatLnSpc="1">
              <a:prstTxWarp prst="textNoShape">
                <a:avLst/>
              </a:prstTxWarp>
            </a:bodyPr>
            <a:lstStyle/>
            <a:p>
              <a:pPr defTabSz="598365">
                <a:defRPr/>
              </a:pPr>
              <a:endParaRPr lang="en-US" sz="1285" kern="0" spc="-98" dirty="0">
                <a:gradFill>
                  <a:gsLst>
                    <a:gs pos="0">
                      <a:srgbClr val="FFFFFF"/>
                    </a:gs>
                    <a:gs pos="100000">
                      <a:srgbClr val="FFFFFF"/>
                    </a:gs>
                  </a:gsLst>
                  <a:lin ang="5400000" scaled="0"/>
                </a:gradFill>
                <a:latin typeface="Segoe Light" pitchFamily="34" charset="0"/>
              </a:endParaRPr>
            </a:p>
          </p:txBody>
        </p:sp>
        <p:sp>
          <p:nvSpPr>
            <p:cNvPr id="132" name="Freeform 29"/>
            <p:cNvSpPr>
              <a:spLocks/>
            </p:cNvSpPr>
            <p:nvPr/>
          </p:nvSpPr>
          <p:spPr bwMode="auto">
            <a:xfrm>
              <a:off x="10588195" y="2748555"/>
              <a:ext cx="43691" cy="53925"/>
            </a:xfrm>
            <a:custGeom>
              <a:avLst/>
              <a:gdLst>
                <a:gd name="T0" fmla="*/ 0 w 60"/>
                <a:gd name="T1" fmla="*/ 4 h 65"/>
                <a:gd name="T2" fmla="*/ 14 w 60"/>
                <a:gd name="T3" fmla="*/ 65 h 65"/>
                <a:gd name="T4" fmla="*/ 60 w 60"/>
                <a:gd name="T5" fmla="*/ 65 h 65"/>
                <a:gd name="T6" fmla="*/ 18 w 60"/>
                <a:gd name="T7" fmla="*/ 0 h 65"/>
                <a:gd name="T8" fmla="*/ 0 w 60"/>
                <a:gd name="T9" fmla="*/ 4 h 65"/>
              </a:gdLst>
              <a:ahLst/>
              <a:cxnLst>
                <a:cxn ang="0">
                  <a:pos x="T0" y="T1"/>
                </a:cxn>
                <a:cxn ang="0">
                  <a:pos x="T2" y="T3"/>
                </a:cxn>
                <a:cxn ang="0">
                  <a:pos x="T4" y="T5"/>
                </a:cxn>
                <a:cxn ang="0">
                  <a:pos x="T6" y="T7"/>
                </a:cxn>
                <a:cxn ang="0">
                  <a:pos x="T8" y="T9"/>
                </a:cxn>
              </a:cxnLst>
              <a:rect l="0" t="0" r="r" b="b"/>
              <a:pathLst>
                <a:path w="60" h="65">
                  <a:moveTo>
                    <a:pt x="0" y="4"/>
                  </a:moveTo>
                  <a:cubicBezTo>
                    <a:pt x="11" y="22"/>
                    <a:pt x="14" y="46"/>
                    <a:pt x="14" y="65"/>
                  </a:cubicBezTo>
                  <a:cubicBezTo>
                    <a:pt x="20" y="65"/>
                    <a:pt x="53" y="65"/>
                    <a:pt x="60" y="65"/>
                  </a:cubicBezTo>
                  <a:cubicBezTo>
                    <a:pt x="59" y="19"/>
                    <a:pt x="46" y="0"/>
                    <a:pt x="18" y="0"/>
                  </a:cubicBezTo>
                  <a:cubicBezTo>
                    <a:pt x="11" y="0"/>
                    <a:pt x="5" y="1"/>
                    <a:pt x="0" y="4"/>
                  </a:cubicBezTo>
                  <a:close/>
                </a:path>
              </a:pathLst>
            </a:custGeom>
            <a:grpFill/>
            <a:ln w="25400"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63918" tIns="31959" rIns="63918" bIns="31959" numCol="1" rtlCol="0" anchor="ctr" anchorCtr="0" compatLnSpc="1">
              <a:prstTxWarp prst="textNoShape">
                <a:avLst/>
              </a:prstTxWarp>
            </a:bodyPr>
            <a:lstStyle/>
            <a:p>
              <a:pPr defTabSz="598365">
                <a:defRPr/>
              </a:pPr>
              <a:endParaRPr lang="en-US" sz="1285" kern="0" spc="-98" dirty="0">
                <a:gradFill>
                  <a:gsLst>
                    <a:gs pos="0">
                      <a:srgbClr val="FFFFFF"/>
                    </a:gs>
                    <a:gs pos="100000">
                      <a:srgbClr val="FFFFFF"/>
                    </a:gs>
                  </a:gsLst>
                  <a:lin ang="5400000" scaled="0"/>
                </a:gradFill>
                <a:latin typeface="Segoe Light" pitchFamily="34" charset="0"/>
              </a:endParaRPr>
            </a:p>
          </p:txBody>
        </p:sp>
        <p:sp>
          <p:nvSpPr>
            <p:cNvPr id="133" name="Oval 30"/>
            <p:cNvSpPr>
              <a:spLocks noChangeArrowheads="1"/>
            </p:cNvSpPr>
            <p:nvPr/>
          </p:nvSpPr>
          <p:spPr bwMode="auto">
            <a:xfrm>
              <a:off x="10527890" y="2682374"/>
              <a:ext cx="46460" cy="52874"/>
            </a:xfrm>
            <a:prstGeom prst="ellipse">
              <a:avLst/>
            </a:prstGeom>
            <a:grpFill/>
            <a:ln w="25400"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63918" tIns="31959" rIns="63918" bIns="31959" numCol="1" rtlCol="0" anchor="ctr" anchorCtr="0" compatLnSpc="1">
              <a:prstTxWarp prst="textNoShape">
                <a:avLst/>
              </a:prstTxWarp>
            </a:bodyPr>
            <a:lstStyle/>
            <a:p>
              <a:pPr defTabSz="598365">
                <a:defRPr/>
              </a:pPr>
              <a:endParaRPr lang="en-US" sz="1285" kern="0" spc="-98" dirty="0">
                <a:gradFill>
                  <a:gsLst>
                    <a:gs pos="0">
                      <a:srgbClr val="FFFFFF"/>
                    </a:gs>
                    <a:gs pos="100000">
                      <a:srgbClr val="FFFFFF"/>
                    </a:gs>
                  </a:gsLst>
                  <a:lin ang="5400000" scaled="0"/>
                </a:gradFill>
                <a:latin typeface="Segoe Light" pitchFamily="34" charset="0"/>
              </a:endParaRPr>
            </a:p>
          </p:txBody>
        </p:sp>
        <p:sp>
          <p:nvSpPr>
            <p:cNvPr id="134" name="Oval 31"/>
            <p:cNvSpPr>
              <a:spLocks noChangeArrowheads="1"/>
            </p:cNvSpPr>
            <p:nvPr/>
          </p:nvSpPr>
          <p:spPr bwMode="auto">
            <a:xfrm>
              <a:off x="10583273" y="2702333"/>
              <a:ext cx="35383" cy="39569"/>
            </a:xfrm>
            <a:prstGeom prst="ellipse">
              <a:avLst/>
            </a:prstGeom>
            <a:grpFill/>
            <a:ln w="25400" cap="flat" cmpd="sng" algn="ctr">
              <a:noFill/>
              <a:prstDash val="solid"/>
              <a:headEnd type="none" w="med" len="med"/>
              <a:tailEnd type="none" w="med" len="med"/>
            </a:ln>
            <a:effectLst/>
            <a:extLst>
              <a:ext uri="{91240B29-F687-4F45-9708-019B960494DF}">
                <a14:hiddenLine xmlns:a14="http://schemas.microsoft.com/office/drawing/2010/main" w="9525">
                  <a:solidFill>
                    <a:srgbClr val="000000"/>
                  </a:solidFill>
                  <a:round/>
                  <a:headEnd/>
                  <a:tailEnd/>
                </a14:hiddenLine>
              </a:ext>
            </a:extLst>
          </p:spPr>
          <p:txBody>
            <a:bodyPr vert="horz" wrap="square" lIns="63918" tIns="31959" rIns="63918" bIns="31959" numCol="1" rtlCol="0" anchor="ctr" anchorCtr="0" compatLnSpc="1">
              <a:prstTxWarp prst="textNoShape">
                <a:avLst/>
              </a:prstTxWarp>
            </a:bodyPr>
            <a:lstStyle/>
            <a:p>
              <a:pPr defTabSz="598365">
                <a:defRPr/>
              </a:pPr>
              <a:endParaRPr lang="en-US" sz="1285" kern="0" spc="-98" dirty="0">
                <a:gradFill>
                  <a:gsLst>
                    <a:gs pos="0">
                      <a:srgbClr val="FFFFFF"/>
                    </a:gs>
                    <a:gs pos="100000">
                      <a:srgbClr val="FFFFFF"/>
                    </a:gs>
                  </a:gsLst>
                  <a:lin ang="5400000" scaled="0"/>
                </a:gradFill>
                <a:latin typeface="Segoe Light" pitchFamily="34" charset="0"/>
              </a:endParaRPr>
            </a:p>
          </p:txBody>
        </p:sp>
      </p:grpSp>
      <p:sp>
        <p:nvSpPr>
          <p:cNvPr id="136" name="Rectangle 135"/>
          <p:cNvSpPr>
            <a:spLocks/>
          </p:cNvSpPr>
          <p:nvPr>
            <p:custDataLst>
              <p:tags r:id="rId6"/>
            </p:custDataLst>
          </p:nvPr>
        </p:nvSpPr>
        <p:spPr>
          <a:xfrm>
            <a:off x="131733" y="5833850"/>
            <a:ext cx="11823461" cy="239069"/>
          </a:xfrm>
          <a:prstGeom prst="rect">
            <a:avLst/>
          </a:prstGeom>
          <a:solidFill>
            <a:srgbClr val="00BCF2"/>
          </a:solidFill>
          <a:ln w="25400" cap="flat" cmpd="sng" algn="ctr">
            <a:noFill/>
            <a:prstDash val="solid"/>
          </a:ln>
          <a:effectLst/>
        </p:spPr>
        <p:txBody>
          <a:bodyPr lIns="32611" tIns="33251" rIns="49861" bIns="33251" rtlCol="0" anchor="ctr"/>
          <a:lstStyle/>
          <a:p>
            <a:pPr algn="ctr" defTabSz="664698">
              <a:lnSpc>
                <a:spcPct val="90000"/>
              </a:lnSpc>
              <a:defRPr/>
            </a:pPr>
            <a:r>
              <a:rPr lang="ru-RU" sz="1175" kern="0" dirty="0">
                <a:solidFill>
                  <a:srgbClr val="FFFFFF"/>
                </a:solidFill>
                <a:ea typeface="Segoe UI" pitchFamily="34" charset="0"/>
                <a:cs typeface="Segoe UI" pitchFamily="34" charset="0"/>
              </a:rPr>
              <a:t>Доверенная Платформа для устройств и услуг</a:t>
            </a:r>
            <a:endParaRPr lang="en-US" sz="1175" kern="0" dirty="0">
              <a:solidFill>
                <a:srgbClr val="FFFFFF"/>
              </a:solidFill>
              <a:ea typeface="Segoe UI" pitchFamily="34" charset="0"/>
              <a:cs typeface="Segoe UI" pitchFamily="34" charset="0"/>
            </a:endParaRPr>
          </a:p>
        </p:txBody>
      </p:sp>
      <p:pic>
        <p:nvPicPr>
          <p:cNvPr id="137" name="Picture 136"/>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135463" y="1147839"/>
            <a:ext cx="292858" cy="276134"/>
          </a:xfrm>
          <a:prstGeom prst="rect">
            <a:avLst/>
          </a:prstGeom>
        </p:spPr>
      </p:pic>
      <p:pic>
        <p:nvPicPr>
          <p:cNvPr id="138" name="Picture 2" descr="C:\Users\chrisw\Desktop\Cloud Services 3.png"/>
          <p:cNvPicPr>
            <a:picLocks noChangeAspect="1" noChangeArrowheads="1"/>
          </p:cNvPicPr>
          <p:nvPr/>
        </p:nvPicPr>
        <p:blipFill>
          <a:blip r:embed="rId19" cstate="email">
            <a:extLst>
              <a:ext uri="{BEBA8EAE-BF5A-486C-A8C5-ECC9F3942E4B}">
                <a14:imgProps xmlns:a14="http://schemas.microsoft.com/office/drawing/2010/main">
                  <a14:imgLayer r:embed="rId20">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4104646" y="5808287"/>
            <a:ext cx="309795" cy="213611"/>
          </a:xfrm>
          <a:prstGeom prst="rect">
            <a:avLst/>
          </a:prstGeom>
          <a:noFill/>
          <a:extLst>
            <a:ext uri="{909E8E84-426E-40DD-AFC4-6F175D3DCCD1}">
              <a14:hiddenFill xmlns:a14="http://schemas.microsoft.com/office/drawing/2010/main">
                <a:solidFill>
                  <a:srgbClr val="FFFFFF"/>
                </a:solidFill>
              </a14:hiddenFill>
            </a:ext>
          </a:extLst>
        </p:spPr>
      </p:pic>
      <p:sp>
        <p:nvSpPr>
          <p:cNvPr id="142" name="Rectangle 141"/>
          <p:cNvSpPr>
            <a:spLocks/>
          </p:cNvSpPr>
          <p:nvPr>
            <p:custDataLst>
              <p:tags r:id="rId7"/>
            </p:custDataLst>
          </p:nvPr>
        </p:nvSpPr>
        <p:spPr>
          <a:xfrm>
            <a:off x="145055" y="2005906"/>
            <a:ext cx="5564301" cy="218972"/>
          </a:xfrm>
          <a:prstGeom prst="rect">
            <a:avLst/>
          </a:prstGeom>
          <a:solidFill>
            <a:srgbClr val="68217A"/>
          </a:solidFill>
          <a:ln w="25400" cap="flat" cmpd="sng" algn="ctr">
            <a:noFill/>
            <a:prstDash val="solid"/>
          </a:ln>
          <a:effectLst/>
        </p:spPr>
        <p:txBody>
          <a:bodyPr lIns="0" tIns="0" rIns="0" bIns="0" rtlCol="0" anchor="ctr" anchorCtr="0"/>
          <a:lstStyle/>
          <a:p>
            <a:pPr algn="ctr" defTabSz="664698">
              <a:lnSpc>
                <a:spcPct val="90000"/>
              </a:lnSpc>
              <a:defRPr/>
            </a:pPr>
            <a:r>
              <a:rPr lang="ru-RU" sz="1175" kern="0" dirty="0">
                <a:solidFill>
                  <a:srgbClr val="FFFFFF"/>
                </a:solidFill>
                <a:ea typeface="Segoe UI" pitchFamily="34" charset="0"/>
                <a:cs typeface="Segoe UI" pitchFamily="34" charset="0"/>
              </a:rPr>
              <a:t>Современное образование</a:t>
            </a:r>
            <a:endParaRPr lang="en-US" sz="1175" kern="0" dirty="0">
              <a:solidFill>
                <a:srgbClr val="FFFFFF"/>
              </a:solidFill>
              <a:ea typeface="Segoe UI" pitchFamily="34" charset="0"/>
              <a:cs typeface="Segoe UI" pitchFamily="34" charset="0"/>
            </a:endParaRPr>
          </a:p>
        </p:txBody>
      </p:sp>
      <p:sp>
        <p:nvSpPr>
          <p:cNvPr id="143" name="Rectangle 142"/>
          <p:cNvSpPr>
            <a:spLocks/>
          </p:cNvSpPr>
          <p:nvPr>
            <p:custDataLst>
              <p:tags r:id="rId8"/>
            </p:custDataLst>
          </p:nvPr>
        </p:nvSpPr>
        <p:spPr>
          <a:xfrm>
            <a:off x="131733" y="3263787"/>
            <a:ext cx="5577623" cy="240333"/>
          </a:xfrm>
          <a:prstGeom prst="rect">
            <a:avLst/>
          </a:prstGeom>
          <a:solidFill>
            <a:srgbClr val="009E49"/>
          </a:solidFill>
          <a:ln w="25400" cap="flat" cmpd="sng" algn="ctr">
            <a:noFill/>
            <a:prstDash val="solid"/>
          </a:ln>
          <a:effectLst/>
        </p:spPr>
        <p:txBody>
          <a:bodyPr lIns="0" tIns="0" rIns="0" bIns="0" rtlCol="0" anchor="ctr" anchorCtr="0"/>
          <a:lstStyle/>
          <a:p>
            <a:pPr algn="ctr" defTabSz="664698">
              <a:lnSpc>
                <a:spcPct val="90000"/>
              </a:lnSpc>
              <a:defRPr/>
            </a:pPr>
            <a:r>
              <a:rPr lang="ru-RU" sz="1175" kern="0" dirty="0">
                <a:solidFill>
                  <a:srgbClr val="FFFFFF"/>
                </a:solidFill>
                <a:ea typeface="Segoe UI" pitchFamily="34" charset="0"/>
                <a:cs typeface="Segoe UI" pitchFamily="34" charset="0"/>
              </a:rPr>
              <a:t>Безопасные города</a:t>
            </a:r>
            <a:endParaRPr lang="en-US" sz="1175" kern="0" dirty="0">
              <a:solidFill>
                <a:srgbClr val="FFFFFF"/>
              </a:solidFill>
              <a:ea typeface="Segoe UI" pitchFamily="34" charset="0"/>
              <a:cs typeface="Segoe UI" pitchFamily="34" charset="0"/>
            </a:endParaRPr>
          </a:p>
        </p:txBody>
      </p:sp>
      <p:sp>
        <p:nvSpPr>
          <p:cNvPr id="144" name="Rectangle 143"/>
          <p:cNvSpPr>
            <a:spLocks/>
          </p:cNvSpPr>
          <p:nvPr>
            <p:custDataLst>
              <p:tags r:id="rId9"/>
            </p:custDataLst>
          </p:nvPr>
        </p:nvSpPr>
        <p:spPr>
          <a:xfrm>
            <a:off x="131733" y="4479003"/>
            <a:ext cx="5577623" cy="272205"/>
          </a:xfrm>
          <a:prstGeom prst="rect">
            <a:avLst/>
          </a:prstGeom>
          <a:solidFill>
            <a:srgbClr val="4668C5"/>
          </a:solidFill>
          <a:ln w="25400" cap="flat" cmpd="sng" algn="ctr">
            <a:noFill/>
            <a:prstDash val="solid"/>
          </a:ln>
          <a:effectLst/>
        </p:spPr>
        <p:txBody>
          <a:bodyPr lIns="0" tIns="0" rIns="0" bIns="0" rtlCol="0" anchor="ctr" anchorCtr="0"/>
          <a:lstStyle/>
          <a:p>
            <a:pPr algn="ctr" defTabSz="664698">
              <a:lnSpc>
                <a:spcPct val="90000"/>
              </a:lnSpc>
              <a:defRPr/>
            </a:pPr>
            <a:r>
              <a:rPr lang="ru-RU" sz="1175" kern="0" dirty="0">
                <a:solidFill>
                  <a:srgbClr val="FFFFFF"/>
                </a:solidFill>
                <a:ea typeface="Segoe UI" pitchFamily="34" charset="0"/>
                <a:cs typeface="Segoe UI" pitchFamily="34" charset="0"/>
              </a:rPr>
              <a:t>Здравоохранение</a:t>
            </a:r>
            <a:endParaRPr lang="en-US" sz="1175" kern="0" dirty="0">
              <a:solidFill>
                <a:srgbClr val="FFFFFF"/>
              </a:solidFill>
              <a:ea typeface="Segoe UI" pitchFamily="34" charset="0"/>
              <a:cs typeface="Segoe UI" pitchFamily="34" charset="0"/>
            </a:endParaRPr>
          </a:p>
        </p:txBody>
      </p:sp>
      <p:sp>
        <p:nvSpPr>
          <p:cNvPr id="145" name="Rectangle 144"/>
          <p:cNvSpPr>
            <a:spLocks/>
          </p:cNvSpPr>
          <p:nvPr>
            <p:custDataLst>
              <p:tags r:id="rId10"/>
            </p:custDataLst>
          </p:nvPr>
        </p:nvSpPr>
        <p:spPr>
          <a:xfrm>
            <a:off x="5877018" y="745485"/>
            <a:ext cx="6012862" cy="228568"/>
          </a:xfrm>
          <a:prstGeom prst="rect">
            <a:avLst/>
          </a:prstGeom>
          <a:solidFill>
            <a:srgbClr val="002060"/>
          </a:solidFill>
          <a:ln w="25400" cap="flat" cmpd="sng" algn="ctr">
            <a:noFill/>
            <a:prstDash val="solid"/>
          </a:ln>
          <a:effectLst/>
        </p:spPr>
        <p:txBody>
          <a:bodyPr lIns="0" tIns="0" rIns="0" bIns="0" rtlCol="0" anchor="ctr" anchorCtr="0"/>
          <a:lstStyle/>
          <a:p>
            <a:pPr algn="ctr" defTabSz="664698">
              <a:lnSpc>
                <a:spcPct val="90000"/>
              </a:lnSpc>
              <a:defRPr/>
            </a:pPr>
            <a:r>
              <a:rPr lang="ru-RU" sz="1175" kern="0" dirty="0">
                <a:solidFill>
                  <a:srgbClr val="FFFFFF"/>
                </a:solidFill>
                <a:ea typeface="Segoe UI" pitchFamily="34" charset="0"/>
                <a:cs typeface="Segoe UI" pitchFamily="34" charset="0"/>
              </a:rPr>
              <a:t>Современные цифровые города</a:t>
            </a:r>
            <a:endParaRPr lang="en-US" sz="1175" kern="0" dirty="0">
              <a:solidFill>
                <a:srgbClr val="FFFFFF"/>
              </a:solidFill>
              <a:ea typeface="Segoe UI" pitchFamily="34" charset="0"/>
              <a:cs typeface="Segoe UI" pitchFamily="34" charset="0"/>
            </a:endParaRPr>
          </a:p>
        </p:txBody>
      </p:sp>
      <p:grpSp>
        <p:nvGrpSpPr>
          <p:cNvPr id="4" name="Group 3"/>
          <p:cNvGrpSpPr/>
          <p:nvPr/>
        </p:nvGrpSpPr>
        <p:grpSpPr>
          <a:xfrm>
            <a:off x="150240" y="689353"/>
            <a:ext cx="5383758" cy="1068736"/>
            <a:chOff x="375208" y="1175584"/>
            <a:chExt cx="5383758" cy="1068736"/>
          </a:xfrm>
        </p:grpSpPr>
        <p:pic>
          <p:nvPicPr>
            <p:cNvPr id="109" name="Picture 108"/>
            <p:cNvPicPr>
              <a:picLocks noChangeAspect="1"/>
            </p:cNvPicPr>
            <p:nvPr/>
          </p:nvPicPr>
          <p:blipFill rotWithShape="1">
            <a:blip r:embed="rId21"/>
            <a:srcRect l="-183" t="24425" r="67" b="40216"/>
            <a:stretch/>
          </p:blipFill>
          <p:spPr>
            <a:xfrm>
              <a:off x="375208" y="1175584"/>
              <a:ext cx="5383758" cy="1068736"/>
            </a:xfrm>
            <a:prstGeom prst="rect">
              <a:avLst/>
            </a:prstGeom>
          </p:spPr>
        </p:pic>
        <p:pic>
          <p:nvPicPr>
            <p:cNvPr id="146" name="Picture 145"/>
            <p:cNvPicPr>
              <a:picLocks noChangeAspect="1"/>
            </p:cNvPicPr>
            <p:nvPr/>
          </p:nvPicPr>
          <p:blipFill>
            <a:blip r:embed="rId22"/>
            <a:stretch>
              <a:fillRect/>
            </a:stretch>
          </p:blipFill>
          <p:spPr>
            <a:xfrm>
              <a:off x="542378" y="1765768"/>
              <a:ext cx="337373" cy="224915"/>
            </a:xfrm>
            <a:prstGeom prst="rect">
              <a:avLst/>
            </a:prstGeom>
          </p:spPr>
        </p:pic>
        <p:pic>
          <p:nvPicPr>
            <p:cNvPr id="147" name="Picture 146"/>
            <p:cNvPicPr>
              <a:picLocks noChangeAspect="1"/>
            </p:cNvPicPr>
            <p:nvPr/>
          </p:nvPicPr>
          <p:blipFill>
            <a:blip r:embed="rId23"/>
            <a:stretch>
              <a:fillRect/>
            </a:stretch>
          </p:blipFill>
          <p:spPr>
            <a:xfrm>
              <a:off x="1248503" y="1928808"/>
              <a:ext cx="305001" cy="247298"/>
            </a:xfrm>
            <a:prstGeom prst="rect">
              <a:avLst/>
            </a:prstGeom>
          </p:spPr>
        </p:pic>
        <p:pic>
          <p:nvPicPr>
            <p:cNvPr id="148" name="Picture 147"/>
            <p:cNvPicPr>
              <a:picLocks noChangeAspect="1"/>
            </p:cNvPicPr>
            <p:nvPr/>
          </p:nvPicPr>
          <p:blipFill>
            <a:blip r:embed="rId24"/>
            <a:stretch>
              <a:fillRect/>
            </a:stretch>
          </p:blipFill>
          <p:spPr>
            <a:xfrm>
              <a:off x="1922256" y="1762299"/>
              <a:ext cx="213319" cy="263092"/>
            </a:xfrm>
            <a:prstGeom prst="rect">
              <a:avLst/>
            </a:prstGeom>
          </p:spPr>
        </p:pic>
        <p:pic>
          <p:nvPicPr>
            <p:cNvPr id="149" name="Picture 148"/>
            <p:cNvPicPr>
              <a:picLocks noChangeAspect="1"/>
            </p:cNvPicPr>
            <p:nvPr/>
          </p:nvPicPr>
          <p:blipFill>
            <a:blip r:embed="rId25"/>
            <a:stretch>
              <a:fillRect/>
            </a:stretch>
          </p:blipFill>
          <p:spPr>
            <a:xfrm>
              <a:off x="2484018" y="1827854"/>
              <a:ext cx="223984" cy="254878"/>
            </a:xfrm>
            <a:prstGeom prst="rect">
              <a:avLst/>
            </a:prstGeom>
          </p:spPr>
        </p:pic>
        <p:pic>
          <p:nvPicPr>
            <p:cNvPr id="150" name="Picture 149"/>
            <p:cNvPicPr>
              <a:picLocks noChangeAspect="1"/>
            </p:cNvPicPr>
            <p:nvPr/>
          </p:nvPicPr>
          <p:blipFill>
            <a:blip r:embed="rId26"/>
            <a:stretch>
              <a:fillRect/>
            </a:stretch>
          </p:blipFill>
          <p:spPr>
            <a:xfrm>
              <a:off x="3203181" y="1944525"/>
              <a:ext cx="253188" cy="253188"/>
            </a:xfrm>
            <a:prstGeom prst="rect">
              <a:avLst/>
            </a:prstGeom>
          </p:spPr>
        </p:pic>
        <p:pic>
          <p:nvPicPr>
            <p:cNvPr id="151" name="Picture 150"/>
            <p:cNvPicPr>
              <a:picLocks noChangeAspect="1"/>
            </p:cNvPicPr>
            <p:nvPr/>
          </p:nvPicPr>
          <p:blipFill>
            <a:blip r:embed="rId27"/>
            <a:stretch>
              <a:fillRect/>
            </a:stretch>
          </p:blipFill>
          <p:spPr>
            <a:xfrm>
              <a:off x="3964068" y="1837627"/>
              <a:ext cx="345114" cy="268422"/>
            </a:xfrm>
            <a:prstGeom prst="rect">
              <a:avLst/>
            </a:prstGeom>
          </p:spPr>
        </p:pic>
        <p:pic>
          <p:nvPicPr>
            <p:cNvPr id="152" name="Picture 151"/>
            <p:cNvPicPr>
              <a:picLocks noChangeAspect="1"/>
            </p:cNvPicPr>
            <p:nvPr/>
          </p:nvPicPr>
          <p:blipFill>
            <a:blip r:embed="rId28"/>
            <a:stretch>
              <a:fillRect/>
            </a:stretch>
          </p:blipFill>
          <p:spPr>
            <a:xfrm>
              <a:off x="4692331" y="1770914"/>
              <a:ext cx="181572" cy="233450"/>
            </a:xfrm>
            <a:prstGeom prst="rect">
              <a:avLst/>
            </a:prstGeom>
          </p:spPr>
        </p:pic>
        <p:pic>
          <p:nvPicPr>
            <p:cNvPr id="153" name="Picture 152"/>
            <p:cNvPicPr>
              <a:picLocks noChangeAspect="1"/>
            </p:cNvPicPr>
            <p:nvPr/>
          </p:nvPicPr>
          <p:blipFill>
            <a:blip r:embed="rId29"/>
            <a:stretch>
              <a:fillRect/>
            </a:stretch>
          </p:blipFill>
          <p:spPr>
            <a:xfrm>
              <a:off x="5152130" y="1874973"/>
              <a:ext cx="232572" cy="268352"/>
            </a:xfrm>
            <a:prstGeom prst="rect">
              <a:avLst/>
            </a:prstGeom>
          </p:spPr>
        </p:pic>
      </p:grpSp>
      <p:sp>
        <p:nvSpPr>
          <p:cNvPr id="3" name="TextBox 2"/>
          <p:cNvSpPr txBox="1"/>
          <p:nvPr/>
        </p:nvSpPr>
        <p:spPr>
          <a:xfrm>
            <a:off x="6730140" y="1013738"/>
            <a:ext cx="2856546" cy="1064907"/>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Налоги и доходы</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оциальная аналитика</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Открытые данные</a:t>
            </a:r>
          </a:p>
          <a:p>
            <a:pPr marL="171450" indent="-171450">
              <a:buFont typeface="Arial" panose="020B0604020202020204" pitchFamily="34" charset="0"/>
              <a:buChar char="•"/>
            </a:pPr>
            <a:r>
              <a:rPr lang="ru-RU" sz="1000" dirty="0" err="1">
                <a:gradFill>
                  <a:gsLst>
                    <a:gs pos="2917">
                      <a:srgbClr val="505050"/>
                    </a:gs>
                    <a:gs pos="30000">
                      <a:srgbClr val="505050"/>
                    </a:gs>
                  </a:gsLst>
                  <a:lin ang="5400000" scaled="0"/>
                </a:gradFill>
              </a:rPr>
              <a:t>Упр-ние</a:t>
            </a:r>
            <a:r>
              <a:rPr lang="ru-RU" sz="1000" dirty="0">
                <a:gradFill>
                  <a:gsLst>
                    <a:gs pos="2917">
                      <a:srgbClr val="505050"/>
                    </a:gs>
                    <a:gs pos="30000">
                      <a:srgbClr val="505050"/>
                    </a:gs>
                  </a:gsLst>
                  <a:lin ang="5400000" scaled="0"/>
                </a:gradFill>
              </a:rPr>
              <a:t> документами и записям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Информационные панели</a:t>
            </a:r>
          </a:p>
        </p:txBody>
      </p:sp>
      <p:sp>
        <p:nvSpPr>
          <p:cNvPr id="51" name="TextBox 50"/>
          <p:cNvSpPr txBox="1"/>
          <p:nvPr/>
        </p:nvSpPr>
        <p:spPr>
          <a:xfrm>
            <a:off x="9180286" y="1012659"/>
            <a:ext cx="2709595" cy="1064907"/>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слуги для граждан: Порталы, Контактные центры/МФЦ и Приложения </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пособиями, грантам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финансами</a:t>
            </a:r>
          </a:p>
        </p:txBody>
      </p:sp>
      <p:sp>
        <p:nvSpPr>
          <p:cNvPr id="53" name="TextBox 52"/>
          <p:cNvSpPr txBox="1"/>
          <p:nvPr/>
        </p:nvSpPr>
        <p:spPr>
          <a:xfrm>
            <a:off x="6770834" y="4115693"/>
            <a:ext cx="2740848"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мные сети (производство и распределение энерги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и анализ потребления энергии</a:t>
            </a:r>
          </a:p>
        </p:txBody>
      </p:sp>
      <p:sp>
        <p:nvSpPr>
          <p:cNvPr id="54" name="TextBox 53"/>
          <p:cNvSpPr txBox="1"/>
          <p:nvPr/>
        </p:nvSpPr>
        <p:spPr>
          <a:xfrm>
            <a:off x="9180286" y="4115693"/>
            <a:ext cx="2709594"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водоснабжением </a:t>
            </a:r>
            <a:br>
              <a:rPr lang="ru-RU" sz="1000" dirty="0">
                <a:gradFill>
                  <a:gsLst>
                    <a:gs pos="2917">
                      <a:srgbClr val="505050"/>
                    </a:gs>
                    <a:gs pos="30000">
                      <a:srgbClr val="505050"/>
                    </a:gs>
                  </a:gsLst>
                  <a:lin ang="5400000" scaled="0"/>
                </a:gradFill>
              </a:rPr>
            </a:br>
            <a:r>
              <a:rPr lang="ru-RU" sz="1000" dirty="0">
                <a:gradFill>
                  <a:gsLst>
                    <a:gs pos="2917">
                      <a:srgbClr val="505050"/>
                    </a:gs>
                    <a:gs pos="30000">
                      <a:srgbClr val="505050"/>
                    </a:gs>
                  </a:gsLst>
                  <a:lin ang="5400000" scaled="0"/>
                </a:gradFill>
              </a:rPr>
              <a:t>и канализацией</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Меры по сокращению выбросов углекислого газа</a:t>
            </a:r>
          </a:p>
        </p:txBody>
      </p:sp>
      <p:sp>
        <p:nvSpPr>
          <p:cNvPr id="55" name="TextBox 54"/>
          <p:cNvSpPr txBox="1"/>
          <p:nvPr/>
        </p:nvSpPr>
        <p:spPr>
          <a:xfrm>
            <a:off x="6805140" y="5052305"/>
            <a:ext cx="2839809" cy="757130"/>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мные  здания</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личное освещение</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мы автоматизации зданий</a:t>
            </a:r>
          </a:p>
        </p:txBody>
      </p:sp>
      <p:sp>
        <p:nvSpPr>
          <p:cNvPr id="56" name="TextBox 55"/>
          <p:cNvSpPr txBox="1"/>
          <p:nvPr/>
        </p:nvSpPr>
        <p:spPr>
          <a:xfrm>
            <a:off x="9245598" y="5052305"/>
            <a:ext cx="2759308" cy="757130"/>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отходам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Распределение, Управление использованием земельных ресурсов</a:t>
            </a:r>
          </a:p>
        </p:txBody>
      </p:sp>
      <p:sp>
        <p:nvSpPr>
          <p:cNvPr id="57" name="TextBox 56"/>
          <p:cNvSpPr txBox="1"/>
          <p:nvPr/>
        </p:nvSpPr>
        <p:spPr>
          <a:xfrm>
            <a:off x="6725313" y="2094807"/>
            <a:ext cx="2549982" cy="757130"/>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Мобильные приложения для туризма</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Туристические порталы</a:t>
            </a:r>
          </a:p>
        </p:txBody>
      </p:sp>
      <p:sp>
        <p:nvSpPr>
          <p:cNvPr id="58" name="TextBox 57"/>
          <p:cNvSpPr txBox="1"/>
          <p:nvPr/>
        </p:nvSpPr>
        <p:spPr>
          <a:xfrm>
            <a:off x="9146672" y="2094295"/>
            <a:ext cx="2743208" cy="757130"/>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ервисы планирования путешествий</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истемы управления библиотеками, музеями</a:t>
            </a:r>
          </a:p>
        </p:txBody>
      </p:sp>
      <p:sp>
        <p:nvSpPr>
          <p:cNvPr id="59" name="TextBox 58"/>
          <p:cNvSpPr txBox="1"/>
          <p:nvPr/>
        </p:nvSpPr>
        <p:spPr>
          <a:xfrm>
            <a:off x="6724479" y="3172338"/>
            <a:ext cx="2549982"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дорожным движением</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транспортным парком</a:t>
            </a:r>
          </a:p>
        </p:txBody>
      </p:sp>
      <p:sp>
        <p:nvSpPr>
          <p:cNvPr id="60" name="TextBox 59"/>
          <p:cNvSpPr txBox="1"/>
          <p:nvPr/>
        </p:nvSpPr>
        <p:spPr>
          <a:xfrm>
            <a:off x="9180286" y="3166534"/>
            <a:ext cx="2709594"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Оплата проезда, парковок</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Инновационные решения</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Аэропорты, </a:t>
            </a:r>
            <a:r>
              <a:rPr lang="ru-RU" sz="1000" dirty="0" err="1">
                <a:gradFill>
                  <a:gsLst>
                    <a:gs pos="2917">
                      <a:srgbClr val="505050"/>
                    </a:gs>
                    <a:gs pos="30000">
                      <a:srgbClr val="505050"/>
                    </a:gs>
                  </a:gsLst>
                  <a:lin ang="5400000" scaled="0"/>
                </a:gradFill>
              </a:rPr>
              <a:t>жел.дороги</a:t>
            </a:r>
            <a:r>
              <a:rPr lang="ru-RU" sz="1000" dirty="0">
                <a:gradFill>
                  <a:gsLst>
                    <a:gs pos="2917">
                      <a:srgbClr val="505050"/>
                    </a:gs>
                    <a:gs pos="30000">
                      <a:srgbClr val="505050"/>
                    </a:gs>
                  </a:gsLst>
                  <a:lin ang="5400000" scaled="0"/>
                </a:gradFill>
              </a:rPr>
              <a:t>, порты</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истемы контроля качества дорог</a:t>
            </a:r>
          </a:p>
        </p:txBody>
      </p:sp>
      <p:sp>
        <p:nvSpPr>
          <p:cNvPr id="61" name="TextBox 60"/>
          <p:cNvSpPr txBox="1"/>
          <p:nvPr/>
        </p:nvSpPr>
        <p:spPr>
          <a:xfrm>
            <a:off x="1087851" y="2301747"/>
            <a:ext cx="2458242"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стройства, мобильность, с-мы поддержки обучения</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Образовательная аналитика и исследования</a:t>
            </a:r>
          </a:p>
        </p:txBody>
      </p:sp>
      <p:sp>
        <p:nvSpPr>
          <p:cNvPr id="62" name="TextBox 61"/>
          <p:cNvSpPr txBox="1"/>
          <p:nvPr/>
        </p:nvSpPr>
        <p:spPr>
          <a:xfrm>
            <a:off x="1114190" y="3542227"/>
            <a:ext cx="2336194"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Привлечение общественности к вопросам безопасност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истемы наблюдения</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в ЧС</a:t>
            </a:r>
          </a:p>
        </p:txBody>
      </p:sp>
      <p:sp>
        <p:nvSpPr>
          <p:cNvPr id="63" name="TextBox 62"/>
          <p:cNvSpPr txBox="1"/>
          <p:nvPr/>
        </p:nvSpPr>
        <p:spPr>
          <a:xfrm>
            <a:off x="3334078" y="2309003"/>
            <a:ext cx="2375278"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школами и кампусами</a:t>
            </a:r>
            <a:endParaRPr lang="en-US" sz="1000" dirty="0">
              <a:gradFill>
                <a:gsLst>
                  <a:gs pos="2917">
                    <a:srgbClr val="505050"/>
                  </a:gs>
                  <a:gs pos="30000">
                    <a:srgbClr val="505050"/>
                  </a:gs>
                </a:gsLst>
                <a:lin ang="5400000" scaled="0"/>
              </a:gradFill>
            </a:endParaRP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истемы поддержки учебного процесса</a:t>
            </a:r>
          </a:p>
        </p:txBody>
      </p:sp>
      <p:sp>
        <p:nvSpPr>
          <p:cNvPr id="64" name="TextBox 63"/>
          <p:cNvSpPr txBox="1"/>
          <p:nvPr/>
        </p:nvSpPr>
        <p:spPr>
          <a:xfrm>
            <a:off x="3270236" y="3516218"/>
            <a:ext cx="2687768"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Аналитика и анализ ситуаци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Судопроизводство</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ИТ в с-</a:t>
            </a:r>
            <a:r>
              <a:rPr lang="ru-RU" sz="1000" dirty="0" err="1">
                <a:gradFill>
                  <a:gsLst>
                    <a:gs pos="2917">
                      <a:srgbClr val="505050"/>
                    </a:gs>
                    <a:gs pos="30000">
                      <a:srgbClr val="505050"/>
                    </a:gs>
                  </a:gsLst>
                  <a:lin ang="5400000" scaled="0"/>
                </a:gradFill>
              </a:rPr>
              <a:t>ме</a:t>
            </a:r>
            <a:r>
              <a:rPr lang="ru-RU" sz="1000" dirty="0">
                <a:gradFill>
                  <a:gsLst>
                    <a:gs pos="2917">
                      <a:srgbClr val="505050"/>
                    </a:gs>
                    <a:gs pos="30000">
                      <a:srgbClr val="505050"/>
                    </a:gs>
                  </a:gsLst>
                  <a:lin ang="5400000" scaled="0"/>
                </a:gradFill>
              </a:rPr>
              <a:t> исполнения наказаний и для работы с правонарушителями</a:t>
            </a:r>
          </a:p>
        </p:txBody>
      </p:sp>
      <p:sp>
        <p:nvSpPr>
          <p:cNvPr id="65" name="TextBox 64"/>
          <p:cNvSpPr txBox="1"/>
          <p:nvPr/>
        </p:nvSpPr>
        <p:spPr>
          <a:xfrm>
            <a:off x="1074804" y="4783750"/>
            <a:ext cx="2291459"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Здоровье населения</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ход на дому и </a:t>
            </a:r>
            <a:r>
              <a:rPr lang="ru-RU" sz="1000" dirty="0" err="1">
                <a:gradFill>
                  <a:gsLst>
                    <a:gs pos="2917">
                      <a:srgbClr val="505050"/>
                    </a:gs>
                    <a:gs pos="30000">
                      <a:srgbClr val="505050"/>
                    </a:gs>
                  </a:gsLst>
                  <a:lin ang="5400000" scaled="0"/>
                </a:gradFill>
              </a:rPr>
              <a:t>дистанцион-ная</a:t>
            </a:r>
            <a:r>
              <a:rPr lang="ru-RU" sz="1000" dirty="0">
                <a:gradFill>
                  <a:gsLst>
                    <a:gs pos="2917">
                      <a:srgbClr val="505050"/>
                    </a:gs>
                    <a:gs pos="30000">
                      <a:srgbClr val="505050"/>
                    </a:gs>
                  </a:gsLst>
                  <a:lin ang="5400000" scaled="0"/>
                </a:gradFill>
              </a:rPr>
              <a:t> диагностика</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Первичная помощь</a:t>
            </a:r>
          </a:p>
        </p:txBody>
      </p:sp>
      <p:sp>
        <p:nvSpPr>
          <p:cNvPr id="66" name="TextBox 65"/>
          <p:cNvSpPr txBox="1"/>
          <p:nvPr/>
        </p:nvSpPr>
        <p:spPr>
          <a:xfrm>
            <a:off x="3215793" y="4768904"/>
            <a:ext cx="2493563" cy="911019"/>
          </a:xfrm>
          <a:prstGeom prst="rect">
            <a:avLst/>
          </a:prstGeom>
          <a:solidFill>
            <a:schemeClr val="bg1">
              <a:lumMod val="95000"/>
            </a:schemeClr>
          </a:solidFill>
        </p:spPr>
        <p:txBody>
          <a:bodyPr wrap="square" lIns="182880" tIns="146304" rIns="182880" bIns="146304" rtlCol="0">
            <a:spAutoFit/>
          </a:bodyPr>
          <a:lstStyle/>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социальными льготами</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Личное здоровье граждан</a:t>
            </a:r>
          </a:p>
          <a:p>
            <a:pPr marL="171450" indent="-171450">
              <a:buFont typeface="Arial" panose="020B0604020202020204" pitchFamily="34" charset="0"/>
              <a:buChar char="•"/>
            </a:pPr>
            <a:r>
              <a:rPr lang="ru-RU" sz="1000" dirty="0">
                <a:gradFill>
                  <a:gsLst>
                    <a:gs pos="2917">
                      <a:srgbClr val="505050"/>
                    </a:gs>
                    <a:gs pos="30000">
                      <a:srgbClr val="505050"/>
                    </a:gs>
                  </a:gsLst>
                  <a:lin ang="5400000" scaled="0"/>
                </a:gradFill>
              </a:rPr>
              <a:t>Управление пандемиям</a:t>
            </a:r>
          </a:p>
        </p:txBody>
      </p:sp>
      <p:graphicFrame>
        <p:nvGraphicFramePr>
          <p:cNvPr id="67" name="Table 66"/>
          <p:cNvGraphicFramePr>
            <a:graphicFrameLocks noGrp="1"/>
          </p:cNvGraphicFramePr>
          <p:nvPr>
            <p:extLst/>
          </p:nvPr>
        </p:nvGraphicFramePr>
        <p:xfrm>
          <a:off x="379333" y="6122794"/>
          <a:ext cx="11568025" cy="679938"/>
        </p:xfrm>
        <a:graphic>
          <a:graphicData uri="http://schemas.openxmlformats.org/drawingml/2006/table">
            <a:tbl>
              <a:tblPr firstRow="1" bandRow="1">
                <a:tableStyleId>{2D5ABB26-0587-4C30-8999-92F81FD0307C}</a:tableStyleId>
              </a:tblPr>
              <a:tblGrid>
                <a:gridCol w="3851255">
                  <a:extLst>
                    <a:ext uri="{9D8B030D-6E8A-4147-A177-3AD203B41FA5}">
                      <a16:colId xmlns:a16="http://schemas.microsoft.com/office/drawing/2014/main" val="20000"/>
                    </a:ext>
                  </a:extLst>
                </a:gridCol>
                <a:gridCol w="3851255">
                  <a:extLst>
                    <a:ext uri="{9D8B030D-6E8A-4147-A177-3AD203B41FA5}">
                      <a16:colId xmlns:a16="http://schemas.microsoft.com/office/drawing/2014/main" val="20001"/>
                    </a:ext>
                  </a:extLst>
                </a:gridCol>
                <a:gridCol w="3865515">
                  <a:extLst>
                    <a:ext uri="{9D8B030D-6E8A-4147-A177-3AD203B41FA5}">
                      <a16:colId xmlns:a16="http://schemas.microsoft.com/office/drawing/2014/main" val="20002"/>
                    </a:ext>
                  </a:extLst>
                </a:gridCol>
              </a:tblGrid>
              <a:tr h="328246">
                <a:tc>
                  <a:txBody>
                    <a:bodyPr/>
                    <a:lstStyle/>
                    <a:p>
                      <a:pPr algn="ctr"/>
                      <a:r>
                        <a:rPr lang="ru-RU" sz="1180" dirty="0" err="1">
                          <a:solidFill>
                            <a:schemeClr val="bg2">
                              <a:lumMod val="50000"/>
                            </a:schemeClr>
                          </a:solidFill>
                        </a:rPr>
                        <a:t>ЦОДы</a:t>
                      </a:r>
                      <a:r>
                        <a:rPr lang="ru-RU" sz="1180" dirty="0">
                          <a:solidFill>
                            <a:schemeClr val="bg2">
                              <a:lumMod val="50000"/>
                            </a:schemeClr>
                          </a:solidFill>
                        </a:rPr>
                        <a:t> и Облачные технологии</a:t>
                      </a:r>
                      <a:endParaRPr lang="en-US" sz="1180" dirty="0">
                        <a:solidFill>
                          <a:schemeClr val="bg2">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ru-RU" sz="1180" dirty="0">
                          <a:solidFill>
                            <a:schemeClr val="bg2">
                              <a:lumMod val="50000"/>
                            </a:schemeClr>
                          </a:solidFill>
                        </a:rPr>
                        <a:t>Средства продуктивной работы</a:t>
                      </a:r>
                      <a:endParaRPr lang="en-US" sz="1180" dirty="0">
                        <a:solidFill>
                          <a:schemeClr val="bg2">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pPr algn="ctr"/>
                      <a:r>
                        <a:rPr lang="en-US" sz="1180" dirty="0">
                          <a:solidFill>
                            <a:schemeClr val="bg2">
                              <a:lumMod val="50000"/>
                            </a:schemeClr>
                          </a:solidFill>
                        </a:rPr>
                        <a:t>Windows </a:t>
                      </a:r>
                      <a:r>
                        <a:rPr lang="ru-RU" sz="1180" dirty="0">
                          <a:solidFill>
                            <a:schemeClr val="bg2">
                              <a:lumMod val="50000"/>
                            </a:schemeClr>
                          </a:solidFill>
                        </a:rPr>
                        <a:t>и</a:t>
                      </a:r>
                      <a:r>
                        <a:rPr lang="en-US" sz="1180" dirty="0">
                          <a:solidFill>
                            <a:schemeClr val="bg2">
                              <a:lumMod val="50000"/>
                            </a:schemeClr>
                          </a:solidFill>
                        </a:rPr>
                        <a:t> </a:t>
                      </a:r>
                      <a:r>
                        <a:rPr lang="ru-RU" sz="1180" dirty="0">
                          <a:solidFill>
                            <a:schemeClr val="bg2">
                              <a:lumMod val="50000"/>
                            </a:schemeClr>
                          </a:solidFill>
                        </a:rPr>
                        <a:t>Устройства</a:t>
                      </a:r>
                      <a:endParaRPr lang="en-US" sz="1180" dirty="0">
                        <a:solidFill>
                          <a:schemeClr val="bg2">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0000"/>
                  </a:ext>
                </a:extLst>
              </a:tr>
              <a:tr h="351692">
                <a:tc gridSpan="3">
                  <a:txBody>
                    <a:bodyPr/>
                    <a:lstStyle/>
                    <a:p>
                      <a:pPr algn="ctr"/>
                      <a:r>
                        <a:rPr lang="ru-RU" sz="1180" dirty="0">
                          <a:solidFill>
                            <a:schemeClr val="bg2">
                              <a:lumMod val="50000"/>
                            </a:schemeClr>
                          </a:solidFill>
                        </a:rPr>
                        <a:t>Безопасность и Защита данных</a:t>
                      </a:r>
                      <a:endParaRPr lang="en-US" sz="1180" dirty="0">
                        <a:solidFill>
                          <a:schemeClr val="bg2">
                            <a:lumMod val="50000"/>
                          </a:schemeClr>
                        </a:solidFill>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1"/>
                  </a:ext>
                </a:extLst>
              </a:tr>
            </a:tbl>
          </a:graphicData>
        </a:graphic>
      </p:graphicFrame>
      <p:sp>
        <p:nvSpPr>
          <p:cNvPr id="68" name="Rectangle 67"/>
          <p:cNvSpPr>
            <a:spLocks/>
          </p:cNvSpPr>
          <p:nvPr>
            <p:custDataLst>
              <p:tags r:id="rId11"/>
            </p:custDataLst>
          </p:nvPr>
        </p:nvSpPr>
        <p:spPr>
          <a:xfrm>
            <a:off x="5842023" y="2936204"/>
            <a:ext cx="6083057" cy="202855"/>
          </a:xfrm>
          <a:prstGeom prst="rect">
            <a:avLst/>
          </a:prstGeom>
          <a:solidFill>
            <a:srgbClr val="00B294"/>
          </a:solidFill>
          <a:ln w="25400" cap="flat" cmpd="sng" algn="ctr">
            <a:noFill/>
            <a:prstDash val="solid"/>
          </a:ln>
          <a:effectLst/>
        </p:spPr>
        <p:txBody>
          <a:bodyPr lIns="0" tIns="0" rIns="0" bIns="0" rtlCol="0" anchor="ctr" anchorCtr="0"/>
          <a:lstStyle/>
          <a:p>
            <a:pPr algn="ctr" defTabSz="664698">
              <a:lnSpc>
                <a:spcPct val="90000"/>
              </a:lnSpc>
              <a:defRPr/>
            </a:pPr>
            <a:r>
              <a:rPr lang="ru-RU" sz="1175" kern="0" dirty="0">
                <a:solidFill>
                  <a:srgbClr val="FFFFFF"/>
                </a:solidFill>
                <a:ea typeface="Segoe UI" pitchFamily="34" charset="0"/>
                <a:cs typeface="Segoe UI" pitchFamily="34" charset="0"/>
              </a:rPr>
              <a:t>Устойчивое развитие города</a:t>
            </a:r>
            <a:endParaRPr lang="en-US" sz="1175" kern="0" dirty="0">
              <a:solidFill>
                <a:srgbClr val="FFFFFF"/>
              </a:solidFill>
              <a:ea typeface="Segoe UI" pitchFamily="34" charset="0"/>
              <a:cs typeface="Segoe UI" pitchFamily="34" charset="0"/>
            </a:endParaRPr>
          </a:p>
        </p:txBody>
      </p:sp>
      <p:sp>
        <p:nvSpPr>
          <p:cNvPr id="69" name="Rectangle 68"/>
          <p:cNvSpPr>
            <a:spLocks/>
          </p:cNvSpPr>
          <p:nvPr>
            <p:custDataLst>
              <p:tags r:id="rId12"/>
            </p:custDataLst>
          </p:nvPr>
        </p:nvSpPr>
        <p:spPr>
          <a:xfrm>
            <a:off x="5842023" y="3188807"/>
            <a:ext cx="920465" cy="850271"/>
          </a:xfrm>
          <a:prstGeom prst="rect">
            <a:avLst/>
          </a:prstGeom>
          <a:solidFill>
            <a:srgbClr val="00B294"/>
          </a:solidFill>
          <a:ln w="25400" cap="flat" cmpd="sng" algn="ctr">
            <a:noFill/>
            <a:prstDash val="solid"/>
          </a:ln>
          <a:effectLst/>
        </p:spPr>
        <p:txBody>
          <a:bodyPr lIns="32611" tIns="33265" rIns="19565" bIns="33265" rtlCol="0" anchor="b"/>
          <a:lstStyle/>
          <a:p>
            <a:pPr algn="ctr" defTabSz="664698">
              <a:lnSpc>
                <a:spcPct val="90000"/>
              </a:lnSpc>
              <a:defRPr/>
            </a:pPr>
            <a:r>
              <a:rPr lang="ru-RU" sz="800" kern="0" dirty="0">
                <a:solidFill>
                  <a:srgbClr val="FFFFFF"/>
                </a:solidFill>
                <a:ea typeface="Segoe UI" pitchFamily="34" charset="0"/>
                <a:cs typeface="Segoe UI" pitchFamily="34" charset="0"/>
              </a:rPr>
              <a:t>Транспорт</a:t>
            </a:r>
            <a:endParaRPr lang="en-US" sz="800" kern="0" dirty="0">
              <a:solidFill>
                <a:srgbClr val="FFFFFF"/>
              </a:solidFill>
              <a:ea typeface="Segoe UI" pitchFamily="34" charset="0"/>
              <a:cs typeface="Segoe UI" pitchFamily="34" charset="0"/>
            </a:endParaRPr>
          </a:p>
        </p:txBody>
      </p:sp>
      <p:sp>
        <p:nvSpPr>
          <p:cNvPr id="70" name="Freeform 127"/>
          <p:cNvSpPr>
            <a:spLocks noChangeAspect="1" noEditPoints="1"/>
          </p:cNvSpPr>
          <p:nvPr/>
        </p:nvSpPr>
        <p:spPr bwMode="black">
          <a:xfrm>
            <a:off x="6163998" y="3450709"/>
            <a:ext cx="310136" cy="229845"/>
          </a:xfrm>
          <a:custGeom>
            <a:avLst/>
            <a:gdLst>
              <a:gd name="T0" fmla="*/ 72 w 75"/>
              <a:gd name="T1" fmla="*/ 23 h 61"/>
              <a:gd name="T2" fmla="*/ 71 w 75"/>
              <a:gd name="T3" fmla="*/ 22 h 61"/>
              <a:gd name="T4" fmla="*/ 63 w 75"/>
              <a:gd name="T5" fmla="*/ 3 h 61"/>
              <a:gd name="T6" fmla="*/ 59 w 75"/>
              <a:gd name="T7" fmla="*/ 0 h 61"/>
              <a:gd name="T8" fmla="*/ 16 w 75"/>
              <a:gd name="T9" fmla="*/ 0 h 61"/>
              <a:gd name="T10" fmla="*/ 13 w 75"/>
              <a:gd name="T11" fmla="*/ 3 h 61"/>
              <a:gd name="T12" fmla="*/ 4 w 75"/>
              <a:gd name="T13" fmla="*/ 23 h 61"/>
              <a:gd name="T14" fmla="*/ 0 w 75"/>
              <a:gd name="T15" fmla="*/ 28 h 61"/>
              <a:gd name="T16" fmla="*/ 0 w 75"/>
              <a:gd name="T17" fmla="*/ 45 h 61"/>
              <a:gd name="T18" fmla="*/ 5 w 75"/>
              <a:gd name="T19" fmla="*/ 50 h 61"/>
              <a:gd name="T20" fmla="*/ 10 w 75"/>
              <a:gd name="T21" fmla="*/ 50 h 61"/>
              <a:gd name="T22" fmla="*/ 10 w 75"/>
              <a:gd name="T23" fmla="*/ 56 h 61"/>
              <a:gd name="T24" fmla="*/ 14 w 75"/>
              <a:gd name="T25" fmla="*/ 61 h 61"/>
              <a:gd name="T26" fmla="*/ 19 w 75"/>
              <a:gd name="T27" fmla="*/ 56 h 61"/>
              <a:gd name="T28" fmla="*/ 19 w 75"/>
              <a:gd name="T29" fmla="*/ 50 h 61"/>
              <a:gd name="T30" fmla="*/ 56 w 75"/>
              <a:gd name="T31" fmla="*/ 50 h 61"/>
              <a:gd name="T32" fmla="*/ 56 w 75"/>
              <a:gd name="T33" fmla="*/ 56 h 61"/>
              <a:gd name="T34" fmla="*/ 61 w 75"/>
              <a:gd name="T35" fmla="*/ 61 h 61"/>
              <a:gd name="T36" fmla="*/ 66 w 75"/>
              <a:gd name="T37" fmla="*/ 56 h 61"/>
              <a:gd name="T38" fmla="*/ 66 w 75"/>
              <a:gd name="T39" fmla="*/ 50 h 61"/>
              <a:gd name="T40" fmla="*/ 70 w 75"/>
              <a:gd name="T41" fmla="*/ 50 h 61"/>
              <a:gd name="T42" fmla="*/ 75 w 75"/>
              <a:gd name="T43" fmla="*/ 45 h 61"/>
              <a:gd name="T44" fmla="*/ 75 w 75"/>
              <a:gd name="T45" fmla="*/ 28 h 61"/>
              <a:gd name="T46" fmla="*/ 72 w 75"/>
              <a:gd name="T47" fmla="*/ 23 h 61"/>
              <a:gd name="T48" fmla="*/ 18 w 75"/>
              <a:gd name="T49" fmla="*/ 8 h 61"/>
              <a:gd name="T50" fmla="*/ 57 w 75"/>
              <a:gd name="T51" fmla="*/ 8 h 61"/>
              <a:gd name="T52" fmla="*/ 62 w 75"/>
              <a:gd name="T53" fmla="*/ 20 h 61"/>
              <a:gd name="T54" fmla="*/ 13 w 75"/>
              <a:gd name="T55" fmla="*/ 20 h 61"/>
              <a:gd name="T56" fmla="*/ 18 w 75"/>
              <a:gd name="T57" fmla="*/ 8 h 61"/>
              <a:gd name="T58" fmla="*/ 14 w 75"/>
              <a:gd name="T59" fmla="*/ 38 h 61"/>
              <a:gd name="T60" fmla="*/ 9 w 75"/>
              <a:gd name="T61" fmla="*/ 33 h 61"/>
              <a:gd name="T62" fmla="*/ 14 w 75"/>
              <a:gd name="T63" fmla="*/ 28 h 61"/>
              <a:gd name="T64" fmla="*/ 19 w 75"/>
              <a:gd name="T65" fmla="*/ 33 h 61"/>
              <a:gd name="T66" fmla="*/ 14 w 75"/>
              <a:gd name="T67" fmla="*/ 38 h 61"/>
              <a:gd name="T68" fmla="*/ 61 w 75"/>
              <a:gd name="T69" fmla="*/ 38 h 61"/>
              <a:gd name="T70" fmla="*/ 56 w 75"/>
              <a:gd name="T71" fmla="*/ 33 h 61"/>
              <a:gd name="T72" fmla="*/ 61 w 75"/>
              <a:gd name="T73" fmla="*/ 28 h 61"/>
              <a:gd name="T74" fmla="*/ 67 w 75"/>
              <a:gd name="T75" fmla="*/ 33 h 61"/>
              <a:gd name="T76" fmla="*/ 61 w 75"/>
              <a:gd name="T77" fmla="*/ 38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75" h="61">
                <a:moveTo>
                  <a:pt x="72" y="23"/>
                </a:moveTo>
                <a:cubicBezTo>
                  <a:pt x="72" y="22"/>
                  <a:pt x="71" y="22"/>
                  <a:pt x="71" y="22"/>
                </a:cubicBezTo>
                <a:cubicBezTo>
                  <a:pt x="63" y="3"/>
                  <a:pt x="63" y="3"/>
                  <a:pt x="63" y="3"/>
                </a:cubicBezTo>
                <a:cubicBezTo>
                  <a:pt x="62" y="1"/>
                  <a:pt x="61" y="0"/>
                  <a:pt x="59" y="0"/>
                </a:cubicBezTo>
                <a:cubicBezTo>
                  <a:pt x="16" y="0"/>
                  <a:pt x="16" y="0"/>
                  <a:pt x="16" y="0"/>
                </a:cubicBezTo>
                <a:cubicBezTo>
                  <a:pt x="14" y="0"/>
                  <a:pt x="13" y="1"/>
                  <a:pt x="13" y="3"/>
                </a:cubicBezTo>
                <a:cubicBezTo>
                  <a:pt x="4" y="23"/>
                  <a:pt x="4" y="23"/>
                  <a:pt x="4" y="23"/>
                </a:cubicBezTo>
                <a:cubicBezTo>
                  <a:pt x="2" y="23"/>
                  <a:pt x="0" y="25"/>
                  <a:pt x="0" y="28"/>
                </a:cubicBezTo>
                <a:cubicBezTo>
                  <a:pt x="0" y="45"/>
                  <a:pt x="0" y="45"/>
                  <a:pt x="0" y="45"/>
                </a:cubicBezTo>
                <a:cubicBezTo>
                  <a:pt x="0" y="48"/>
                  <a:pt x="2" y="50"/>
                  <a:pt x="5" y="50"/>
                </a:cubicBezTo>
                <a:cubicBezTo>
                  <a:pt x="10" y="50"/>
                  <a:pt x="10" y="50"/>
                  <a:pt x="10" y="50"/>
                </a:cubicBezTo>
                <a:cubicBezTo>
                  <a:pt x="10" y="56"/>
                  <a:pt x="10" y="56"/>
                  <a:pt x="10" y="56"/>
                </a:cubicBezTo>
                <a:cubicBezTo>
                  <a:pt x="10" y="59"/>
                  <a:pt x="12" y="61"/>
                  <a:pt x="14" y="61"/>
                </a:cubicBezTo>
                <a:cubicBezTo>
                  <a:pt x="17" y="61"/>
                  <a:pt x="19" y="59"/>
                  <a:pt x="19" y="56"/>
                </a:cubicBezTo>
                <a:cubicBezTo>
                  <a:pt x="19" y="50"/>
                  <a:pt x="19" y="50"/>
                  <a:pt x="19" y="50"/>
                </a:cubicBezTo>
                <a:cubicBezTo>
                  <a:pt x="56" y="50"/>
                  <a:pt x="56" y="50"/>
                  <a:pt x="56" y="50"/>
                </a:cubicBezTo>
                <a:cubicBezTo>
                  <a:pt x="56" y="56"/>
                  <a:pt x="56" y="56"/>
                  <a:pt x="56" y="56"/>
                </a:cubicBezTo>
                <a:cubicBezTo>
                  <a:pt x="56" y="59"/>
                  <a:pt x="58" y="61"/>
                  <a:pt x="61" y="61"/>
                </a:cubicBezTo>
                <a:cubicBezTo>
                  <a:pt x="64" y="61"/>
                  <a:pt x="66" y="59"/>
                  <a:pt x="66" y="56"/>
                </a:cubicBezTo>
                <a:cubicBezTo>
                  <a:pt x="66" y="50"/>
                  <a:pt x="66" y="50"/>
                  <a:pt x="66" y="50"/>
                </a:cubicBezTo>
                <a:cubicBezTo>
                  <a:pt x="70" y="50"/>
                  <a:pt x="70" y="50"/>
                  <a:pt x="70" y="50"/>
                </a:cubicBezTo>
                <a:cubicBezTo>
                  <a:pt x="73" y="50"/>
                  <a:pt x="75" y="48"/>
                  <a:pt x="75" y="45"/>
                </a:cubicBezTo>
                <a:cubicBezTo>
                  <a:pt x="75" y="28"/>
                  <a:pt x="75" y="28"/>
                  <a:pt x="75" y="28"/>
                </a:cubicBezTo>
                <a:cubicBezTo>
                  <a:pt x="75" y="25"/>
                  <a:pt x="74" y="23"/>
                  <a:pt x="72" y="23"/>
                </a:cubicBezTo>
                <a:close/>
                <a:moveTo>
                  <a:pt x="18" y="8"/>
                </a:moveTo>
                <a:cubicBezTo>
                  <a:pt x="57" y="8"/>
                  <a:pt x="57" y="8"/>
                  <a:pt x="57" y="8"/>
                </a:cubicBezTo>
                <a:cubicBezTo>
                  <a:pt x="62" y="20"/>
                  <a:pt x="62" y="20"/>
                  <a:pt x="62" y="20"/>
                </a:cubicBezTo>
                <a:cubicBezTo>
                  <a:pt x="13" y="20"/>
                  <a:pt x="13" y="20"/>
                  <a:pt x="13" y="20"/>
                </a:cubicBezTo>
                <a:lnTo>
                  <a:pt x="18" y="8"/>
                </a:lnTo>
                <a:close/>
                <a:moveTo>
                  <a:pt x="14" y="38"/>
                </a:moveTo>
                <a:cubicBezTo>
                  <a:pt x="11" y="38"/>
                  <a:pt x="9" y="36"/>
                  <a:pt x="9" y="33"/>
                </a:cubicBezTo>
                <a:cubicBezTo>
                  <a:pt x="9" y="30"/>
                  <a:pt x="11" y="28"/>
                  <a:pt x="14" y="28"/>
                </a:cubicBezTo>
                <a:cubicBezTo>
                  <a:pt x="17" y="28"/>
                  <a:pt x="19" y="30"/>
                  <a:pt x="19" y="33"/>
                </a:cubicBezTo>
                <a:cubicBezTo>
                  <a:pt x="19" y="36"/>
                  <a:pt x="17" y="38"/>
                  <a:pt x="14" y="38"/>
                </a:cubicBezTo>
                <a:close/>
                <a:moveTo>
                  <a:pt x="61" y="38"/>
                </a:moveTo>
                <a:cubicBezTo>
                  <a:pt x="58" y="38"/>
                  <a:pt x="56" y="36"/>
                  <a:pt x="56" y="33"/>
                </a:cubicBezTo>
                <a:cubicBezTo>
                  <a:pt x="56" y="30"/>
                  <a:pt x="58" y="28"/>
                  <a:pt x="61" y="28"/>
                </a:cubicBezTo>
                <a:cubicBezTo>
                  <a:pt x="64" y="28"/>
                  <a:pt x="67" y="30"/>
                  <a:pt x="67" y="33"/>
                </a:cubicBezTo>
                <a:cubicBezTo>
                  <a:pt x="67" y="36"/>
                  <a:pt x="64" y="38"/>
                  <a:pt x="61" y="38"/>
                </a:cubicBezTo>
                <a:close/>
              </a:path>
            </a:pathLst>
          </a:custGeom>
          <a:solidFill>
            <a:sysClr val="window" lastClr="FFFFFF"/>
          </a:solidFill>
          <a:ln>
            <a:noFill/>
          </a:ln>
          <a:extLst/>
        </p:spPr>
        <p:txBody>
          <a:bodyPr vert="horz" wrap="square" lIns="65193" tIns="32596" rIns="65193" bIns="32596" numCol="1" anchor="t" anchorCtr="0" compatLnSpc="1">
            <a:prstTxWarp prst="textNoShape">
              <a:avLst/>
            </a:prstTxWarp>
          </a:bodyPr>
          <a:lstStyle/>
          <a:p>
            <a:pPr defTabSz="791491">
              <a:defRPr/>
            </a:pPr>
            <a:endParaRPr lang="en-US" sz="1285" kern="0" dirty="0">
              <a:solidFill>
                <a:srgbClr val="505050"/>
              </a:solidFill>
            </a:endParaRPr>
          </a:p>
        </p:txBody>
      </p:sp>
      <p:sp>
        <p:nvSpPr>
          <p:cNvPr id="71" name="Rectangle 70"/>
          <p:cNvSpPr>
            <a:spLocks/>
          </p:cNvSpPr>
          <p:nvPr>
            <p:custDataLst>
              <p:tags r:id="rId13"/>
            </p:custDataLst>
          </p:nvPr>
        </p:nvSpPr>
        <p:spPr>
          <a:xfrm>
            <a:off x="5842023" y="4106571"/>
            <a:ext cx="906289" cy="873105"/>
          </a:xfrm>
          <a:prstGeom prst="rect">
            <a:avLst/>
          </a:prstGeom>
          <a:solidFill>
            <a:srgbClr val="00B294"/>
          </a:solidFill>
          <a:ln w="25400" cap="flat" cmpd="sng" algn="ctr">
            <a:noFill/>
            <a:prstDash val="solid"/>
          </a:ln>
          <a:effectLst/>
        </p:spPr>
        <p:txBody>
          <a:bodyPr lIns="32611" tIns="33265" rIns="48905" bIns="33265" rtlCol="0" anchor="b"/>
          <a:lstStyle/>
          <a:p>
            <a:pPr algn="ctr" defTabSz="664698">
              <a:lnSpc>
                <a:spcPct val="90000"/>
              </a:lnSpc>
              <a:defRPr/>
            </a:pPr>
            <a:r>
              <a:rPr lang="ru-RU" sz="800" kern="0" dirty="0" err="1">
                <a:solidFill>
                  <a:srgbClr val="FFFFFF"/>
                </a:solidFill>
                <a:ea typeface="Segoe UI" pitchFamily="34" charset="0"/>
                <a:cs typeface="Segoe UI" pitchFamily="34" charset="0"/>
              </a:rPr>
              <a:t>Энерго</a:t>
            </a:r>
            <a:r>
              <a:rPr lang="ru-RU" sz="800" kern="0" dirty="0">
                <a:solidFill>
                  <a:srgbClr val="FFFFFF"/>
                </a:solidFill>
                <a:ea typeface="Segoe UI" pitchFamily="34" charset="0"/>
                <a:cs typeface="Segoe UI" pitchFamily="34" charset="0"/>
              </a:rPr>
              <a:t>- и водо-снабжение</a:t>
            </a:r>
            <a:endParaRPr lang="en-US" sz="800" kern="0" dirty="0">
              <a:solidFill>
                <a:srgbClr val="FFFFFF"/>
              </a:solidFill>
              <a:ea typeface="Segoe UI" pitchFamily="34" charset="0"/>
              <a:cs typeface="Segoe UI" pitchFamily="34" charset="0"/>
            </a:endParaRPr>
          </a:p>
        </p:txBody>
      </p:sp>
      <p:pic>
        <p:nvPicPr>
          <p:cNvPr id="72" name="Picture 71"/>
          <p:cNvPicPr>
            <a:picLocks noChangeAspect="1"/>
          </p:cNvPicPr>
          <p:nvPr/>
        </p:nvPicPr>
        <p:blipFill>
          <a:blip r:embed="rId30"/>
          <a:stretch>
            <a:fillRect/>
          </a:stretch>
        </p:blipFill>
        <p:spPr>
          <a:xfrm>
            <a:off x="6116287" y="4237608"/>
            <a:ext cx="344087" cy="344087"/>
          </a:xfrm>
          <a:prstGeom prst="rect">
            <a:avLst/>
          </a:prstGeom>
        </p:spPr>
      </p:pic>
      <p:sp>
        <p:nvSpPr>
          <p:cNvPr id="73" name="Rectangle 72"/>
          <p:cNvSpPr>
            <a:spLocks/>
          </p:cNvSpPr>
          <p:nvPr>
            <p:custDataLst>
              <p:tags r:id="rId14"/>
            </p:custDataLst>
          </p:nvPr>
        </p:nvSpPr>
        <p:spPr>
          <a:xfrm>
            <a:off x="5842023" y="5026712"/>
            <a:ext cx="927815" cy="783240"/>
          </a:xfrm>
          <a:prstGeom prst="rect">
            <a:avLst/>
          </a:prstGeom>
          <a:solidFill>
            <a:srgbClr val="00B294"/>
          </a:solidFill>
          <a:ln w="25400" cap="flat" cmpd="sng" algn="ctr">
            <a:noFill/>
            <a:prstDash val="solid"/>
          </a:ln>
          <a:effectLst/>
        </p:spPr>
        <p:txBody>
          <a:bodyPr lIns="31978" rIns="47952" rtlCol="0" anchor="b"/>
          <a:lstStyle/>
          <a:p>
            <a:pPr algn="ctr" defTabSz="664698">
              <a:lnSpc>
                <a:spcPct val="90000"/>
              </a:lnSpc>
              <a:defRPr/>
            </a:pPr>
            <a:r>
              <a:rPr lang="ru-RU" sz="800" kern="0" dirty="0">
                <a:solidFill>
                  <a:srgbClr val="FFFFFF"/>
                </a:solidFill>
                <a:ea typeface="Segoe UI" pitchFamily="34" charset="0"/>
                <a:cs typeface="Segoe UI" pitchFamily="34" charset="0"/>
              </a:rPr>
              <a:t>Здания, гор. инфраструктура, планирование</a:t>
            </a:r>
            <a:endParaRPr lang="en-US" sz="800" kern="0" dirty="0">
              <a:solidFill>
                <a:srgbClr val="FFFFFF"/>
              </a:solidFill>
              <a:ea typeface="Segoe UI" pitchFamily="34" charset="0"/>
              <a:cs typeface="Segoe UI" pitchFamily="34" charset="0"/>
            </a:endParaRPr>
          </a:p>
        </p:txBody>
      </p:sp>
      <p:pic>
        <p:nvPicPr>
          <p:cNvPr id="74" name="Picture 36" descr="C:\Users\sakuu\Documents\Ballmer WPC\AI\work.png"/>
          <p:cNvPicPr>
            <a:picLocks noChangeAspect="1" noChangeArrowheads="1"/>
          </p:cNvPicPr>
          <p:nvPr/>
        </p:nvPicPr>
        <p:blipFill>
          <a:blip r:embed="rId31" cstate="email">
            <a:extLst>
              <a:ext uri="{BEBA8EAE-BF5A-486C-A8C5-ECC9F3942E4B}">
                <a14:imgProps xmlns:a14="http://schemas.microsoft.com/office/drawing/2010/main">
                  <a14:imgLayer r:embed="rId32">
                    <a14:imgEffect>
                      <a14:brightnessContrast bright="100000"/>
                    </a14:imgEffect>
                  </a14:imgLayer>
                </a14:imgProps>
              </a:ext>
              <a:ext uri="{28A0092B-C50C-407E-A947-70E740481C1C}">
                <a14:useLocalDpi xmlns:a14="http://schemas.microsoft.com/office/drawing/2010/main"/>
              </a:ext>
            </a:extLst>
          </a:blip>
          <a:srcRect/>
          <a:stretch>
            <a:fillRect/>
          </a:stretch>
        </p:blipFill>
        <p:spPr bwMode="black">
          <a:xfrm>
            <a:off x="6176706" y="5077026"/>
            <a:ext cx="205365" cy="3054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9851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Placeholder 29"/>
          <p:cNvPicPr>
            <a:picLocks noGrp="1" noChangeAspect="1"/>
          </p:cNvPicPr>
          <p:nvPr>
            <p:ph type="pic" sz="quarter" idx="22"/>
          </p:nvPr>
        </p:nvPicPr>
        <p:blipFill rotWithShape="1">
          <a:blip r:embed="rId3" cstate="print">
            <a:extLst>
              <a:ext uri="{28A0092B-C50C-407E-A947-70E740481C1C}">
                <a14:useLocalDpi xmlns:a14="http://schemas.microsoft.com/office/drawing/2010/main" val="0"/>
              </a:ext>
            </a:extLst>
          </a:blip>
          <a:srcRect l="28497" t="23515" r="18588" b="-396"/>
          <a:stretch/>
        </p:blipFill>
        <p:spPr/>
      </p:pic>
      <p:sp>
        <p:nvSpPr>
          <p:cNvPr id="2" name="Title 1"/>
          <p:cNvSpPr>
            <a:spLocks noGrp="1"/>
          </p:cNvSpPr>
          <p:nvPr>
            <p:ph type="title"/>
          </p:nvPr>
        </p:nvSpPr>
        <p:spPr/>
        <p:txBody>
          <a:bodyPr/>
          <a:lstStyle/>
          <a:p>
            <a:r>
              <a:rPr lang="ru-RU" dirty="0"/>
              <a:t>Хельсинки</a:t>
            </a:r>
            <a:endParaRPr lang="en-US" dirty="0"/>
          </a:p>
        </p:txBody>
      </p:sp>
      <p:sp>
        <p:nvSpPr>
          <p:cNvPr id="3" name="Text Placeholder 2"/>
          <p:cNvSpPr>
            <a:spLocks noGrp="1"/>
          </p:cNvSpPr>
          <p:nvPr>
            <p:ph type="body" sz="quarter" idx="12"/>
          </p:nvPr>
        </p:nvSpPr>
        <p:spPr/>
        <p:txBody>
          <a:bodyPr/>
          <a:lstStyle/>
          <a:p>
            <a:r>
              <a:rPr lang="ru-RU" dirty="0"/>
              <a:t>Эффективная транспортная система</a:t>
            </a:r>
            <a:endParaRPr lang="en-US" dirty="0"/>
          </a:p>
        </p:txBody>
      </p:sp>
      <p:sp>
        <p:nvSpPr>
          <p:cNvPr id="4" name="Text Placeholder 3"/>
          <p:cNvSpPr>
            <a:spLocks noGrp="1"/>
          </p:cNvSpPr>
          <p:nvPr>
            <p:ph type="body" sz="quarter" idx="16"/>
          </p:nvPr>
        </p:nvSpPr>
        <p:spPr>
          <a:xfrm>
            <a:off x="4035023" y="2948681"/>
            <a:ext cx="2085974" cy="1263278"/>
          </a:xfrm>
        </p:spPr>
        <p:txBody>
          <a:bodyPr/>
          <a:lstStyle/>
          <a:p>
            <a:pPr marL="0" indent="0">
              <a:buNone/>
            </a:pPr>
            <a:r>
              <a:rPr lang="ru-RU" dirty="0"/>
              <a:t>Городская автобусная компания</a:t>
            </a:r>
            <a:r>
              <a:rPr lang="en-US" dirty="0"/>
              <a:t> </a:t>
            </a:r>
            <a:r>
              <a:rPr lang="en-US" dirty="0" err="1"/>
              <a:t>Helsingin</a:t>
            </a:r>
            <a:r>
              <a:rPr lang="en-US" dirty="0"/>
              <a:t> </a:t>
            </a:r>
            <a:r>
              <a:rPr lang="en-US" dirty="0" err="1"/>
              <a:t>Bussiliikenne</a:t>
            </a:r>
            <a:r>
              <a:rPr lang="en-US" dirty="0"/>
              <a:t> </a:t>
            </a:r>
            <a:r>
              <a:rPr lang="en-US" dirty="0" err="1"/>
              <a:t>Oy</a:t>
            </a:r>
            <a:r>
              <a:rPr lang="en-US" dirty="0"/>
              <a:t> (</a:t>
            </a:r>
            <a:r>
              <a:rPr lang="en-US" dirty="0" err="1"/>
              <a:t>HelB</a:t>
            </a:r>
            <a:r>
              <a:rPr lang="en-US" dirty="0"/>
              <a:t>) </a:t>
            </a:r>
            <a:r>
              <a:rPr lang="ru-RU" dirty="0"/>
              <a:t>должна оставаться конкурентоспособной</a:t>
            </a:r>
            <a:endParaRPr lang="en-US" dirty="0"/>
          </a:p>
        </p:txBody>
      </p:sp>
      <p:sp>
        <p:nvSpPr>
          <p:cNvPr id="5" name="Text Placeholder 4"/>
          <p:cNvSpPr>
            <a:spLocks noGrp="1"/>
          </p:cNvSpPr>
          <p:nvPr>
            <p:ph type="body" sz="quarter" idx="17"/>
          </p:nvPr>
        </p:nvSpPr>
        <p:spPr>
          <a:xfrm>
            <a:off x="6445796" y="2834643"/>
            <a:ext cx="2335212" cy="1579418"/>
          </a:xfrm>
        </p:spPr>
        <p:txBody>
          <a:bodyPr/>
          <a:lstStyle/>
          <a:p>
            <a:r>
              <a:rPr lang="en-US" dirty="0"/>
              <a:t>CGI - </a:t>
            </a:r>
            <a:r>
              <a:rPr lang="ru-RU" dirty="0"/>
              <a:t>партнер</a:t>
            </a:r>
            <a:r>
              <a:rPr lang="en-US" dirty="0"/>
              <a:t> Microsoft</a:t>
            </a:r>
            <a:r>
              <a:rPr lang="ru-RU" dirty="0"/>
              <a:t> –</a:t>
            </a:r>
            <a:r>
              <a:rPr lang="en-US" dirty="0"/>
              <a:t> </a:t>
            </a:r>
            <a:r>
              <a:rPr lang="ru-RU" dirty="0"/>
              <a:t>расширил возможности хранилища данных</a:t>
            </a:r>
            <a:r>
              <a:rPr lang="en-US" dirty="0"/>
              <a:t> </a:t>
            </a:r>
          </a:p>
          <a:p>
            <a:r>
              <a:rPr lang="ru-RU" dirty="0"/>
              <a:t>Функционал сбора, хранения и анализа данных от датчиков автобусов</a:t>
            </a:r>
            <a:endParaRPr lang="en-US" dirty="0"/>
          </a:p>
        </p:txBody>
      </p:sp>
      <p:sp>
        <p:nvSpPr>
          <p:cNvPr id="7" name="Text Placeholder 32"/>
          <p:cNvSpPr txBox="1">
            <a:spLocks/>
          </p:cNvSpPr>
          <p:nvPr/>
        </p:nvSpPr>
        <p:spPr>
          <a:xfrm>
            <a:off x="4352925" y="5362575"/>
            <a:ext cx="7839075" cy="931863"/>
          </a:xfrm>
          <a:prstGeom prst="rect">
            <a:avLst/>
          </a:prstGeom>
        </p:spPr>
        <p:txBody>
          <a:bodyPr/>
          <a:lstStyle>
            <a:lvl1pPr marL="0" indent="0" algn="l" defTabSz="896214" rtl="0" eaLnBrk="1" latinLnBrk="0" hangingPunct="1">
              <a:spcBef>
                <a:spcPct val="20000"/>
              </a:spcBef>
              <a:buFontTx/>
              <a:buNone/>
              <a:defRPr lang="en-US" sz="1400" i="1" kern="1200" dirty="0" smtClean="0">
                <a:solidFill>
                  <a:srgbClr val="505050"/>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lang="en-US" sz="2800" kern="1200" dirty="0" smtClean="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lang="en-US" sz="2500" kern="1200" dirty="0" smtClean="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lang="en-US" sz="1800" kern="1200" dirty="0" smtClean="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lang="en-US" sz="1800" kern="1200" dirty="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214" rtl="0" eaLnBrk="1" fontAlgn="auto" latinLnBrk="0" hangingPunct="1">
              <a:lnSpc>
                <a:spcPct val="100000"/>
              </a:lnSpc>
              <a:spcBef>
                <a:spcPct val="20000"/>
              </a:spcBef>
              <a:spcAft>
                <a:spcPts val="0"/>
              </a:spcAft>
              <a:buClrTx/>
              <a:buSzTx/>
              <a:buFontTx/>
              <a:buNone/>
              <a:tabLst/>
              <a:defRPr/>
            </a:pPr>
            <a:r>
              <a:rPr kumimoji="0" lang="en-US" sz="1400" b="0" i="1"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t>
            </a:r>
            <a:r>
              <a:rPr kumimoji="0" lang="ru-RU"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Использование технологий</a:t>
            </a:r>
            <a:r>
              <a:rPr kumimoji="0" lang="en-US" sz="1400" b="0" i="1"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en-US"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Microsoft </a:t>
            </a:r>
            <a:r>
              <a:rPr kumimoji="0" lang="ru-RU"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позволило на 5% сократить потребление горючего, повысить производительность труда водителей и увеличить степень удовлетворенности пассажиров на </a:t>
            </a:r>
            <a:r>
              <a:rPr kumimoji="0" lang="en-US" sz="1400" b="0" i="1"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en-US"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7 </a:t>
            </a:r>
            <a:r>
              <a:rPr kumimoji="0" lang="ru-RU"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rPr>
              <a:t>%</a:t>
            </a:r>
            <a:r>
              <a:rPr kumimoji="0" lang="en-US" sz="1400" b="0" i="1"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a:t>
            </a:r>
            <a:endParaRPr kumimoji="0" lang="en-US"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endParaRPr>
          </a:p>
          <a:p>
            <a:pPr marL="0" marR="0" lvl="0" indent="0" algn="l" defTabSz="896214" rtl="0" eaLnBrk="1" fontAlgn="auto" latinLnBrk="0" hangingPunct="1">
              <a:lnSpc>
                <a:spcPct val="100000"/>
              </a:lnSpc>
              <a:spcBef>
                <a:spcPct val="20000"/>
              </a:spcBef>
              <a:spcAft>
                <a:spcPts val="0"/>
              </a:spcAft>
              <a:buClrTx/>
              <a:buSzTx/>
              <a:buFontTx/>
              <a:buNone/>
              <a:tabLst/>
              <a:defRPr/>
            </a:pPr>
            <a:endParaRPr kumimoji="0" lang="en-US" sz="1400" b="0" i="1" u="none" strike="noStrike" kern="1200" cap="none" spc="0" normalizeH="0" baseline="0" noProof="0">
              <a:ln>
                <a:noFill/>
              </a:ln>
              <a:solidFill>
                <a:srgbClr val="505050"/>
              </a:solidFill>
              <a:effectLst/>
              <a:uLnTx/>
              <a:uFillTx/>
              <a:latin typeface="Segoe UI" pitchFamily="34" charset="0"/>
              <a:ea typeface="Segoe UI" pitchFamily="34" charset="0"/>
              <a:cs typeface="Segoe UI" pitchFamily="34" charset="0"/>
            </a:endParaRPr>
          </a:p>
        </p:txBody>
      </p:sp>
      <p:sp>
        <p:nvSpPr>
          <p:cNvPr id="8" name="Text Placeholder 34"/>
          <p:cNvSpPr txBox="1">
            <a:spLocks/>
          </p:cNvSpPr>
          <p:nvPr/>
        </p:nvSpPr>
        <p:spPr>
          <a:xfrm>
            <a:off x="4352925" y="6294438"/>
            <a:ext cx="7839075" cy="268287"/>
          </a:xfrm>
          <a:prstGeom prst="rect">
            <a:avLst/>
          </a:prstGeom>
        </p:spPr>
        <p:txBody>
          <a:bodyPr/>
          <a:lstStyle>
            <a:lvl1pPr marL="0" indent="0" algn="r" defTabSz="896214" rtl="0" eaLnBrk="1" latinLnBrk="0" hangingPunct="1">
              <a:spcBef>
                <a:spcPct val="20000"/>
              </a:spcBef>
              <a:buFontTx/>
              <a:buNone/>
              <a:defRPr sz="1000" kern="1200">
                <a:solidFill>
                  <a:srgbClr val="505050"/>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r" defTabSz="896214" rtl="0" eaLnBrk="1" fontAlgn="auto" latinLnBrk="0" hangingPunct="1">
              <a:lnSpc>
                <a:spcPct val="100000"/>
              </a:lnSpc>
              <a:spcBef>
                <a:spcPct val="20000"/>
              </a:spcBef>
              <a:spcAft>
                <a:spcPts val="0"/>
              </a:spcAft>
              <a:buClrTx/>
              <a:buSzTx/>
              <a:buFontTx/>
              <a:buNone/>
              <a:tabLst/>
              <a:defRPr/>
            </a:pPr>
            <a:r>
              <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ru-RU"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Майкл Андерсон</a:t>
            </a:r>
            <a:r>
              <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ru-RU"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Технический Директор</a:t>
            </a:r>
            <a:r>
              <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en-US" sz="10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rPr>
              <a:t>Helsingin</a:t>
            </a:r>
            <a:r>
              <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r>
              <a:rPr kumimoji="0" lang="en-US" sz="1000" b="0" i="0" u="none" strike="noStrike" kern="1200" cap="none" spc="0" normalizeH="0" baseline="0" noProof="0" dirty="0" err="1">
                <a:ln>
                  <a:noFill/>
                </a:ln>
                <a:solidFill>
                  <a:srgbClr val="505050"/>
                </a:solidFill>
                <a:effectLst/>
                <a:uLnTx/>
                <a:uFillTx/>
                <a:latin typeface="Segoe UI" pitchFamily="34" charset="0"/>
                <a:ea typeface="Segoe UI" pitchFamily="34" charset="0"/>
                <a:cs typeface="Segoe UI" pitchFamily="34" charset="0"/>
              </a:rPr>
              <a:t>Bussiliikenne</a:t>
            </a:r>
            <a:r>
              <a:rPr kumimoji="0" lang="en-US" sz="1000" b="0" i="0" u="none" strike="noStrike" kern="1200" cap="none" spc="0" normalizeH="0" baseline="0" noProof="0" dirty="0">
                <a:ln>
                  <a:noFill/>
                </a:ln>
                <a:solidFill>
                  <a:srgbClr val="505050"/>
                </a:solidFill>
                <a:effectLst/>
                <a:uLnTx/>
                <a:uFillTx/>
                <a:latin typeface="Segoe UI" pitchFamily="34" charset="0"/>
                <a:ea typeface="Segoe UI" pitchFamily="34" charset="0"/>
                <a:cs typeface="Segoe UI" pitchFamily="34" charset="0"/>
              </a:rPr>
              <a:t> </a:t>
            </a:r>
          </a:p>
        </p:txBody>
      </p:sp>
      <p:sp>
        <p:nvSpPr>
          <p:cNvPr id="10" name="Rectangle 9"/>
          <p:cNvSpPr/>
          <p:nvPr/>
        </p:nvSpPr>
        <p:spPr bwMode="auto">
          <a:xfrm>
            <a:off x="1162303" y="5511430"/>
            <a:ext cx="736968" cy="736970"/>
          </a:xfrm>
          <a:prstGeom prst="rect">
            <a:avLst/>
          </a:prstGeom>
          <a:solidFill>
            <a:schemeClr val="bg2">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8" tIns="60944" rIns="24378" bIns="24378" numCol="1" spcCol="0" rtlCol="0" fromWordArt="0" anchor="b" anchorCtr="0" forceAA="0" compatLnSpc="1">
            <a:prstTxWarp prst="textNoShape">
              <a:avLst/>
            </a:prstTxWarp>
            <a:noAutofit/>
          </a:bodyPr>
          <a:lstStyle/>
          <a:p>
            <a:pPr marL="0" marR="0" lvl="0" indent="0" defTabSz="121821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w="0"/>
              <a:solidFill>
                <a:srgbClr val="002050"/>
              </a:solidFill>
              <a:effectLst>
                <a:outerShdw blurRad="38100" dist="19050" dir="2700000" algn="tl" rotWithShape="0">
                  <a:srgbClr val="002050">
                    <a:alpha val="40000"/>
                  </a:srgbClr>
                </a:outerShdw>
              </a:effectLst>
              <a:uLnTx/>
              <a:uFillTx/>
              <a:ea typeface="Segoe UI" pitchFamily="34" charset="0"/>
              <a:cs typeface="Segoe UI" pitchFamily="34" charset="0"/>
            </a:endParaRPr>
          </a:p>
        </p:txBody>
      </p:sp>
      <p:sp>
        <p:nvSpPr>
          <p:cNvPr id="11" name="Rectangle 10"/>
          <p:cNvSpPr/>
          <p:nvPr/>
        </p:nvSpPr>
        <p:spPr bwMode="auto">
          <a:xfrm>
            <a:off x="1966789" y="5511430"/>
            <a:ext cx="736968" cy="73697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8" tIns="60944" rIns="24378" bIns="24378" numCol="1" spcCol="0" rtlCol="0" fromWordArt="0" anchor="b" anchorCtr="0" forceAA="0" compatLnSpc="1">
            <a:prstTxWarp prst="textNoShape">
              <a:avLst/>
            </a:prstTxWarp>
            <a:noAutofit/>
          </a:bodyPr>
          <a:lstStyle/>
          <a:p>
            <a:pPr marL="0" marR="0" lvl="0" indent="0" defTabSz="121821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white"/>
              </a:solidFill>
              <a:effectLst/>
              <a:uLnTx/>
              <a:uFillTx/>
              <a:ea typeface="Segoe UI" pitchFamily="34" charset="0"/>
              <a:cs typeface="Segoe UI" pitchFamily="34" charset="0"/>
            </a:endParaRPr>
          </a:p>
        </p:txBody>
      </p:sp>
      <p:sp>
        <p:nvSpPr>
          <p:cNvPr id="12" name="Rectangle 11"/>
          <p:cNvSpPr/>
          <p:nvPr/>
        </p:nvSpPr>
        <p:spPr bwMode="auto">
          <a:xfrm>
            <a:off x="2771275" y="5511430"/>
            <a:ext cx="736968" cy="736970"/>
          </a:xfrm>
          <a:prstGeom prst="rect">
            <a:avLst/>
          </a:prstGeom>
          <a:solidFill>
            <a:schemeClr val="bg2">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4378" tIns="60944" rIns="24378" bIns="24378" numCol="1" spcCol="0" rtlCol="0" fromWordArt="0" anchor="b" anchorCtr="0" forceAA="0" compatLnSpc="1">
            <a:prstTxWarp prst="textNoShape">
              <a:avLst/>
            </a:prstTxWarp>
            <a:noAutofit/>
          </a:bodyPr>
          <a:lstStyle/>
          <a:p>
            <a:pPr marL="0" marR="0" lvl="0" indent="0" defTabSz="121821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a:noFill/>
              </a:ln>
              <a:solidFill>
                <a:prstClr val="white"/>
              </a:solidFill>
              <a:effectLst/>
              <a:uLnTx/>
              <a:uFillTx/>
              <a:ea typeface="Segoe UI" pitchFamily="34" charset="0"/>
              <a:cs typeface="Segoe UI" pitchFamily="34" charset="0"/>
            </a:endParaRPr>
          </a:p>
        </p:txBody>
      </p:sp>
      <p:sp>
        <p:nvSpPr>
          <p:cNvPr id="13" name="Rectangle 12"/>
          <p:cNvSpPr/>
          <p:nvPr/>
        </p:nvSpPr>
        <p:spPr bwMode="auto">
          <a:xfrm>
            <a:off x="357817" y="5511430"/>
            <a:ext cx="736968" cy="736970"/>
          </a:xfrm>
          <a:prstGeom prst="rect">
            <a:avLst/>
          </a:prstGeom>
          <a:solidFill>
            <a:schemeClr val="bg2">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60944" rIns="24378" bIns="24378" numCol="1" spcCol="0" rtlCol="0" fromWordArt="0" anchor="b" anchorCtr="0" forceAA="0" compatLnSpc="1">
            <a:prstTxWarp prst="textNoShape">
              <a:avLst/>
            </a:prstTxWarp>
            <a:noAutofit/>
          </a:bodyPr>
          <a:lstStyle/>
          <a:p>
            <a:pPr marL="0" marR="0" lvl="0" indent="0" defTabSz="1218210" eaLnBrk="1" fontAlgn="base" latinLnBrk="0" hangingPunct="1">
              <a:lnSpc>
                <a:spcPct val="100000"/>
              </a:lnSpc>
              <a:spcBef>
                <a:spcPct val="0"/>
              </a:spcBef>
              <a:spcAft>
                <a:spcPct val="0"/>
              </a:spcAft>
              <a:buClrTx/>
              <a:buSzTx/>
              <a:buFontTx/>
              <a:buNone/>
              <a:tabLst/>
              <a:defRPr/>
            </a:pPr>
            <a:endParaRPr kumimoji="0" lang="en-US" sz="800" b="0" i="0" u="none" strike="noStrike" kern="0" cap="none" spc="0" normalizeH="0" baseline="0" noProof="0" dirty="0">
              <a:ln w="0"/>
              <a:solidFill>
                <a:srgbClr val="002050"/>
              </a:solidFill>
              <a:effectLst>
                <a:outerShdw blurRad="38100" dist="19050" dir="2700000" algn="tl" rotWithShape="0">
                  <a:srgbClr val="002050">
                    <a:alpha val="40000"/>
                  </a:srgbClr>
                </a:outerShdw>
              </a:effectLst>
              <a:uLnTx/>
              <a:uFillTx/>
              <a:ea typeface="Segoe UI" pitchFamily="34" charset="0"/>
              <a:cs typeface="Segoe UI" pitchFamily="34" charset="0"/>
            </a:endParaRPr>
          </a:p>
        </p:txBody>
      </p:sp>
      <p:sp>
        <p:nvSpPr>
          <p:cNvPr id="14" name="Chevron 25"/>
          <p:cNvSpPr/>
          <p:nvPr/>
        </p:nvSpPr>
        <p:spPr>
          <a:xfrm>
            <a:off x="8781008" y="1993407"/>
            <a:ext cx="3352801" cy="2468880"/>
          </a:xfrm>
          <a:custGeom>
            <a:avLst/>
            <a:gdLst>
              <a:gd name="connsiteX0" fmla="*/ 0 w 3733800"/>
              <a:gd name="connsiteY0" fmla="*/ 0 h 2468880"/>
              <a:gd name="connsiteX1" fmla="*/ 3515353 w 3733800"/>
              <a:gd name="connsiteY1" fmla="*/ 0 h 2468880"/>
              <a:gd name="connsiteX2" fmla="*/ 3733800 w 3733800"/>
              <a:gd name="connsiteY2" fmla="*/ 1234440 h 2468880"/>
              <a:gd name="connsiteX3" fmla="*/ 3515353 w 3733800"/>
              <a:gd name="connsiteY3" fmla="*/ 2468880 h 2468880"/>
              <a:gd name="connsiteX4" fmla="*/ 0 w 3733800"/>
              <a:gd name="connsiteY4" fmla="*/ 2468880 h 2468880"/>
              <a:gd name="connsiteX5" fmla="*/ 218447 w 3733800"/>
              <a:gd name="connsiteY5" fmla="*/ 1234440 h 2468880"/>
              <a:gd name="connsiteX6" fmla="*/ 0 w 3733800"/>
              <a:gd name="connsiteY6" fmla="*/ 0 h 2468880"/>
              <a:gd name="connsiteX0" fmla="*/ 0 w 3515353"/>
              <a:gd name="connsiteY0" fmla="*/ 0 h 2468880"/>
              <a:gd name="connsiteX1" fmla="*/ 3515353 w 3515353"/>
              <a:gd name="connsiteY1" fmla="*/ 0 h 2468880"/>
              <a:gd name="connsiteX2" fmla="*/ 3515353 w 3515353"/>
              <a:gd name="connsiteY2" fmla="*/ 2468880 h 2468880"/>
              <a:gd name="connsiteX3" fmla="*/ 0 w 3515353"/>
              <a:gd name="connsiteY3" fmla="*/ 2468880 h 2468880"/>
              <a:gd name="connsiteX4" fmla="*/ 218447 w 3515353"/>
              <a:gd name="connsiteY4" fmla="*/ 1234440 h 2468880"/>
              <a:gd name="connsiteX5" fmla="*/ 0 w 3515353"/>
              <a:gd name="connsiteY5" fmla="*/ 0 h 24688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5353" h="2468880">
                <a:moveTo>
                  <a:pt x="0" y="0"/>
                </a:moveTo>
                <a:lnTo>
                  <a:pt x="3515353" y="0"/>
                </a:lnTo>
                <a:lnTo>
                  <a:pt x="3515353" y="2468880"/>
                </a:lnTo>
                <a:lnTo>
                  <a:pt x="0" y="2468880"/>
                </a:lnTo>
                <a:lnTo>
                  <a:pt x="218447" y="1234440"/>
                </a:lnTo>
                <a:lnTo>
                  <a:pt x="0" y="0"/>
                </a:ln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365760" tIns="137160" rIns="137160" bIns="137160" rtlCol="0" anchor="t"/>
          <a:lstStyle/>
          <a:p>
            <a:pPr marL="0" marR="0" lvl="0" indent="0" defTabSz="1088105" eaLnBrk="1" fontAlgn="base" latinLnBrk="0" hangingPunct="1">
              <a:lnSpc>
                <a:spcPct val="100000"/>
              </a:lnSpc>
              <a:spcBef>
                <a:spcPct val="0"/>
              </a:spcBef>
              <a:spcAft>
                <a:spcPts val="300"/>
              </a:spcAft>
              <a:buClr>
                <a:prstClr val="white"/>
              </a:buClr>
              <a:buSzPct val="100000"/>
              <a:buFontTx/>
              <a:buNone/>
              <a:tabLst/>
              <a:defRPr/>
            </a:pPr>
            <a:endParaRPr kumimoji="0" lang="en-US" sz="1400" b="0" i="0" u="none" strike="noStrike" kern="0" cap="none" spc="0" normalizeH="0" baseline="0" noProof="0" dirty="0">
              <a:ln>
                <a:noFill/>
              </a:ln>
              <a:solidFill>
                <a:prstClr val="white"/>
              </a:solidFill>
              <a:effectLst/>
              <a:uLnTx/>
              <a:uFillTx/>
              <a:ea typeface="Segoe UI" pitchFamily="34" charset="0"/>
              <a:cs typeface="Segoe UI" pitchFamily="34" charset="0"/>
            </a:endParaRPr>
          </a:p>
        </p:txBody>
      </p:sp>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18005" y="5641798"/>
            <a:ext cx="610592" cy="472770"/>
          </a:xfrm>
          <a:prstGeom prst="rect">
            <a:avLst/>
          </a:prstGeom>
        </p:spPr>
      </p:pic>
      <p:pic>
        <p:nvPicPr>
          <p:cNvPr id="16" name="Picture 1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046128" y="5673363"/>
            <a:ext cx="572567" cy="338427"/>
          </a:xfrm>
          <a:prstGeom prst="rect">
            <a:avLst/>
          </a:prstGeom>
        </p:spPr>
      </p:pic>
      <p:pic>
        <p:nvPicPr>
          <p:cNvPr id="17" name="Picture 1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10616" y="5683900"/>
            <a:ext cx="458283" cy="332664"/>
          </a:xfrm>
          <a:prstGeom prst="rect">
            <a:avLst/>
          </a:prstGeom>
        </p:spPr>
      </p:pic>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49511" y="5641799"/>
            <a:ext cx="345192" cy="427707"/>
          </a:xfrm>
          <a:prstGeom prst="rect">
            <a:avLst/>
          </a:prstGeom>
        </p:spPr>
      </p:pic>
      <p:sp>
        <p:nvSpPr>
          <p:cNvPr id="19" name="Text Placeholder 16"/>
          <p:cNvSpPr txBox="1">
            <a:spLocks/>
          </p:cNvSpPr>
          <p:nvPr/>
        </p:nvSpPr>
        <p:spPr>
          <a:xfrm>
            <a:off x="9119650" y="1981200"/>
            <a:ext cx="2796125" cy="495300"/>
          </a:xfrm>
          <a:prstGeom prst="rect">
            <a:avLst/>
          </a:prstGeom>
        </p:spPr>
        <p:txBody>
          <a:bodyPr/>
          <a:lstStyle>
            <a:lvl1pPr marL="0" indent="0" algn="l" defTabSz="896214" rtl="0" eaLnBrk="1" latinLnBrk="0" hangingPunct="1">
              <a:spcBef>
                <a:spcPct val="20000"/>
              </a:spcBef>
              <a:buFontTx/>
              <a:buNone/>
              <a:defRPr sz="3000" kern="1200">
                <a:solidFill>
                  <a:schemeClr val="bg2"/>
                </a:solidFill>
                <a:latin typeface="Segoe UI Light" panose="020B0502040204020203"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896214" rtl="0" eaLnBrk="1" fontAlgn="auto" latinLnBrk="0" hangingPunct="1">
              <a:lnSpc>
                <a:spcPct val="100000"/>
              </a:lnSpc>
              <a:spcBef>
                <a:spcPct val="20000"/>
              </a:spcBef>
              <a:spcAft>
                <a:spcPts val="0"/>
              </a:spcAft>
              <a:buClrTx/>
              <a:buSzTx/>
              <a:buFontTx/>
              <a:buNone/>
              <a:tabLst/>
              <a:defRPr/>
            </a:pPr>
            <a:r>
              <a:rPr kumimoji="0" lang="en-US" sz="3000" b="0" i="0" u="none" strike="noStrike" kern="1200" cap="none" spc="0" normalizeH="0" baseline="0" noProof="0" dirty="0">
                <a:ln>
                  <a:noFill/>
                </a:ln>
                <a:solidFill>
                  <a:srgbClr val="FFFFFF"/>
                </a:solidFill>
                <a:effectLst/>
                <a:uLnTx/>
                <a:uFillTx/>
                <a:latin typeface="Segoe UI Light" panose="020B0502040204020203" pitchFamily="34" charset="0"/>
                <a:ea typeface="Segoe UI" pitchFamily="34" charset="0"/>
                <a:cs typeface="Segoe UI" pitchFamily="34" charset="0"/>
              </a:rPr>
              <a:t>Results</a:t>
            </a:r>
          </a:p>
        </p:txBody>
      </p:sp>
      <p:sp>
        <p:nvSpPr>
          <p:cNvPr id="20" name="Text Placeholder 20"/>
          <p:cNvSpPr txBox="1">
            <a:spLocks/>
          </p:cNvSpPr>
          <p:nvPr/>
        </p:nvSpPr>
        <p:spPr>
          <a:xfrm>
            <a:off x="9081791" y="2784764"/>
            <a:ext cx="3052018" cy="1895476"/>
          </a:xfrm>
          <a:prstGeom prst="rect">
            <a:avLst/>
          </a:prstGeom>
        </p:spPr>
        <p:txBody>
          <a:bodyPr lIns="0"/>
          <a:lstStyle>
            <a:lvl1pPr marL="182880" indent="-182880" algn="l" defTabSz="896214" rtl="0" eaLnBrk="1" latinLnBrk="0" hangingPunct="1">
              <a:spcBef>
                <a:spcPct val="20000"/>
              </a:spcBef>
              <a:buFont typeface="Arial" panose="020B0604020202020204" pitchFamily="34" charset="0"/>
              <a:buChar char="•"/>
              <a:defRPr sz="1300" kern="1200" baseline="0">
                <a:solidFill>
                  <a:schemeClr val="bg2"/>
                </a:solidFill>
                <a:latin typeface="Segoe UI" pitchFamily="34" charset="0"/>
                <a:ea typeface="Segoe UI" pitchFamily="34" charset="0"/>
                <a:cs typeface="Segoe UI" pitchFamily="34" charset="0"/>
              </a:defRPr>
            </a:lvl1pPr>
            <a:lvl2pPr marL="962457" indent="-514350" algn="l" defTabSz="896214" rtl="0" eaLnBrk="1" latinLnBrk="0" hangingPunct="1">
              <a:spcBef>
                <a:spcPct val="20000"/>
              </a:spcBef>
              <a:buFont typeface="+mj-lt"/>
              <a:buAutoNum type="arabicPeriod"/>
              <a:defRPr sz="2800" kern="1200">
                <a:solidFill>
                  <a:schemeClr val="bg2"/>
                </a:solidFill>
                <a:latin typeface="Segoe UI" pitchFamily="34" charset="0"/>
                <a:ea typeface="Segoe UI" pitchFamily="34" charset="0"/>
                <a:cs typeface="Segoe UI" pitchFamily="34" charset="0"/>
              </a:defRPr>
            </a:lvl2pPr>
            <a:lvl3pPr marL="1120268" indent="-224054" algn="l" defTabSz="896214" rtl="0" eaLnBrk="1" latinLnBrk="0" hangingPunct="1">
              <a:spcBef>
                <a:spcPct val="20000"/>
              </a:spcBef>
              <a:buFont typeface="Arial" pitchFamily="34" charset="0"/>
              <a:buChar char="•"/>
              <a:defRPr sz="2500" kern="1200">
                <a:solidFill>
                  <a:schemeClr val="bg2"/>
                </a:solidFill>
                <a:latin typeface="Segoe UI" pitchFamily="34" charset="0"/>
                <a:ea typeface="Segoe UI" pitchFamily="34" charset="0"/>
                <a:cs typeface="Segoe UI" pitchFamily="34" charset="0"/>
              </a:defRPr>
            </a:lvl3pPr>
            <a:lvl4pPr marL="1568375"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4pPr>
            <a:lvl5pPr marL="2016482" indent="-224054" algn="l" defTabSz="896214" rtl="0" eaLnBrk="1" latinLnBrk="0" hangingPunct="1">
              <a:spcBef>
                <a:spcPct val="20000"/>
              </a:spcBef>
              <a:buFont typeface="Arial" pitchFamily="34" charset="0"/>
              <a:buChar char="»"/>
              <a:defRPr sz="1800" kern="1200">
                <a:solidFill>
                  <a:schemeClr val="bg2"/>
                </a:solidFill>
                <a:latin typeface="Segoe UI" pitchFamily="34" charset="0"/>
                <a:ea typeface="Segoe UI" pitchFamily="34" charset="0"/>
                <a:cs typeface="Segoe UI" pitchFamily="34" charset="0"/>
              </a:defRPr>
            </a:lvl5pPr>
            <a:lvl6pPr marL="2464589"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697"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804"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911" indent="-224054" algn="l" defTabSz="896214"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182880" marR="0" lvl="0" indent="-182880" algn="l" defTabSz="89621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rPr>
              <a:t>Уменьшение потребления горючего на</a:t>
            </a:r>
            <a:r>
              <a:rPr kumimoji="0" lang="en-US"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rPr>
              <a:t> 5%</a:t>
            </a:r>
          </a:p>
          <a:p>
            <a:pPr marL="182880" marR="0" lvl="0" indent="-182880" algn="l" defTabSz="89621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rPr>
              <a:t>Улучшенная производительность водителей</a:t>
            </a:r>
            <a:endParaRPr kumimoji="0" lang="en-US"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a:p>
            <a:pPr marL="182880" marR="0" lvl="0" indent="-182880" algn="l" defTabSz="89621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ru-RU"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rPr>
              <a:t>Более эффективные маршруты</a:t>
            </a:r>
            <a:endParaRPr kumimoji="0" lang="en-US"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a:p>
            <a:pPr marL="182880" marR="0" lvl="0" indent="-182880" algn="l" defTabSz="896214"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rPr>
              <a:t>7% </a:t>
            </a:r>
            <a:r>
              <a:rPr kumimoji="0" lang="ru-RU"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rPr>
              <a:t>- улучшение удовлетворённости пассажиров</a:t>
            </a:r>
            <a:endParaRPr kumimoji="0" lang="en-US" sz="1300" b="0" i="0" u="none" strike="noStrike" kern="1200" cap="none" spc="0" normalizeH="0" baseline="0" noProof="0" dirty="0">
              <a:ln>
                <a:noFill/>
              </a:ln>
              <a:solidFill>
                <a:srgbClr val="FFFFFF"/>
              </a:solidFill>
              <a:effectLst/>
              <a:uLnTx/>
              <a:uFillTx/>
              <a:latin typeface="Segoe UI" pitchFamily="34" charset="0"/>
              <a:ea typeface="Segoe UI" pitchFamily="34" charset="0"/>
              <a:cs typeface="Segoe UI" pitchFamily="34" charset="0"/>
            </a:endParaRPr>
          </a:p>
        </p:txBody>
      </p:sp>
      <p:sp>
        <p:nvSpPr>
          <p:cNvPr id="25" name="Pentagon 24"/>
          <p:cNvSpPr/>
          <p:nvPr/>
        </p:nvSpPr>
        <p:spPr>
          <a:xfrm>
            <a:off x="0" y="2893695"/>
            <a:ext cx="2046128" cy="643889"/>
          </a:xfrm>
          <a:prstGeom prst="homePlate">
            <a:avLst>
              <a:gd name="adj" fmla="val 21053"/>
            </a:avLst>
          </a:prstGeom>
          <a:solidFill>
            <a:schemeClr val="tx1">
              <a:alpha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73736" rIns="9144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1800" b="0" i="0" u="none" strike="noStrike" kern="0" cap="none" spc="0" normalizeH="0" baseline="0" noProof="0" dirty="0">
                <a:ln>
                  <a:noFill/>
                </a:ln>
                <a:solidFill>
                  <a:srgbClr val="FFFFFF"/>
                </a:solidFill>
                <a:effectLst/>
                <a:uLnTx/>
                <a:uFillTx/>
                <a:latin typeface="Segoe UI Light"/>
              </a:rPr>
              <a:t>Трансформация</a:t>
            </a:r>
            <a:endParaRPr kumimoji="0" lang="en-US" sz="1800" b="0" i="0" u="none" strike="noStrike" kern="0" cap="none" spc="0" normalizeH="0" baseline="0" noProof="0" dirty="0">
              <a:ln>
                <a:noFill/>
              </a:ln>
              <a:solidFill>
                <a:srgbClr val="FFFFFF"/>
              </a:solidFill>
              <a:effectLst/>
              <a:uLnTx/>
              <a:uFillTx/>
              <a:latin typeface="Segoe UI Light"/>
            </a:endParaRPr>
          </a:p>
        </p:txBody>
      </p:sp>
      <p:sp>
        <p:nvSpPr>
          <p:cNvPr id="27" name="Text Placeholder 3"/>
          <p:cNvSpPr>
            <a:spLocks noGrp="1"/>
          </p:cNvSpPr>
          <p:nvPr>
            <p:ph type="body" sz="quarter" idx="23" hasCustomPrompt="1"/>
          </p:nvPr>
        </p:nvSpPr>
        <p:spPr>
          <a:xfrm>
            <a:off x="349616" y="1142999"/>
            <a:ext cx="10058400" cy="532103"/>
          </a:xfrm>
          <a:prstGeom prst="rect">
            <a:avLst/>
          </a:prstGeom>
        </p:spPr>
        <p:txBody>
          <a:bodyPr lIns="0" tIns="0" rIns="0" bIns="0">
            <a:noAutofit/>
          </a:bodyPr>
          <a:lstStyle>
            <a:lvl1pPr>
              <a:lnSpc>
                <a:spcPts val="2000"/>
              </a:lnSpc>
              <a:defRPr sz="1400">
                <a:solidFill>
                  <a:srgbClr val="505050"/>
                </a:solidFill>
                <a:latin typeface="+mj-lt"/>
              </a:defRPr>
            </a:lvl1pPr>
          </a:lstStyle>
          <a:p>
            <a:r>
              <a:rPr lang="ru-RU" dirty="0"/>
              <a:t>Городская автобусная компания Хельсинки использует технологию больших данных для экономии горючего и улучшения качества обслуживания</a:t>
            </a:r>
            <a:endParaRPr lang="en-US" dirty="0"/>
          </a:p>
        </p:txBody>
      </p:sp>
      <p:sp>
        <p:nvSpPr>
          <p:cNvPr id="28" name="TextBox 27"/>
          <p:cNvSpPr txBox="1"/>
          <p:nvPr/>
        </p:nvSpPr>
        <p:spPr>
          <a:xfrm>
            <a:off x="10355916" y="5414"/>
            <a:ext cx="1371601" cy="61261"/>
          </a:xfrm>
          <a:prstGeom prst="rect">
            <a:avLst/>
          </a:prstGeom>
          <a:solidFill>
            <a:schemeClr val="bg2">
              <a:alpha val="85000"/>
            </a:schemeClr>
          </a:solidFill>
        </p:spPr>
        <p:txBody>
          <a:bodyPr vert="horz" wrap="square" lIns="274320" tIns="182880" rIns="91440" bIns="4572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a:ln>
                  <a:noFill/>
                </a:ln>
                <a:solidFill>
                  <a:srgbClr val="FFFFFF">
                    <a:lumMod val="50000"/>
                  </a:srgbClr>
                </a:solidFill>
                <a:effectLst/>
                <a:uLnTx/>
                <a:uFillTx/>
                <a:latin typeface="Segoe UI Light"/>
              </a:rPr>
              <a:t>Microsoft Partner</a:t>
            </a:r>
          </a:p>
        </p:txBody>
      </p:sp>
      <p:pic>
        <p:nvPicPr>
          <p:cNvPr id="9" name="Picture 8"/>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349027" y="302526"/>
            <a:ext cx="1354140" cy="463258"/>
          </a:xfrm>
          <a:prstGeom prst="rect">
            <a:avLst/>
          </a:prstGeom>
        </p:spPr>
      </p:pic>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408016" y="807544"/>
            <a:ext cx="1216428" cy="505778"/>
          </a:xfrm>
          <a:prstGeom prst="rect">
            <a:avLst/>
          </a:prstGeom>
        </p:spPr>
      </p:pic>
      <p:sp>
        <p:nvSpPr>
          <p:cNvPr id="6" name="TextBox 5"/>
          <p:cNvSpPr txBox="1"/>
          <p:nvPr/>
        </p:nvSpPr>
        <p:spPr>
          <a:xfrm>
            <a:off x="4035023" y="2066055"/>
            <a:ext cx="1785191" cy="718709"/>
          </a:xfrm>
          <a:prstGeom prst="rect">
            <a:avLst/>
          </a:prstGeom>
          <a:solidFill>
            <a:schemeClr val="bg2"/>
          </a:solidFill>
        </p:spPr>
        <p:txBody>
          <a:bodyPr vert="horz" wrap="square" lIns="274320" tIns="182880" rIns="91440" bIns="4572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a:ln>
                  <a:noFill/>
                </a:ln>
                <a:solidFill>
                  <a:srgbClr val="002050"/>
                </a:solidFill>
                <a:effectLst/>
                <a:uLnTx/>
                <a:uFillTx/>
                <a:latin typeface="Segoe UI Light"/>
              </a:rPr>
              <a:t>Цель</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ru-RU" sz="2800" b="1" i="0" u="none" strike="noStrike" kern="0" cap="none" spc="0" normalizeH="0" baseline="0" noProof="0" dirty="0">
              <a:ln>
                <a:noFill/>
              </a:ln>
              <a:solidFill>
                <a:srgbClr val="002050"/>
              </a:solidFill>
              <a:effectLst/>
              <a:uLnTx/>
              <a:uFillTx/>
              <a:latin typeface="Segoe UI Light"/>
            </a:endParaRPr>
          </a:p>
        </p:txBody>
      </p:sp>
      <p:sp>
        <p:nvSpPr>
          <p:cNvPr id="26" name="TextBox 25"/>
          <p:cNvSpPr txBox="1"/>
          <p:nvPr/>
        </p:nvSpPr>
        <p:spPr>
          <a:xfrm>
            <a:off x="6445796" y="2068227"/>
            <a:ext cx="2082870" cy="718709"/>
          </a:xfrm>
          <a:prstGeom prst="rect">
            <a:avLst/>
          </a:prstGeom>
          <a:solidFill>
            <a:schemeClr val="bg2"/>
          </a:solidFill>
        </p:spPr>
        <p:txBody>
          <a:bodyPr vert="horz" wrap="square" lIns="274320" tIns="182880" rIns="91440" bIns="4572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a:ln>
                  <a:noFill/>
                </a:ln>
                <a:solidFill>
                  <a:srgbClr val="002050"/>
                </a:solidFill>
                <a:effectLst/>
                <a:uLnTx/>
                <a:uFillTx/>
                <a:latin typeface="Segoe UI Light"/>
              </a:rPr>
              <a:t>Стратегия</a:t>
            </a:r>
          </a:p>
        </p:txBody>
      </p:sp>
      <p:sp>
        <p:nvSpPr>
          <p:cNvPr id="29" name="TextBox 28"/>
          <p:cNvSpPr txBox="1"/>
          <p:nvPr/>
        </p:nvSpPr>
        <p:spPr>
          <a:xfrm>
            <a:off x="9215514" y="2043288"/>
            <a:ext cx="2311116" cy="718709"/>
          </a:xfrm>
          <a:prstGeom prst="rect">
            <a:avLst/>
          </a:prstGeom>
          <a:solidFill>
            <a:schemeClr val="bg2"/>
          </a:solidFill>
        </p:spPr>
        <p:txBody>
          <a:bodyPr vert="horz" wrap="square" lIns="274320" tIns="182880" rIns="91440" bIns="45720" rtlCol="0">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ru-RU" sz="2800" b="1" i="0" u="none" strike="noStrike" kern="0" cap="none" spc="0" normalizeH="0" baseline="0" noProof="0" dirty="0">
                <a:ln>
                  <a:noFill/>
                </a:ln>
                <a:solidFill>
                  <a:srgbClr val="002050"/>
                </a:solidFill>
                <a:effectLst/>
                <a:uLnTx/>
                <a:uFillTx/>
                <a:latin typeface="Segoe UI Light"/>
              </a:rPr>
              <a:t>Результат</a:t>
            </a:r>
          </a:p>
        </p:txBody>
      </p:sp>
    </p:spTree>
    <p:extLst>
      <p:ext uri="{BB962C8B-B14F-4D97-AF65-F5344CB8AC3E}">
        <p14:creationId xmlns:p14="http://schemas.microsoft.com/office/powerpoint/2010/main" val="1843634510"/>
      </p:ext>
    </p:extLst>
  </p:cSld>
  <p:clrMapOvr>
    <a:masterClrMapping/>
  </p:clrMapOvr>
  <p:transition spd="slow">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 Placeholder 16"/>
          <p:cNvSpPr>
            <a:spLocks noGrp="1"/>
          </p:cNvSpPr>
          <p:nvPr>
            <p:ph type="body" sz="quarter" idx="15"/>
          </p:nvPr>
        </p:nvSpPr>
        <p:spPr>
          <a:xfrm>
            <a:off x="4818690" y="3520444"/>
            <a:ext cx="2645875" cy="2103121"/>
          </a:xfrm>
          <a:noFill/>
        </p:spPr>
        <p:txBody>
          <a:bodyPr vert="horz" wrap="square" lIns="60934" tIns="0" rIns="60934" bIns="60934" rtlCol="0">
            <a:normAutofit fontScale="77500" lnSpcReduction="20000"/>
          </a:bodyPr>
          <a:lstStyle/>
          <a:p>
            <a:pPr>
              <a:lnSpc>
                <a:spcPct val="100000"/>
              </a:lnSpc>
              <a:spcBef>
                <a:spcPts val="0"/>
              </a:spcBef>
              <a:spcAft>
                <a:spcPts val="1200"/>
              </a:spcAft>
            </a:pPr>
            <a:r>
              <a:rPr lang="ru-RU" dirty="0"/>
              <a:t>Департамент транспорта Большого Манчестера</a:t>
            </a:r>
            <a:r>
              <a:rPr lang="en-US" dirty="0"/>
              <a:t> </a:t>
            </a:r>
            <a:r>
              <a:rPr lang="ru-RU" dirty="0"/>
              <a:t>сделал публичными свои данные и использовал</a:t>
            </a:r>
            <a:r>
              <a:rPr lang="en-US" dirty="0"/>
              <a:t> Windows Azure </a:t>
            </a:r>
            <a:r>
              <a:rPr lang="ru-RU" dirty="0"/>
              <a:t>для создания и хостинга платформы открытых данных реального времени</a:t>
            </a:r>
            <a:r>
              <a:rPr lang="en-US" dirty="0"/>
              <a:t>. </a:t>
            </a:r>
            <a:r>
              <a:rPr lang="ru-RU" dirty="0"/>
              <a:t>Третьи фирмы используют эту платформу для создания широкого спектра приложений, которые делают использование транспортной сети более легкой в использовании, а поездки боле приятными.</a:t>
            </a:r>
            <a:endParaRPr lang="en-US" dirty="0"/>
          </a:p>
          <a:p>
            <a:pPr>
              <a:lnSpc>
                <a:spcPct val="100000"/>
              </a:lnSpc>
              <a:spcBef>
                <a:spcPts val="0"/>
              </a:spcBef>
              <a:spcAft>
                <a:spcPts val="1200"/>
              </a:spcAft>
            </a:pPr>
            <a:endParaRPr lang="en-US" dirty="0"/>
          </a:p>
          <a:p>
            <a:pPr>
              <a:lnSpc>
                <a:spcPct val="100000"/>
              </a:lnSpc>
              <a:spcBef>
                <a:spcPts val="0"/>
              </a:spcBef>
              <a:spcAft>
                <a:spcPts val="1200"/>
              </a:spcAft>
            </a:pPr>
            <a:endParaRPr lang="en-US" dirty="0"/>
          </a:p>
          <a:p>
            <a:pPr>
              <a:lnSpc>
                <a:spcPct val="100000"/>
              </a:lnSpc>
              <a:spcBef>
                <a:spcPts val="0"/>
              </a:spcBef>
              <a:spcAft>
                <a:spcPts val="1200"/>
              </a:spcAft>
              <a:buFont typeface="Arial" pitchFamily="34" charset="0"/>
            </a:pPr>
            <a:endParaRPr lang="en-US" dirty="0"/>
          </a:p>
        </p:txBody>
      </p:sp>
      <p:sp>
        <p:nvSpPr>
          <p:cNvPr id="4" name="Title 3"/>
          <p:cNvSpPr>
            <a:spLocks noGrp="1"/>
          </p:cNvSpPr>
          <p:nvPr>
            <p:ph type="title"/>
          </p:nvPr>
        </p:nvSpPr>
        <p:spPr>
          <a:solidFill>
            <a:srgbClr val="8CC600"/>
          </a:solidFill>
        </p:spPr>
        <p:txBody>
          <a:bodyPr/>
          <a:lstStyle/>
          <a:p>
            <a:br>
              <a:rPr lang="en-US" sz="2000" dirty="0">
                <a:latin typeface="+mj-lt"/>
              </a:rPr>
            </a:br>
            <a:br>
              <a:rPr lang="en-US" sz="2000" dirty="0">
                <a:latin typeface="+mj-lt"/>
              </a:rPr>
            </a:br>
            <a:br>
              <a:rPr lang="en-US" sz="1200" dirty="0">
                <a:latin typeface="+mj-lt"/>
              </a:rPr>
            </a:br>
            <a:endParaRPr lang="en-US" sz="1600" dirty="0">
              <a:solidFill>
                <a:srgbClr val="FFFFFF"/>
              </a:solidFill>
            </a:endParaRPr>
          </a:p>
        </p:txBody>
      </p:sp>
      <p:sp>
        <p:nvSpPr>
          <p:cNvPr id="15" name="Text Placeholder 14"/>
          <p:cNvSpPr>
            <a:spLocks noGrp="1"/>
          </p:cNvSpPr>
          <p:nvPr>
            <p:ph type="body" sz="quarter" idx="13"/>
          </p:nvPr>
        </p:nvSpPr>
        <p:spPr>
          <a:xfrm>
            <a:off x="2018763" y="3566146"/>
            <a:ext cx="2645846" cy="2103121"/>
          </a:xfrm>
        </p:spPr>
        <p:txBody>
          <a:bodyPr>
            <a:normAutofit fontScale="92500" lnSpcReduction="10000"/>
          </a:bodyPr>
          <a:lstStyle/>
          <a:p>
            <a:pPr marL="0" indent="0">
              <a:lnSpc>
                <a:spcPct val="100000"/>
              </a:lnSpc>
              <a:spcBef>
                <a:spcPts val="0"/>
              </a:spcBef>
              <a:spcAft>
                <a:spcPts val="1200"/>
              </a:spcAft>
              <a:buNone/>
            </a:pPr>
            <a:r>
              <a:rPr lang="ru-RU" sz="1600" dirty="0"/>
              <a:t>Руководство Большого Манчестера хотело улучшить транспортные  услуги за счет создания мобильных приложений, которые пассажиры могли бы использовать, чтобы лучше планировать и реализовывать свои поездки</a:t>
            </a:r>
            <a:r>
              <a:rPr lang="en-US" sz="1600" dirty="0"/>
              <a:t>. </a:t>
            </a:r>
          </a:p>
        </p:txBody>
      </p:sp>
      <p:sp>
        <p:nvSpPr>
          <p:cNvPr id="18" name="Text Placeholder 17"/>
          <p:cNvSpPr>
            <a:spLocks noGrp="1"/>
          </p:cNvSpPr>
          <p:nvPr>
            <p:ph sz="quarter" idx="16"/>
          </p:nvPr>
        </p:nvSpPr>
        <p:spPr/>
        <p:txBody>
          <a:bodyPr>
            <a:normAutofit fontScale="92500" lnSpcReduction="10000"/>
          </a:bodyPr>
          <a:lstStyle/>
          <a:p>
            <a:r>
              <a:rPr lang="en-US" sz="1600" b="1" dirty="0">
                <a:solidFill>
                  <a:schemeClr val="tx1"/>
                </a:solidFill>
              </a:rPr>
              <a:t>100+ </a:t>
            </a:r>
            <a:r>
              <a:rPr lang="ru-RU" sz="1600" b="1" dirty="0">
                <a:solidFill>
                  <a:schemeClr val="tx1"/>
                </a:solidFill>
              </a:rPr>
              <a:t>приложений создано и находится в разработке</a:t>
            </a:r>
            <a:endParaRPr lang="en-US" sz="1600" b="1" dirty="0">
              <a:solidFill>
                <a:schemeClr val="tx1"/>
              </a:solidFill>
            </a:endParaRPr>
          </a:p>
          <a:p>
            <a:endParaRPr lang="en-US" sz="1600" b="1" dirty="0">
              <a:solidFill>
                <a:schemeClr val="tx1"/>
              </a:solidFill>
            </a:endParaRPr>
          </a:p>
          <a:p>
            <a:r>
              <a:rPr lang="ru-RU" sz="1600" b="1" dirty="0">
                <a:solidFill>
                  <a:schemeClr val="tx1"/>
                </a:solidFill>
              </a:rPr>
              <a:t>Более быстрый, легкий в использовании и удобный транспорт для жителей и гостей</a:t>
            </a:r>
            <a:endParaRPr lang="en-US" sz="1600" b="1" dirty="0">
              <a:solidFill>
                <a:schemeClr val="tx1"/>
              </a:solidFill>
            </a:endParaRPr>
          </a:p>
          <a:p>
            <a:endParaRPr lang="en-US" sz="1600" b="1" dirty="0">
              <a:solidFill>
                <a:schemeClr val="tx1"/>
              </a:solidFill>
            </a:endParaRPr>
          </a:p>
          <a:p>
            <a:r>
              <a:rPr lang="ru-RU" sz="1600" b="1" dirty="0">
                <a:solidFill>
                  <a:schemeClr val="tx1"/>
                </a:solidFill>
              </a:rPr>
              <a:t>Проект создания Системы Открытых данных реального времени был первым шагом Большого Манчестера по использованию облачных технологий</a:t>
            </a:r>
            <a:endParaRPr lang="en-US" sz="1600" b="1" dirty="0">
              <a:solidFill>
                <a:schemeClr val="tx1"/>
              </a:solidFill>
            </a:endParaRPr>
          </a:p>
          <a:p>
            <a:pPr>
              <a:lnSpc>
                <a:spcPct val="100000"/>
              </a:lnSpc>
              <a:spcBef>
                <a:spcPts val="0"/>
              </a:spcBef>
              <a:spcAft>
                <a:spcPts val="1200"/>
              </a:spcAft>
            </a:pPr>
            <a:endParaRPr lang="en-US" sz="1600" b="1" dirty="0"/>
          </a:p>
        </p:txBody>
      </p:sp>
      <p:sp>
        <p:nvSpPr>
          <p:cNvPr id="2" name="Rectangle 1"/>
          <p:cNvSpPr/>
          <p:nvPr/>
        </p:nvSpPr>
        <p:spPr>
          <a:xfrm>
            <a:off x="7555786" y="1143030"/>
            <a:ext cx="4615355" cy="1569660"/>
          </a:xfrm>
          <a:prstGeom prst="rect">
            <a:avLst/>
          </a:prstGeom>
        </p:spPr>
        <p:txBody>
          <a:bodyPr wrap="square">
            <a:spAutoFit/>
          </a:bodyPr>
          <a:lstStyle/>
          <a:p>
            <a:r>
              <a:rPr lang="ru-RU" sz="2400" kern="0" spc="-100" dirty="0">
                <a:ln w="3175">
                  <a:noFill/>
                </a:ln>
                <a:solidFill>
                  <a:srgbClr val="505050"/>
                </a:solidFill>
                <a:latin typeface="Segoe UI Light"/>
              </a:rPr>
              <a:t>Городская транспортная компания отдает свои данные в публичное использование для создания приложений для пассажиров</a:t>
            </a:r>
            <a:endParaRPr lang="en-US" sz="2400" kern="0" spc="-100" dirty="0">
              <a:ln w="3175">
                <a:noFill/>
              </a:ln>
              <a:solidFill>
                <a:srgbClr val="505050"/>
              </a:solidFill>
              <a:latin typeface="Segoe UI Light"/>
            </a:endParaRPr>
          </a:p>
        </p:txBody>
      </p:sp>
      <p:sp>
        <p:nvSpPr>
          <p:cNvPr id="5" name="Rectangle 4"/>
          <p:cNvSpPr/>
          <p:nvPr/>
        </p:nvSpPr>
        <p:spPr>
          <a:xfrm>
            <a:off x="491778" y="2493649"/>
            <a:ext cx="6653431" cy="584775"/>
          </a:xfrm>
          <a:prstGeom prst="rect">
            <a:avLst/>
          </a:prstGeom>
        </p:spPr>
        <p:txBody>
          <a:bodyPr wrap="square">
            <a:spAutoFit/>
          </a:bodyPr>
          <a:lstStyle/>
          <a:p>
            <a:r>
              <a:rPr lang="ru-RU" sz="1600" kern="0" dirty="0">
                <a:solidFill>
                  <a:srgbClr val="FFFFFF"/>
                </a:solidFill>
              </a:rPr>
              <a:t>Джон </a:t>
            </a:r>
            <a:r>
              <a:rPr lang="ru-RU" sz="1600" kern="0" dirty="0" err="1">
                <a:solidFill>
                  <a:srgbClr val="FFFFFF"/>
                </a:solidFill>
              </a:rPr>
              <a:t>Гарнер</a:t>
            </a:r>
            <a:r>
              <a:rPr lang="ru-RU" sz="1600" kern="0" dirty="0">
                <a:solidFill>
                  <a:srgbClr val="FFFFFF"/>
                </a:solidFill>
              </a:rPr>
              <a:t> (</a:t>
            </a:r>
            <a:r>
              <a:rPr lang="en-US" sz="1600" kern="0" dirty="0">
                <a:solidFill>
                  <a:srgbClr val="FFFFFF"/>
                </a:solidFill>
              </a:rPr>
              <a:t>John Garner</a:t>
            </a:r>
            <a:r>
              <a:rPr lang="ru-RU" sz="1600" kern="0" dirty="0">
                <a:solidFill>
                  <a:srgbClr val="FFFFFF"/>
                </a:solidFill>
              </a:rPr>
              <a:t>)</a:t>
            </a:r>
            <a:r>
              <a:rPr lang="en-US" sz="1600" kern="0" dirty="0">
                <a:solidFill>
                  <a:srgbClr val="FFFFFF"/>
                </a:solidFill>
              </a:rPr>
              <a:t>, </a:t>
            </a:r>
            <a:r>
              <a:rPr lang="ru-RU" sz="1600" kern="0" dirty="0">
                <a:solidFill>
                  <a:srgbClr val="FFFFFF"/>
                </a:solidFill>
              </a:rPr>
              <a:t>Руководитель Отдела ИТ-сервисов</a:t>
            </a:r>
            <a:r>
              <a:rPr lang="en-US" sz="1600" kern="0" dirty="0">
                <a:solidFill>
                  <a:srgbClr val="FFFFFF"/>
                </a:solidFill>
              </a:rPr>
              <a:t>, </a:t>
            </a:r>
            <a:r>
              <a:rPr lang="ru-RU" sz="1600" kern="0" dirty="0">
                <a:solidFill>
                  <a:srgbClr val="FFFFFF"/>
                </a:solidFill>
              </a:rPr>
              <a:t>Транспортный департамент Большого Манчестера</a:t>
            </a:r>
            <a:endParaRPr lang="en-US" sz="1600" kern="0" dirty="0">
              <a:solidFill>
                <a:srgbClr val="FFFFFF"/>
              </a:solidFill>
            </a:endParaRPr>
          </a:p>
        </p:txBody>
      </p:sp>
      <p:pic>
        <p:nvPicPr>
          <p:cNvPr id="20" name="Picture 101"/>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4704" t="22700" r="24704" b="22700"/>
          <a:stretch/>
        </p:blipFill>
        <p:spPr bwMode="auto">
          <a:xfrm>
            <a:off x="55278" y="1064011"/>
            <a:ext cx="771741" cy="7975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a:xfrm>
            <a:off x="769738" y="1279718"/>
            <a:ext cx="6079335" cy="1077218"/>
          </a:xfrm>
          <a:prstGeom prst="rect">
            <a:avLst/>
          </a:prstGeom>
        </p:spPr>
        <p:txBody>
          <a:bodyPr>
            <a:spAutoFit/>
          </a:bodyPr>
          <a:lstStyle/>
          <a:p>
            <a:r>
              <a:rPr lang="ru-RU" sz="1600" kern="0" dirty="0">
                <a:solidFill>
                  <a:srgbClr val="FFFFFF"/>
                </a:solidFill>
              </a:rPr>
              <a:t>Используя</a:t>
            </a:r>
            <a:r>
              <a:rPr lang="en-US" sz="1600" kern="0" dirty="0">
                <a:solidFill>
                  <a:srgbClr val="FFFFFF"/>
                </a:solidFill>
              </a:rPr>
              <a:t> Windows Azure, </a:t>
            </a:r>
            <a:r>
              <a:rPr lang="ru-RU" sz="1600" kern="0" dirty="0">
                <a:solidFill>
                  <a:srgbClr val="FFFFFF"/>
                </a:solidFill>
              </a:rPr>
              <a:t>мы смогли создать первоклассное решение по публичному использованию информации о транспорте всего за 6 недель и из «отстающих» практически моментально перейти в ранг «передовиков»</a:t>
            </a:r>
            <a:endParaRPr lang="en-US" sz="1600" kern="0" dirty="0">
              <a:solidFill>
                <a:srgbClr val="FFFFFF"/>
              </a:solidFill>
            </a:endParaRPr>
          </a:p>
        </p:txBody>
      </p:sp>
      <p:pic>
        <p:nvPicPr>
          <p:cNvPr id="21" name="Picture 20"/>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704" t="22700" r="24704" b="22700"/>
          <a:stretch/>
        </p:blipFill>
        <p:spPr bwMode="auto">
          <a:xfrm rot="10800000">
            <a:off x="5415643" y="1998404"/>
            <a:ext cx="479190" cy="4952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2" descr="Transport for Greater Mancheste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278" y="3306444"/>
            <a:ext cx="1699122" cy="396698"/>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4" descr="http://www.microsoft.com/casestudies/resources/Logos/4000010576.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30048" y="3732464"/>
            <a:ext cx="1393940" cy="524024"/>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320262" y="411513"/>
            <a:ext cx="11149142" cy="627864"/>
          </a:xfrm>
          <a:prstGeom prst="rect">
            <a:avLst/>
          </a:prstGeom>
          <a:noFill/>
        </p:spPr>
        <p:txBody>
          <a:bodyPr wrap="none" lIns="182880" tIns="146304" rIns="182880" bIns="146304" rtlCol="0">
            <a:spAutoFit/>
          </a:bodyPr>
          <a:lstStyle/>
          <a:p>
            <a:pPr>
              <a:lnSpc>
                <a:spcPct val="90000"/>
              </a:lnSpc>
              <a:spcAft>
                <a:spcPts val="600"/>
              </a:spcAft>
            </a:pPr>
            <a:r>
              <a:rPr lang="ru-RU" sz="2400" dirty="0">
                <a:gradFill>
                  <a:gsLst>
                    <a:gs pos="2917">
                      <a:schemeClr val="tx1"/>
                    </a:gs>
                    <a:gs pos="30000">
                      <a:schemeClr val="tx1"/>
                    </a:gs>
                  </a:gsLst>
                  <a:lin ang="5400000" scaled="0"/>
                </a:gradFill>
              </a:rPr>
              <a:t>Манчестер открывает свои данные о транспорте для создания приложений</a:t>
            </a:r>
          </a:p>
        </p:txBody>
      </p:sp>
      <p:pic>
        <p:nvPicPr>
          <p:cNvPr id="25" name="Picture 24"/>
          <p:cNvPicPr>
            <a:picLocks noChangeAspect="1"/>
          </p:cNvPicPr>
          <p:nvPr/>
        </p:nvPicPr>
        <p:blipFill rotWithShape="1">
          <a:blip r:embed="rId7" cstate="print">
            <a:extLst>
              <a:ext uri="{28A0092B-C50C-407E-A947-70E740481C1C}">
                <a14:useLocalDpi xmlns:a14="http://schemas.microsoft.com/office/drawing/2010/main" val="0"/>
              </a:ext>
            </a:extLst>
          </a:blip>
          <a:srcRect t="17814" b="10730"/>
          <a:stretch/>
        </p:blipFill>
        <p:spPr>
          <a:xfrm>
            <a:off x="6091" y="4763627"/>
            <a:ext cx="1953338" cy="2090707"/>
          </a:xfrm>
          <a:prstGeom prst="rect">
            <a:avLst/>
          </a:prstGeom>
        </p:spPr>
      </p:pic>
    </p:spTree>
    <p:extLst>
      <p:ext uri="{BB962C8B-B14F-4D97-AF65-F5344CB8AC3E}">
        <p14:creationId xmlns:p14="http://schemas.microsoft.com/office/powerpoint/2010/main" val="13893431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0916" y="163361"/>
            <a:ext cx="11696700" cy="1219766"/>
          </a:xfrm>
        </p:spPr>
        <p:txBody>
          <a:bodyPr/>
          <a:lstStyle/>
          <a:p>
            <a:r>
              <a:rPr lang="ru-RU" sz="3600" dirty="0"/>
              <a:t>Вроцлав (Польша): облачное решение по мониторингу и экономии водных ресурсов</a:t>
            </a:r>
          </a:p>
        </p:txBody>
      </p:sp>
      <p:sp>
        <p:nvSpPr>
          <p:cNvPr id="4" name="Slide Number Placeholder 3"/>
          <p:cNvSpPr>
            <a:spLocks noGrp="1"/>
          </p:cNvSpPr>
          <p:nvPr>
            <p:ph type="sldNum" sz="quarter" idx="15"/>
          </p:nvPr>
        </p:nvSpPr>
        <p:spPr/>
        <p:txBody>
          <a:bodyPr/>
          <a:lstStyle/>
          <a:p>
            <a:endParaRPr lang="en-US" dirty="0">
              <a:solidFill>
                <a:srgbClr val="000000">
                  <a:tint val="75000"/>
                </a:srgbClr>
              </a:solidFill>
            </a:endParaRPr>
          </a:p>
        </p:txBody>
      </p:sp>
      <p:sp>
        <p:nvSpPr>
          <p:cNvPr id="5" name="TextBox 4"/>
          <p:cNvSpPr txBox="1"/>
          <p:nvPr/>
        </p:nvSpPr>
        <p:spPr>
          <a:xfrm>
            <a:off x="284307" y="1206395"/>
            <a:ext cx="1191025" cy="353465"/>
          </a:xfrm>
          <a:prstGeom prst="rect">
            <a:avLst/>
          </a:prstGeom>
        </p:spPr>
        <p:txBody>
          <a:bodyPr vert="horz" wrap="none" lIns="91440" tIns="91440" rIns="91440" bIns="91440" rtlCol="0" anchor="t">
            <a:noAutofit/>
          </a:bodyPr>
          <a:lstStyle/>
          <a:p>
            <a:r>
              <a:rPr lang="ru-RU" sz="1600" b="1" dirty="0">
                <a:solidFill>
                  <a:schemeClr val="tx2"/>
                </a:solidFill>
                <a:latin typeface="Segoe UI" pitchFamily="34" charset="0"/>
                <a:ea typeface="Segoe UI" pitchFamily="34" charset="0"/>
                <a:cs typeface="Segoe UI" pitchFamily="34" charset="0"/>
              </a:rPr>
              <a:t>Заказчик</a:t>
            </a:r>
          </a:p>
        </p:txBody>
      </p:sp>
      <p:sp>
        <p:nvSpPr>
          <p:cNvPr id="6" name="TextBox 5"/>
          <p:cNvSpPr txBox="1"/>
          <p:nvPr/>
        </p:nvSpPr>
        <p:spPr>
          <a:xfrm>
            <a:off x="284306" y="1433251"/>
            <a:ext cx="5678503" cy="522515"/>
          </a:xfrm>
          <a:prstGeom prst="rect">
            <a:avLst/>
          </a:prstGeom>
        </p:spPr>
        <p:txBody>
          <a:bodyPr vert="horz" wrap="none" lIns="91440" tIns="91440" rIns="91440" bIns="91440" rtlCol="0" anchor="t">
            <a:noAutofit/>
          </a:bodyPr>
          <a:lstStyle/>
          <a:p>
            <a:r>
              <a:rPr lang="ru-RU" sz="1600" dirty="0" err="1">
                <a:latin typeface="Segoe UI" pitchFamily="34" charset="0"/>
                <a:ea typeface="Segoe UI" pitchFamily="34" charset="0"/>
                <a:cs typeface="Segoe UI" pitchFamily="34" charset="0"/>
              </a:rPr>
              <a:t>г.Вроцлав</a:t>
            </a:r>
            <a:r>
              <a:rPr lang="ru-RU" sz="1600" dirty="0">
                <a:latin typeface="Segoe UI" pitchFamily="34" charset="0"/>
                <a:ea typeface="Segoe UI" pitchFamily="34" charset="0"/>
                <a:cs typeface="Segoe UI" pitchFamily="34" charset="0"/>
              </a:rPr>
              <a:t>, 4-й по величине в Польше (650,000 жителей)</a:t>
            </a:r>
          </a:p>
        </p:txBody>
      </p:sp>
      <p:pic>
        <p:nvPicPr>
          <p:cNvPr id="7170"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4391" y="773244"/>
            <a:ext cx="5137150"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1" name="Picture 3" descr="Herb wroclaw.sv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91800" y="2362840"/>
            <a:ext cx="1689100" cy="2000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p:nvSpPr>
        <p:spPr>
          <a:xfrm>
            <a:off x="284306" y="1829157"/>
            <a:ext cx="1191025" cy="353465"/>
          </a:xfrm>
          <a:prstGeom prst="rect">
            <a:avLst/>
          </a:prstGeom>
        </p:spPr>
        <p:txBody>
          <a:bodyPr vert="horz" wrap="none" lIns="91440" tIns="91440" rIns="91440" bIns="91440" rtlCol="0" anchor="t">
            <a:noAutofit/>
          </a:bodyPr>
          <a:lstStyle/>
          <a:p>
            <a:r>
              <a:rPr lang="ru-RU" sz="1600" b="1" dirty="0">
                <a:solidFill>
                  <a:schemeClr val="tx2"/>
                </a:solidFill>
                <a:latin typeface="Segoe UI" pitchFamily="34" charset="0"/>
                <a:ea typeface="Segoe UI" pitchFamily="34" charset="0"/>
                <a:cs typeface="Segoe UI" pitchFamily="34" charset="0"/>
              </a:rPr>
              <a:t>Проблема</a:t>
            </a:r>
          </a:p>
        </p:txBody>
      </p:sp>
      <p:sp>
        <p:nvSpPr>
          <p:cNvPr id="7" name="Rectangle 6"/>
          <p:cNvSpPr/>
          <p:nvPr/>
        </p:nvSpPr>
        <p:spPr>
          <a:xfrm>
            <a:off x="228169" y="2220263"/>
            <a:ext cx="10219768" cy="59017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r>
              <a:rPr lang="ru-RU" sz="1600" dirty="0">
                <a:solidFill>
                  <a:srgbClr val="222122"/>
                </a:solidFill>
                <a:latin typeface="Segoe UI" pitchFamily="34" charset="0"/>
                <a:ea typeface="Segoe UI" pitchFamily="34" charset="0"/>
                <a:cs typeface="Segoe UI" pitchFamily="34" charset="0"/>
              </a:rPr>
              <a:t>Мониторинг в реальном времени состояния системы водоснабжения с целью повышения качества и экономии. Раньше проблема идентифицировалась либо при обращении граждан, либо после инцидентов</a:t>
            </a:r>
            <a:endParaRPr lang="ru-RU" sz="1600" dirty="0">
              <a:solidFill>
                <a:srgbClr val="222122"/>
              </a:solidFill>
              <a:latin typeface="Segoe UI" panose="020B0502040204020203" pitchFamily="34" charset="0"/>
              <a:cs typeface="Segoe UI" panose="020B0502040204020203" pitchFamily="34" charset="0"/>
            </a:endParaRPr>
          </a:p>
        </p:txBody>
      </p:sp>
      <p:sp>
        <p:nvSpPr>
          <p:cNvPr id="12" name="TextBox 11"/>
          <p:cNvSpPr txBox="1"/>
          <p:nvPr/>
        </p:nvSpPr>
        <p:spPr>
          <a:xfrm>
            <a:off x="284306" y="2738364"/>
            <a:ext cx="1191025" cy="353465"/>
          </a:xfrm>
          <a:prstGeom prst="rect">
            <a:avLst/>
          </a:prstGeom>
        </p:spPr>
        <p:txBody>
          <a:bodyPr vert="horz" wrap="none" lIns="91440" tIns="91440" rIns="91440" bIns="91440" rtlCol="0" anchor="t">
            <a:noAutofit/>
          </a:bodyPr>
          <a:lstStyle/>
          <a:p>
            <a:r>
              <a:rPr lang="ru-RU" sz="1600" b="1" dirty="0">
                <a:solidFill>
                  <a:schemeClr val="tx2"/>
                </a:solidFill>
                <a:latin typeface="Segoe UI" pitchFamily="34" charset="0"/>
                <a:ea typeface="Segoe UI" pitchFamily="34" charset="0"/>
                <a:cs typeface="Segoe UI" pitchFamily="34" charset="0"/>
              </a:rPr>
              <a:t>Решение</a:t>
            </a:r>
          </a:p>
        </p:txBody>
      </p:sp>
      <p:sp>
        <p:nvSpPr>
          <p:cNvPr id="13" name="Rectangle 12"/>
          <p:cNvSpPr/>
          <p:nvPr/>
        </p:nvSpPr>
        <p:spPr>
          <a:xfrm>
            <a:off x="284306" y="2977205"/>
            <a:ext cx="10219768" cy="20916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r>
              <a:rPr lang="ru-RU" sz="1600" dirty="0">
                <a:solidFill>
                  <a:srgbClr val="222122"/>
                </a:solidFill>
                <a:latin typeface="Segoe UI" pitchFamily="34" charset="0"/>
                <a:ea typeface="Segoe UI" pitchFamily="34" charset="0"/>
                <a:cs typeface="Segoe UI" pitchFamily="34" charset="0"/>
              </a:rPr>
              <a:t>Соединение </a:t>
            </a:r>
            <a:r>
              <a:rPr lang="en-US" sz="1600" dirty="0">
                <a:solidFill>
                  <a:srgbClr val="222122"/>
                </a:solidFill>
                <a:latin typeface="Segoe UI" pitchFamily="34" charset="0"/>
                <a:ea typeface="Segoe UI" pitchFamily="34" charset="0"/>
                <a:cs typeface="Segoe UI" pitchFamily="34" charset="0"/>
              </a:rPr>
              <a:t>c</a:t>
            </a:r>
            <a:r>
              <a:rPr lang="ru-RU" sz="1600" dirty="0">
                <a:solidFill>
                  <a:srgbClr val="222122"/>
                </a:solidFill>
                <a:latin typeface="Segoe UI" pitchFamily="34" charset="0"/>
                <a:ea typeface="Segoe UI" pitchFamily="34" charset="0"/>
                <a:cs typeface="Segoe UI" pitchFamily="34" charset="0"/>
              </a:rPr>
              <a:t> помощью </a:t>
            </a:r>
            <a:r>
              <a:rPr lang="en-US" sz="1600" dirty="0">
                <a:solidFill>
                  <a:srgbClr val="222122"/>
                </a:solidFill>
                <a:latin typeface="Segoe UI" pitchFamily="34" charset="0"/>
                <a:ea typeface="Segoe UI" pitchFamily="34" charset="0"/>
                <a:cs typeface="Segoe UI" pitchFamily="34" charset="0"/>
              </a:rPr>
              <a:t>Azure </a:t>
            </a:r>
            <a:r>
              <a:rPr lang="en-US" sz="1600" dirty="0" err="1">
                <a:solidFill>
                  <a:srgbClr val="222122"/>
                </a:solidFill>
                <a:latin typeface="Segoe UI" pitchFamily="34" charset="0"/>
                <a:ea typeface="Segoe UI" pitchFamily="34" charset="0"/>
                <a:cs typeface="Segoe UI" pitchFamily="34" charset="0"/>
              </a:rPr>
              <a:t>IoT</a:t>
            </a:r>
            <a:r>
              <a:rPr lang="en-US" sz="1600" dirty="0">
                <a:solidFill>
                  <a:srgbClr val="222122"/>
                </a:solidFill>
                <a:latin typeface="Segoe UI" pitchFamily="34" charset="0"/>
                <a:ea typeface="Segoe UI" pitchFamily="34" charset="0"/>
                <a:cs typeface="Segoe UI" pitchFamily="34" charset="0"/>
              </a:rPr>
              <a:t> </a:t>
            </a:r>
            <a:r>
              <a:rPr lang="ru-RU" sz="1600" dirty="0">
                <a:solidFill>
                  <a:srgbClr val="222122"/>
                </a:solidFill>
                <a:latin typeface="Segoe UI" pitchFamily="34" charset="0"/>
                <a:ea typeface="Segoe UI" pitchFamily="34" charset="0"/>
                <a:cs typeface="Segoe UI" pitchFamily="34" charset="0"/>
              </a:rPr>
              <a:t>всех датчиков, гидрантов, вентилей и пр. Возможность строить аналитические и иные приложения. Высокая масштабируемость и простота использования.</a:t>
            </a:r>
          </a:p>
          <a:p>
            <a:r>
              <a:rPr lang="en-US" sz="1600" dirty="0" err="1">
                <a:solidFill>
                  <a:srgbClr val="222122"/>
                </a:solidFill>
                <a:latin typeface="Segoe UI" pitchFamily="34" charset="0"/>
                <a:ea typeface="Segoe UI" pitchFamily="34" charset="0"/>
                <a:cs typeface="Segoe UI" pitchFamily="34" charset="0"/>
              </a:rPr>
              <a:t>IoT</a:t>
            </a:r>
            <a:r>
              <a:rPr lang="en-US" sz="1600" dirty="0">
                <a:solidFill>
                  <a:srgbClr val="222122"/>
                </a:solidFill>
                <a:latin typeface="Segoe UI" pitchFamily="34" charset="0"/>
                <a:ea typeface="Segoe UI" pitchFamily="34" charset="0"/>
                <a:cs typeface="Segoe UI" pitchFamily="34" charset="0"/>
              </a:rPr>
              <a:t> - Azure </a:t>
            </a:r>
            <a:r>
              <a:rPr lang="en-US" sz="1600" dirty="0" err="1">
                <a:solidFill>
                  <a:srgbClr val="222122"/>
                </a:solidFill>
                <a:latin typeface="Segoe UI" pitchFamily="34" charset="0"/>
                <a:ea typeface="Segoe UI" pitchFamily="34" charset="0"/>
                <a:cs typeface="Segoe UI" pitchFamily="34" charset="0"/>
              </a:rPr>
              <a:t>IoT</a:t>
            </a:r>
            <a:r>
              <a:rPr lang="en-US" sz="1600" dirty="0">
                <a:solidFill>
                  <a:srgbClr val="222122"/>
                </a:solidFill>
                <a:latin typeface="Segoe UI" pitchFamily="34" charset="0"/>
                <a:ea typeface="Segoe UI" pitchFamily="34" charset="0"/>
                <a:cs typeface="Segoe UI" pitchFamily="34" charset="0"/>
              </a:rPr>
              <a:t> Hub,</a:t>
            </a:r>
            <a:r>
              <a:rPr lang="ru-RU" sz="1600" dirty="0">
                <a:solidFill>
                  <a:srgbClr val="222122"/>
                </a:solidFill>
                <a:latin typeface="Segoe UI" pitchFamily="34" charset="0"/>
                <a:ea typeface="Segoe UI" pitchFamily="34" charset="0"/>
                <a:cs typeface="Segoe UI" pitchFamily="34" charset="0"/>
              </a:rPr>
              <a:t> </a:t>
            </a:r>
            <a:r>
              <a:rPr lang="en-US" sz="1600" dirty="0" err="1">
                <a:solidFill>
                  <a:srgbClr val="222122"/>
                </a:solidFill>
                <a:latin typeface="Segoe UI" pitchFamily="34" charset="0"/>
                <a:ea typeface="Segoe UI" pitchFamily="34" charset="0"/>
                <a:cs typeface="Segoe UI" pitchFamily="34" charset="0"/>
              </a:rPr>
              <a:t>IoT</a:t>
            </a:r>
            <a:r>
              <a:rPr lang="en-US" sz="1600" dirty="0">
                <a:solidFill>
                  <a:srgbClr val="222122"/>
                </a:solidFill>
                <a:latin typeface="Segoe UI" pitchFamily="34" charset="0"/>
                <a:ea typeface="Segoe UI" pitchFamily="34" charset="0"/>
                <a:cs typeface="Segoe UI" pitchFamily="34" charset="0"/>
              </a:rPr>
              <a:t> - Azure App Service,</a:t>
            </a:r>
            <a:r>
              <a:rPr lang="ru-RU" sz="1600" dirty="0">
                <a:solidFill>
                  <a:srgbClr val="222122"/>
                </a:solidFill>
                <a:latin typeface="Segoe UI" pitchFamily="34" charset="0"/>
                <a:ea typeface="Segoe UI" pitchFamily="34" charset="0"/>
                <a:cs typeface="Segoe UI" pitchFamily="34" charset="0"/>
              </a:rPr>
              <a:t> </a:t>
            </a:r>
            <a:r>
              <a:rPr lang="en-US" sz="1600" dirty="0">
                <a:solidFill>
                  <a:srgbClr val="222122"/>
                </a:solidFill>
                <a:latin typeface="Segoe UI" pitchFamily="34" charset="0"/>
                <a:ea typeface="Segoe UI" pitchFamily="34" charset="0"/>
                <a:cs typeface="Segoe UI" pitchFamily="34" charset="0"/>
              </a:rPr>
              <a:t>Data Insights - Stream Analytics,</a:t>
            </a:r>
            <a:r>
              <a:rPr lang="ru-RU" sz="1600" dirty="0">
                <a:solidFill>
                  <a:srgbClr val="222122"/>
                </a:solidFill>
                <a:latin typeface="Segoe UI" pitchFamily="34" charset="0"/>
                <a:ea typeface="Segoe UI" pitchFamily="34" charset="0"/>
                <a:cs typeface="Segoe UI" pitchFamily="34" charset="0"/>
              </a:rPr>
              <a:t> </a:t>
            </a:r>
            <a:r>
              <a:rPr lang="en-US" sz="1600" dirty="0" err="1">
                <a:solidFill>
                  <a:srgbClr val="222122"/>
                </a:solidFill>
                <a:latin typeface="Segoe UI" pitchFamily="34" charset="0"/>
                <a:ea typeface="Segoe UI" pitchFamily="34" charset="0"/>
                <a:cs typeface="Segoe UI" pitchFamily="34" charset="0"/>
              </a:rPr>
              <a:t>IoT</a:t>
            </a:r>
            <a:r>
              <a:rPr lang="en-US" sz="1600" dirty="0">
                <a:solidFill>
                  <a:srgbClr val="222122"/>
                </a:solidFill>
                <a:latin typeface="Segoe UI" pitchFamily="34" charset="0"/>
                <a:ea typeface="Segoe UI" pitchFamily="34" charset="0"/>
                <a:cs typeface="Segoe UI" pitchFamily="34" charset="0"/>
              </a:rPr>
              <a:t> - Machine Learning </a:t>
            </a:r>
            <a:endParaRPr lang="ru-RU" sz="1600" dirty="0">
              <a:solidFill>
                <a:srgbClr val="222122"/>
              </a:solidFill>
              <a:latin typeface="Segoe UI" pitchFamily="34" charset="0"/>
              <a:ea typeface="Segoe UI" pitchFamily="34" charset="0"/>
              <a:cs typeface="Segoe UI" pitchFamily="34" charset="0"/>
            </a:endParaRPr>
          </a:p>
          <a:p>
            <a:endParaRPr lang="ru-RU" sz="1600" dirty="0">
              <a:solidFill>
                <a:srgbClr val="222122"/>
              </a:solidFill>
              <a:latin typeface="Segoe UI" pitchFamily="34" charset="0"/>
              <a:cs typeface="Segoe UI" panose="020B0502040204020203" pitchFamily="34" charset="0"/>
            </a:endParaRPr>
          </a:p>
          <a:p>
            <a:r>
              <a:rPr lang="ru-RU" sz="1600" dirty="0">
                <a:solidFill>
                  <a:srgbClr val="222122"/>
                </a:solidFill>
                <a:latin typeface="Segoe UI" pitchFamily="34" charset="0"/>
                <a:cs typeface="Segoe UI" panose="020B0502040204020203" pitchFamily="34" charset="0"/>
              </a:rPr>
              <a:t>Приложение «Монитор потерь»:</a:t>
            </a:r>
          </a:p>
          <a:p>
            <a:pPr marL="285750" indent="-285750">
              <a:buFont typeface="Arial" panose="020B0604020202020204" pitchFamily="34" charset="0"/>
              <a:buChar char="•"/>
            </a:pPr>
            <a:r>
              <a:rPr lang="en-US" sz="1600" dirty="0">
                <a:solidFill>
                  <a:srgbClr val="222122"/>
                </a:solidFill>
                <a:latin typeface="Segoe UI" pitchFamily="34" charset="0"/>
                <a:cs typeface="Segoe UI" panose="020B0502040204020203" pitchFamily="34" charset="0"/>
              </a:rPr>
              <a:t>Web</a:t>
            </a:r>
            <a:r>
              <a:rPr lang="ru-RU" sz="1600" dirty="0">
                <a:solidFill>
                  <a:srgbClr val="222122"/>
                </a:solidFill>
                <a:latin typeface="Segoe UI" pitchFamily="34" charset="0"/>
                <a:cs typeface="Segoe UI" panose="020B0502040204020203" pitchFamily="34" charset="0"/>
              </a:rPr>
              <a:t>-приложение (не надо инсталлировать ПО локально)</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Визуализация инцидентов на карте города</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Интеграция с системами насосных станций</a:t>
            </a:r>
          </a:p>
        </p:txBody>
      </p:sp>
      <p:sp>
        <p:nvSpPr>
          <p:cNvPr id="14" name="TextBox 13"/>
          <p:cNvSpPr txBox="1"/>
          <p:nvPr/>
        </p:nvSpPr>
        <p:spPr>
          <a:xfrm>
            <a:off x="440545" y="4904686"/>
            <a:ext cx="2683012" cy="353465"/>
          </a:xfrm>
          <a:prstGeom prst="rect">
            <a:avLst/>
          </a:prstGeom>
        </p:spPr>
        <p:txBody>
          <a:bodyPr vert="horz" wrap="none" lIns="91440" tIns="91440" rIns="91440" bIns="91440" rtlCol="0" anchor="t">
            <a:noAutofit/>
          </a:bodyPr>
          <a:lstStyle/>
          <a:p>
            <a:r>
              <a:rPr lang="ru-RU" sz="1600" b="1" dirty="0">
                <a:solidFill>
                  <a:schemeClr val="tx2"/>
                </a:solidFill>
                <a:latin typeface="Segoe UI" pitchFamily="34" charset="0"/>
                <a:ea typeface="Segoe UI" pitchFamily="34" charset="0"/>
                <a:cs typeface="Segoe UI" pitchFamily="34" charset="0"/>
              </a:rPr>
              <a:t>Масштаб системы</a:t>
            </a:r>
          </a:p>
        </p:txBody>
      </p:sp>
      <p:sp>
        <p:nvSpPr>
          <p:cNvPr id="15" name="Rectangle 14"/>
          <p:cNvSpPr/>
          <p:nvPr/>
        </p:nvSpPr>
        <p:spPr>
          <a:xfrm>
            <a:off x="172032" y="5369879"/>
            <a:ext cx="10219768" cy="148812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2037 км. водных коммуникаций</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Диаметры труб: до 48 дюймов</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Количество коннекторов: 41,000</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Количество подключенных гидрантов: 15,500</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Количество вентилей: 65,000</a:t>
            </a:r>
          </a:p>
          <a:p>
            <a:pPr marL="285750" indent="-285750">
              <a:buFont typeface="Arial" panose="020B0604020202020204" pitchFamily="34" charset="0"/>
              <a:buChar char="•"/>
            </a:pPr>
            <a:r>
              <a:rPr lang="ru-RU" sz="1600" dirty="0">
                <a:solidFill>
                  <a:srgbClr val="222122"/>
                </a:solidFill>
                <a:latin typeface="Segoe UI" pitchFamily="34" charset="0"/>
                <a:cs typeface="Segoe UI" panose="020B0502040204020203" pitchFamily="34" charset="0"/>
              </a:rPr>
              <a:t>Количество подключенных измерительных датчиков: 47,000</a:t>
            </a:r>
          </a:p>
        </p:txBody>
      </p:sp>
      <p:pic>
        <p:nvPicPr>
          <p:cNvPr id="3" name="Picture 2"/>
          <p:cNvPicPr>
            <a:picLocks noChangeAspect="1"/>
          </p:cNvPicPr>
          <p:nvPr/>
        </p:nvPicPr>
        <p:blipFill>
          <a:blip r:embed="rId4"/>
          <a:stretch>
            <a:fillRect/>
          </a:stretch>
        </p:blipFill>
        <p:spPr>
          <a:xfrm>
            <a:off x="7725813" y="4664072"/>
            <a:ext cx="3454400" cy="1799850"/>
          </a:xfrm>
          <a:prstGeom prst="rect">
            <a:avLst/>
          </a:prstGeom>
        </p:spPr>
      </p:pic>
    </p:spTree>
    <p:extLst>
      <p:ext uri="{BB962C8B-B14F-4D97-AF65-F5344CB8AC3E}">
        <p14:creationId xmlns:p14="http://schemas.microsoft.com/office/powerpoint/2010/main" val="331379263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7072" y="203783"/>
            <a:ext cx="11696700" cy="566651"/>
          </a:xfrm>
        </p:spPr>
        <p:txBody>
          <a:bodyPr/>
          <a:lstStyle/>
          <a:p>
            <a:r>
              <a:rPr lang="ru-RU" sz="4000" dirty="0"/>
              <a:t>Мониторинг состояния земельных участков</a:t>
            </a:r>
          </a:p>
        </p:txBody>
      </p:sp>
      <p:sp>
        <p:nvSpPr>
          <p:cNvPr id="4" name="TextBox 3"/>
          <p:cNvSpPr txBox="1"/>
          <p:nvPr/>
        </p:nvSpPr>
        <p:spPr>
          <a:xfrm>
            <a:off x="711199" y="1667163"/>
            <a:ext cx="1801091" cy="914400"/>
          </a:xfrm>
          <a:prstGeom prst="rect">
            <a:avLst/>
          </a:prstGeom>
        </p:spPr>
        <p:txBody>
          <a:bodyPr vert="horz" wrap="none" lIns="91440" tIns="91440" rIns="91440" bIns="91440" rtlCol="0" anchor="t">
            <a:noAutofit/>
          </a:bodyPr>
          <a:lstStyle/>
          <a:p>
            <a:pPr marL="171450" indent="-171450">
              <a:buFont typeface="Wingdings" pitchFamily="2" charset="2"/>
              <a:buChar char="§"/>
            </a:pPr>
            <a:endParaRPr lang="ru-RU" sz="1600" dirty="0" err="1">
              <a:latin typeface="Segoe UI" pitchFamily="34" charset="0"/>
              <a:ea typeface="Segoe UI" pitchFamily="34" charset="0"/>
              <a:cs typeface="Segoe UI" pitchFamily="34" charset="0"/>
            </a:endParaRPr>
          </a:p>
        </p:txBody>
      </p:sp>
      <p:sp>
        <p:nvSpPr>
          <p:cNvPr id="5" name="TextBox 4"/>
          <p:cNvSpPr txBox="1"/>
          <p:nvPr/>
        </p:nvSpPr>
        <p:spPr>
          <a:xfrm>
            <a:off x="1972271" y="1150414"/>
            <a:ext cx="3172752" cy="452583"/>
          </a:xfrm>
          <a:prstGeom prst="rect">
            <a:avLst/>
          </a:prstGeom>
        </p:spPr>
        <p:txBody>
          <a:bodyPr vert="horz" wrap="none" lIns="91440" tIns="91440" rIns="91440" bIns="91440" rtlCol="0" anchor="t">
            <a:noAutofit/>
          </a:bodyPr>
          <a:lstStyle/>
          <a:p>
            <a:r>
              <a:rPr lang="ru-RU" b="1" dirty="0">
                <a:latin typeface="Segoe UI" pitchFamily="34" charset="0"/>
                <a:ea typeface="Segoe UI" pitchFamily="34" charset="0"/>
                <a:cs typeface="Segoe UI" pitchFamily="34" charset="0"/>
              </a:rPr>
              <a:t>Сбор данных</a:t>
            </a:r>
          </a:p>
        </p:txBody>
      </p:sp>
      <p:pic>
        <p:nvPicPr>
          <p:cNvPr id="6" name="Рисунок 5"/>
          <p:cNvPicPr>
            <a:picLocks noChangeAspect="1"/>
          </p:cNvPicPr>
          <p:nvPr/>
        </p:nvPicPr>
        <p:blipFill>
          <a:blip r:embed="rId2"/>
          <a:stretch>
            <a:fillRect/>
          </a:stretch>
        </p:blipFill>
        <p:spPr>
          <a:xfrm>
            <a:off x="1055640" y="2341813"/>
            <a:ext cx="619341" cy="600634"/>
          </a:xfrm>
          <a:prstGeom prst="rect">
            <a:avLst/>
          </a:prstGeom>
        </p:spPr>
      </p:pic>
      <p:pic>
        <p:nvPicPr>
          <p:cNvPr id="7" name="Рисунок 6"/>
          <p:cNvPicPr>
            <a:picLocks noChangeAspect="1"/>
          </p:cNvPicPr>
          <p:nvPr/>
        </p:nvPicPr>
        <p:blipFill>
          <a:blip r:embed="rId3"/>
          <a:stretch>
            <a:fillRect/>
          </a:stretch>
        </p:blipFill>
        <p:spPr>
          <a:xfrm>
            <a:off x="1972271" y="3113716"/>
            <a:ext cx="591128" cy="345196"/>
          </a:xfrm>
          <a:prstGeom prst="rect">
            <a:avLst/>
          </a:prstGeom>
        </p:spPr>
      </p:pic>
      <p:pic>
        <p:nvPicPr>
          <p:cNvPr id="8" name="Рисунок 7"/>
          <p:cNvPicPr>
            <a:picLocks noChangeAspect="1"/>
          </p:cNvPicPr>
          <p:nvPr/>
        </p:nvPicPr>
        <p:blipFill>
          <a:blip r:embed="rId4"/>
          <a:stretch>
            <a:fillRect/>
          </a:stretch>
        </p:blipFill>
        <p:spPr>
          <a:xfrm>
            <a:off x="2080663" y="2461001"/>
            <a:ext cx="374346" cy="362258"/>
          </a:xfrm>
          <a:prstGeom prst="rect">
            <a:avLst/>
          </a:prstGeom>
        </p:spPr>
      </p:pic>
      <p:pic>
        <p:nvPicPr>
          <p:cNvPr id="9" name="Рисунок 8"/>
          <p:cNvPicPr>
            <a:picLocks noChangeAspect="1"/>
          </p:cNvPicPr>
          <p:nvPr/>
        </p:nvPicPr>
        <p:blipFill>
          <a:blip r:embed="rId5"/>
          <a:stretch>
            <a:fillRect/>
          </a:stretch>
        </p:blipFill>
        <p:spPr>
          <a:xfrm>
            <a:off x="2067951" y="1809494"/>
            <a:ext cx="399769" cy="361050"/>
          </a:xfrm>
          <a:prstGeom prst="rect">
            <a:avLst/>
          </a:prstGeom>
        </p:spPr>
      </p:pic>
      <p:sp>
        <p:nvSpPr>
          <p:cNvPr id="10" name="TextBox 9"/>
          <p:cNvSpPr txBox="1"/>
          <p:nvPr/>
        </p:nvSpPr>
        <p:spPr>
          <a:xfrm>
            <a:off x="2563399" y="3085790"/>
            <a:ext cx="1517210" cy="351794"/>
          </a:xfrm>
          <a:prstGeom prst="rect">
            <a:avLst/>
          </a:prstGeom>
        </p:spPr>
        <p:txBody>
          <a:bodyPr vert="horz" wrap="none" lIns="91440" tIns="91440" rIns="91440" bIns="91440" rtlCol="0" anchor="t">
            <a:noAutofit/>
          </a:bodyPr>
          <a:lstStyle/>
          <a:p>
            <a:r>
              <a:rPr lang="ru-RU" sz="1600" dirty="0">
                <a:latin typeface="Segoe UI" pitchFamily="34" charset="0"/>
                <a:ea typeface="Segoe UI" pitchFamily="34" charset="0"/>
                <a:cs typeface="Segoe UI" pitchFamily="34" charset="0"/>
              </a:rPr>
              <a:t>У\ф камера</a:t>
            </a:r>
          </a:p>
        </p:txBody>
      </p:sp>
      <p:sp>
        <p:nvSpPr>
          <p:cNvPr id="11" name="TextBox 10"/>
          <p:cNvSpPr txBox="1"/>
          <p:nvPr/>
        </p:nvSpPr>
        <p:spPr>
          <a:xfrm>
            <a:off x="2467720" y="1793314"/>
            <a:ext cx="1517210" cy="351794"/>
          </a:xfrm>
          <a:prstGeom prst="rect">
            <a:avLst/>
          </a:prstGeom>
        </p:spPr>
        <p:txBody>
          <a:bodyPr vert="horz" wrap="none" lIns="91440" tIns="91440" rIns="91440" bIns="91440" rtlCol="0" anchor="t">
            <a:noAutofit/>
          </a:bodyPr>
          <a:lstStyle/>
          <a:p>
            <a:r>
              <a:rPr lang="ru-RU" sz="1600" dirty="0">
                <a:latin typeface="Segoe UI" pitchFamily="34" charset="0"/>
                <a:ea typeface="Segoe UI" pitchFamily="34" charset="0"/>
                <a:cs typeface="Segoe UI" pitchFamily="34" charset="0"/>
              </a:rPr>
              <a:t>Видео камера</a:t>
            </a:r>
          </a:p>
        </p:txBody>
      </p:sp>
      <p:sp>
        <p:nvSpPr>
          <p:cNvPr id="12" name="TextBox 11"/>
          <p:cNvSpPr txBox="1"/>
          <p:nvPr/>
        </p:nvSpPr>
        <p:spPr>
          <a:xfrm>
            <a:off x="2563399" y="2447303"/>
            <a:ext cx="1517210" cy="351794"/>
          </a:xfrm>
          <a:prstGeom prst="rect">
            <a:avLst/>
          </a:prstGeom>
        </p:spPr>
        <p:txBody>
          <a:bodyPr vert="horz" wrap="none" lIns="91440" tIns="91440" rIns="91440" bIns="91440" rtlCol="0" anchor="t">
            <a:noAutofit/>
          </a:bodyPr>
          <a:lstStyle/>
          <a:p>
            <a:r>
              <a:rPr lang="ru-RU" sz="1600" dirty="0">
                <a:latin typeface="Segoe UI" pitchFamily="34" charset="0"/>
                <a:ea typeface="Segoe UI" pitchFamily="34" charset="0"/>
                <a:cs typeface="Segoe UI" pitchFamily="34" charset="0"/>
              </a:rPr>
              <a:t>Инфракрасная камера</a:t>
            </a:r>
          </a:p>
        </p:txBody>
      </p:sp>
      <p:pic>
        <p:nvPicPr>
          <p:cNvPr id="14" name="Picture 5"/>
          <p:cNvPicPr>
            <a:picLocks noChangeAspect="1" noChangeArrowheads="1"/>
          </p:cNvPicPr>
          <p:nvPr/>
        </p:nvPicPr>
        <p:blipFill>
          <a:blip r:embed="rId6" cstate="screen">
            <a:duotone>
              <a:srgbClr val="00BCF2">
                <a:shade val="45000"/>
                <a:satMod val="135000"/>
              </a:srgbClr>
              <a:prstClr val="white"/>
            </a:duotone>
            <a:extLst>
              <a:ext uri="{28A0092B-C50C-407E-A947-70E740481C1C}">
                <a14:useLocalDpi xmlns:a14="http://schemas.microsoft.com/office/drawing/2010/main" val="0"/>
              </a:ext>
            </a:extLst>
          </a:blip>
          <a:stretch>
            <a:fillRect/>
          </a:stretch>
        </p:blipFill>
        <p:spPr bwMode="auto">
          <a:xfrm>
            <a:off x="7376348" y="2108564"/>
            <a:ext cx="986395" cy="825704"/>
          </a:xfrm>
          <a:prstGeom prst="rect">
            <a:avLst/>
          </a:prstGeom>
          <a:noFill/>
        </p:spPr>
      </p:pic>
      <p:grpSp>
        <p:nvGrpSpPr>
          <p:cNvPr id="15" name="Group 43"/>
          <p:cNvGrpSpPr/>
          <p:nvPr/>
        </p:nvGrpSpPr>
        <p:grpSpPr>
          <a:xfrm>
            <a:off x="9139839" y="2065350"/>
            <a:ext cx="714941" cy="799599"/>
            <a:chOff x="526999" y="4024370"/>
            <a:chExt cx="935922" cy="1357754"/>
          </a:xfrm>
          <a:solidFill>
            <a:schemeClr val="accent4">
              <a:lumMod val="75000"/>
            </a:schemeClr>
          </a:solidFill>
        </p:grpSpPr>
        <p:sp>
          <p:nvSpPr>
            <p:cNvPr id="16" name="Freeform 5"/>
            <p:cNvSpPr>
              <a:spLocks/>
            </p:cNvSpPr>
            <p:nvPr/>
          </p:nvSpPr>
          <p:spPr bwMode="auto">
            <a:xfrm>
              <a:off x="705628" y="4024370"/>
              <a:ext cx="757293" cy="491873"/>
            </a:xfrm>
            <a:custGeom>
              <a:avLst/>
              <a:gdLst>
                <a:gd name="T0" fmla="*/ 3780 w 3790"/>
                <a:gd name="T1" fmla="*/ 1582 h 2332"/>
                <a:gd name="T2" fmla="*/ 3710 w 3790"/>
                <a:gd name="T3" fmla="*/ 1358 h 2332"/>
                <a:gd name="T4" fmla="*/ 3580 w 3790"/>
                <a:gd name="T5" fmla="*/ 1158 h 2332"/>
                <a:gd name="T6" fmla="*/ 3400 w 3790"/>
                <a:gd name="T7" fmla="*/ 1004 h 2332"/>
                <a:gd name="T8" fmla="*/ 3286 w 3790"/>
                <a:gd name="T9" fmla="*/ 944 h 2332"/>
                <a:gd name="T10" fmla="*/ 3280 w 3790"/>
                <a:gd name="T11" fmla="*/ 908 h 2332"/>
                <a:gd name="T12" fmla="*/ 3260 w 3790"/>
                <a:gd name="T13" fmla="*/ 796 h 2332"/>
                <a:gd name="T14" fmla="*/ 3220 w 3790"/>
                <a:gd name="T15" fmla="*/ 690 h 2332"/>
                <a:gd name="T16" fmla="*/ 3162 w 3790"/>
                <a:gd name="T17" fmla="*/ 596 h 2332"/>
                <a:gd name="T18" fmla="*/ 3088 w 3790"/>
                <a:gd name="T19" fmla="*/ 516 h 2332"/>
                <a:gd name="T20" fmla="*/ 2998 w 3790"/>
                <a:gd name="T21" fmla="*/ 450 h 2332"/>
                <a:gd name="T22" fmla="*/ 2898 w 3790"/>
                <a:gd name="T23" fmla="*/ 402 h 2332"/>
                <a:gd name="T24" fmla="*/ 2788 w 3790"/>
                <a:gd name="T25" fmla="*/ 374 h 2332"/>
                <a:gd name="T26" fmla="*/ 2700 w 3790"/>
                <a:gd name="T27" fmla="*/ 368 h 2332"/>
                <a:gd name="T28" fmla="*/ 2522 w 3790"/>
                <a:gd name="T29" fmla="*/ 396 h 2332"/>
                <a:gd name="T30" fmla="*/ 2366 w 3790"/>
                <a:gd name="T31" fmla="*/ 472 h 2332"/>
                <a:gd name="T32" fmla="*/ 2256 w 3790"/>
                <a:gd name="T33" fmla="*/ 324 h 2332"/>
                <a:gd name="T34" fmla="*/ 2070 w 3790"/>
                <a:gd name="T35" fmla="*/ 164 h 2332"/>
                <a:gd name="T36" fmla="*/ 1848 w 3790"/>
                <a:gd name="T37" fmla="*/ 54 h 2332"/>
                <a:gd name="T38" fmla="*/ 1596 w 3790"/>
                <a:gd name="T39" fmla="*/ 2 h 2332"/>
                <a:gd name="T40" fmla="*/ 1430 w 3790"/>
                <a:gd name="T41" fmla="*/ 6 h 2332"/>
                <a:gd name="T42" fmla="*/ 1240 w 3790"/>
                <a:gd name="T43" fmla="*/ 44 h 2332"/>
                <a:gd name="T44" fmla="*/ 1064 w 3790"/>
                <a:gd name="T45" fmla="*/ 118 h 2332"/>
                <a:gd name="T46" fmla="*/ 908 w 3790"/>
                <a:gd name="T47" fmla="*/ 224 h 2332"/>
                <a:gd name="T48" fmla="*/ 776 w 3790"/>
                <a:gd name="T49" fmla="*/ 356 h 2332"/>
                <a:gd name="T50" fmla="*/ 672 w 3790"/>
                <a:gd name="T51" fmla="*/ 512 h 2332"/>
                <a:gd name="T52" fmla="*/ 598 w 3790"/>
                <a:gd name="T53" fmla="*/ 688 h 2332"/>
                <a:gd name="T54" fmla="*/ 558 w 3790"/>
                <a:gd name="T55" fmla="*/ 878 h 2332"/>
                <a:gd name="T56" fmla="*/ 554 w 3790"/>
                <a:gd name="T57" fmla="*/ 1012 h 2332"/>
                <a:gd name="T58" fmla="*/ 560 w 3790"/>
                <a:gd name="T59" fmla="*/ 1056 h 2332"/>
                <a:gd name="T60" fmla="*/ 388 w 3790"/>
                <a:gd name="T61" fmla="*/ 1120 h 2332"/>
                <a:gd name="T62" fmla="*/ 198 w 3790"/>
                <a:gd name="T63" fmla="*/ 1252 h 2332"/>
                <a:gd name="T64" fmla="*/ 92 w 3790"/>
                <a:gd name="T65" fmla="*/ 1384 h 2332"/>
                <a:gd name="T66" fmla="*/ 42 w 3790"/>
                <a:gd name="T67" fmla="*/ 1484 h 2332"/>
                <a:gd name="T68" fmla="*/ 10 w 3790"/>
                <a:gd name="T69" fmla="*/ 1594 h 2332"/>
                <a:gd name="T70" fmla="*/ 0 w 3790"/>
                <a:gd name="T71" fmla="*/ 1712 h 2332"/>
                <a:gd name="T72" fmla="*/ 8 w 3790"/>
                <a:gd name="T73" fmla="*/ 1816 h 2332"/>
                <a:gd name="T74" fmla="*/ 44 w 3790"/>
                <a:gd name="T75" fmla="*/ 1942 h 2332"/>
                <a:gd name="T76" fmla="*/ 106 w 3790"/>
                <a:gd name="T77" fmla="*/ 2052 h 2332"/>
                <a:gd name="T78" fmla="*/ 192 w 3790"/>
                <a:gd name="T79" fmla="*/ 2146 h 2332"/>
                <a:gd name="T80" fmla="*/ 298 w 3790"/>
                <a:gd name="T81" fmla="*/ 2222 h 2332"/>
                <a:gd name="T82" fmla="*/ 420 w 3790"/>
                <a:gd name="T83" fmla="*/ 2278 h 2332"/>
                <a:gd name="T84" fmla="*/ 558 w 3790"/>
                <a:gd name="T85" fmla="*/ 2316 h 2332"/>
                <a:gd name="T86" fmla="*/ 706 w 3790"/>
                <a:gd name="T87" fmla="*/ 2332 h 2332"/>
                <a:gd name="T88" fmla="*/ 3106 w 3790"/>
                <a:gd name="T89" fmla="*/ 2322 h 2332"/>
                <a:gd name="T90" fmla="*/ 3360 w 3790"/>
                <a:gd name="T91" fmla="*/ 2260 h 2332"/>
                <a:gd name="T92" fmla="*/ 3486 w 3790"/>
                <a:gd name="T93" fmla="*/ 2204 h 2332"/>
                <a:gd name="T94" fmla="*/ 3594 w 3790"/>
                <a:gd name="T95" fmla="*/ 2132 h 2332"/>
                <a:gd name="T96" fmla="*/ 3682 w 3790"/>
                <a:gd name="T97" fmla="*/ 2044 h 2332"/>
                <a:gd name="T98" fmla="*/ 3744 w 3790"/>
                <a:gd name="T99" fmla="*/ 1936 h 2332"/>
                <a:gd name="T100" fmla="*/ 3782 w 3790"/>
                <a:gd name="T101" fmla="*/ 1810 h 2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90" h="2332">
                  <a:moveTo>
                    <a:pt x="3790" y="1700"/>
                  </a:moveTo>
                  <a:lnTo>
                    <a:pt x="3790" y="1700"/>
                  </a:lnTo>
                  <a:lnTo>
                    <a:pt x="3788" y="1642"/>
                  </a:lnTo>
                  <a:lnTo>
                    <a:pt x="3780" y="1582"/>
                  </a:lnTo>
                  <a:lnTo>
                    <a:pt x="3770" y="1524"/>
                  </a:lnTo>
                  <a:lnTo>
                    <a:pt x="3754" y="1468"/>
                  </a:lnTo>
                  <a:lnTo>
                    <a:pt x="3734" y="1412"/>
                  </a:lnTo>
                  <a:lnTo>
                    <a:pt x="3710" y="1358"/>
                  </a:lnTo>
                  <a:lnTo>
                    <a:pt x="3684" y="1304"/>
                  </a:lnTo>
                  <a:lnTo>
                    <a:pt x="3652" y="1254"/>
                  </a:lnTo>
                  <a:lnTo>
                    <a:pt x="3618" y="1206"/>
                  </a:lnTo>
                  <a:lnTo>
                    <a:pt x="3580" y="1158"/>
                  </a:lnTo>
                  <a:lnTo>
                    <a:pt x="3540" y="1116"/>
                  </a:lnTo>
                  <a:lnTo>
                    <a:pt x="3496" y="1076"/>
                  </a:lnTo>
                  <a:lnTo>
                    <a:pt x="3448" y="1038"/>
                  </a:lnTo>
                  <a:lnTo>
                    <a:pt x="3400" y="1004"/>
                  </a:lnTo>
                  <a:lnTo>
                    <a:pt x="3348" y="974"/>
                  </a:lnTo>
                  <a:lnTo>
                    <a:pt x="3294" y="948"/>
                  </a:lnTo>
                  <a:lnTo>
                    <a:pt x="3294" y="948"/>
                  </a:lnTo>
                  <a:lnTo>
                    <a:pt x="3286" y="944"/>
                  </a:lnTo>
                  <a:lnTo>
                    <a:pt x="3280" y="938"/>
                  </a:lnTo>
                  <a:lnTo>
                    <a:pt x="3280" y="938"/>
                  </a:lnTo>
                  <a:lnTo>
                    <a:pt x="3280" y="938"/>
                  </a:lnTo>
                  <a:lnTo>
                    <a:pt x="3280" y="908"/>
                  </a:lnTo>
                  <a:lnTo>
                    <a:pt x="3278" y="880"/>
                  </a:lnTo>
                  <a:lnTo>
                    <a:pt x="3272" y="852"/>
                  </a:lnTo>
                  <a:lnTo>
                    <a:pt x="3268" y="822"/>
                  </a:lnTo>
                  <a:lnTo>
                    <a:pt x="3260" y="796"/>
                  </a:lnTo>
                  <a:lnTo>
                    <a:pt x="3252" y="768"/>
                  </a:lnTo>
                  <a:lnTo>
                    <a:pt x="3244" y="742"/>
                  </a:lnTo>
                  <a:lnTo>
                    <a:pt x="3232" y="716"/>
                  </a:lnTo>
                  <a:lnTo>
                    <a:pt x="3220" y="690"/>
                  </a:lnTo>
                  <a:lnTo>
                    <a:pt x="3208" y="666"/>
                  </a:lnTo>
                  <a:lnTo>
                    <a:pt x="3194" y="642"/>
                  </a:lnTo>
                  <a:lnTo>
                    <a:pt x="3178" y="618"/>
                  </a:lnTo>
                  <a:lnTo>
                    <a:pt x="3162" y="596"/>
                  </a:lnTo>
                  <a:lnTo>
                    <a:pt x="3144" y="574"/>
                  </a:lnTo>
                  <a:lnTo>
                    <a:pt x="3126" y="554"/>
                  </a:lnTo>
                  <a:lnTo>
                    <a:pt x="3108" y="534"/>
                  </a:lnTo>
                  <a:lnTo>
                    <a:pt x="3088" y="516"/>
                  </a:lnTo>
                  <a:lnTo>
                    <a:pt x="3066" y="498"/>
                  </a:lnTo>
                  <a:lnTo>
                    <a:pt x="3044" y="480"/>
                  </a:lnTo>
                  <a:lnTo>
                    <a:pt x="3022" y="464"/>
                  </a:lnTo>
                  <a:lnTo>
                    <a:pt x="2998" y="450"/>
                  </a:lnTo>
                  <a:lnTo>
                    <a:pt x="2974" y="436"/>
                  </a:lnTo>
                  <a:lnTo>
                    <a:pt x="2950" y="424"/>
                  </a:lnTo>
                  <a:lnTo>
                    <a:pt x="2924" y="412"/>
                  </a:lnTo>
                  <a:lnTo>
                    <a:pt x="2898" y="402"/>
                  </a:lnTo>
                  <a:lnTo>
                    <a:pt x="2870" y="394"/>
                  </a:lnTo>
                  <a:lnTo>
                    <a:pt x="2844" y="386"/>
                  </a:lnTo>
                  <a:lnTo>
                    <a:pt x="2816" y="380"/>
                  </a:lnTo>
                  <a:lnTo>
                    <a:pt x="2788" y="374"/>
                  </a:lnTo>
                  <a:lnTo>
                    <a:pt x="2758" y="370"/>
                  </a:lnTo>
                  <a:lnTo>
                    <a:pt x="2730" y="368"/>
                  </a:lnTo>
                  <a:lnTo>
                    <a:pt x="2700" y="368"/>
                  </a:lnTo>
                  <a:lnTo>
                    <a:pt x="2700" y="368"/>
                  </a:lnTo>
                  <a:lnTo>
                    <a:pt x="2654" y="370"/>
                  </a:lnTo>
                  <a:lnTo>
                    <a:pt x="2608" y="374"/>
                  </a:lnTo>
                  <a:lnTo>
                    <a:pt x="2564" y="384"/>
                  </a:lnTo>
                  <a:lnTo>
                    <a:pt x="2522" y="396"/>
                  </a:lnTo>
                  <a:lnTo>
                    <a:pt x="2482" y="410"/>
                  </a:lnTo>
                  <a:lnTo>
                    <a:pt x="2442" y="428"/>
                  </a:lnTo>
                  <a:lnTo>
                    <a:pt x="2404" y="450"/>
                  </a:lnTo>
                  <a:lnTo>
                    <a:pt x="2366" y="472"/>
                  </a:lnTo>
                  <a:lnTo>
                    <a:pt x="2366" y="472"/>
                  </a:lnTo>
                  <a:lnTo>
                    <a:pt x="2334" y="420"/>
                  </a:lnTo>
                  <a:lnTo>
                    <a:pt x="2296" y="372"/>
                  </a:lnTo>
                  <a:lnTo>
                    <a:pt x="2256" y="324"/>
                  </a:lnTo>
                  <a:lnTo>
                    <a:pt x="2214" y="280"/>
                  </a:lnTo>
                  <a:lnTo>
                    <a:pt x="2168" y="238"/>
                  </a:lnTo>
                  <a:lnTo>
                    <a:pt x="2120" y="198"/>
                  </a:lnTo>
                  <a:lnTo>
                    <a:pt x="2070" y="164"/>
                  </a:lnTo>
                  <a:lnTo>
                    <a:pt x="2018" y="130"/>
                  </a:lnTo>
                  <a:lnTo>
                    <a:pt x="1962" y="102"/>
                  </a:lnTo>
                  <a:lnTo>
                    <a:pt x="1906" y="76"/>
                  </a:lnTo>
                  <a:lnTo>
                    <a:pt x="1848" y="54"/>
                  </a:lnTo>
                  <a:lnTo>
                    <a:pt x="1786" y="34"/>
                  </a:lnTo>
                  <a:lnTo>
                    <a:pt x="1724" y="20"/>
                  </a:lnTo>
                  <a:lnTo>
                    <a:pt x="1662" y="10"/>
                  </a:lnTo>
                  <a:lnTo>
                    <a:pt x="1596" y="2"/>
                  </a:lnTo>
                  <a:lnTo>
                    <a:pt x="1530" y="0"/>
                  </a:lnTo>
                  <a:lnTo>
                    <a:pt x="1530" y="0"/>
                  </a:lnTo>
                  <a:lnTo>
                    <a:pt x="1480" y="2"/>
                  </a:lnTo>
                  <a:lnTo>
                    <a:pt x="1430" y="6"/>
                  </a:lnTo>
                  <a:lnTo>
                    <a:pt x="1382" y="12"/>
                  </a:lnTo>
                  <a:lnTo>
                    <a:pt x="1334" y="20"/>
                  </a:lnTo>
                  <a:lnTo>
                    <a:pt x="1286" y="32"/>
                  </a:lnTo>
                  <a:lnTo>
                    <a:pt x="1240" y="44"/>
                  </a:lnTo>
                  <a:lnTo>
                    <a:pt x="1194" y="60"/>
                  </a:lnTo>
                  <a:lnTo>
                    <a:pt x="1150" y="78"/>
                  </a:lnTo>
                  <a:lnTo>
                    <a:pt x="1106" y="96"/>
                  </a:lnTo>
                  <a:lnTo>
                    <a:pt x="1064" y="118"/>
                  </a:lnTo>
                  <a:lnTo>
                    <a:pt x="1024" y="142"/>
                  </a:lnTo>
                  <a:lnTo>
                    <a:pt x="984" y="168"/>
                  </a:lnTo>
                  <a:lnTo>
                    <a:pt x="946" y="194"/>
                  </a:lnTo>
                  <a:lnTo>
                    <a:pt x="908" y="224"/>
                  </a:lnTo>
                  <a:lnTo>
                    <a:pt x="874" y="254"/>
                  </a:lnTo>
                  <a:lnTo>
                    <a:pt x="840" y="286"/>
                  </a:lnTo>
                  <a:lnTo>
                    <a:pt x="808" y="320"/>
                  </a:lnTo>
                  <a:lnTo>
                    <a:pt x="776" y="356"/>
                  </a:lnTo>
                  <a:lnTo>
                    <a:pt x="748" y="394"/>
                  </a:lnTo>
                  <a:lnTo>
                    <a:pt x="720" y="432"/>
                  </a:lnTo>
                  <a:lnTo>
                    <a:pt x="694" y="470"/>
                  </a:lnTo>
                  <a:lnTo>
                    <a:pt x="672" y="512"/>
                  </a:lnTo>
                  <a:lnTo>
                    <a:pt x="650" y="554"/>
                  </a:lnTo>
                  <a:lnTo>
                    <a:pt x="630" y="598"/>
                  </a:lnTo>
                  <a:lnTo>
                    <a:pt x="612" y="642"/>
                  </a:lnTo>
                  <a:lnTo>
                    <a:pt x="598" y="688"/>
                  </a:lnTo>
                  <a:lnTo>
                    <a:pt x="584" y="734"/>
                  </a:lnTo>
                  <a:lnTo>
                    <a:pt x="574" y="780"/>
                  </a:lnTo>
                  <a:lnTo>
                    <a:pt x="564" y="828"/>
                  </a:lnTo>
                  <a:lnTo>
                    <a:pt x="558" y="878"/>
                  </a:lnTo>
                  <a:lnTo>
                    <a:pt x="554" y="928"/>
                  </a:lnTo>
                  <a:lnTo>
                    <a:pt x="554" y="978"/>
                  </a:lnTo>
                  <a:lnTo>
                    <a:pt x="554" y="978"/>
                  </a:lnTo>
                  <a:lnTo>
                    <a:pt x="554" y="1012"/>
                  </a:lnTo>
                  <a:lnTo>
                    <a:pt x="556" y="1046"/>
                  </a:lnTo>
                  <a:lnTo>
                    <a:pt x="556" y="1046"/>
                  </a:lnTo>
                  <a:lnTo>
                    <a:pt x="556" y="1054"/>
                  </a:lnTo>
                  <a:lnTo>
                    <a:pt x="560" y="1056"/>
                  </a:lnTo>
                  <a:lnTo>
                    <a:pt x="560" y="1056"/>
                  </a:lnTo>
                  <a:lnTo>
                    <a:pt x="502" y="1074"/>
                  </a:lnTo>
                  <a:lnTo>
                    <a:pt x="444" y="1094"/>
                  </a:lnTo>
                  <a:lnTo>
                    <a:pt x="388" y="1120"/>
                  </a:lnTo>
                  <a:lnTo>
                    <a:pt x="336" y="1148"/>
                  </a:lnTo>
                  <a:lnTo>
                    <a:pt x="288" y="1180"/>
                  </a:lnTo>
                  <a:lnTo>
                    <a:pt x="242" y="1214"/>
                  </a:lnTo>
                  <a:lnTo>
                    <a:pt x="198" y="1252"/>
                  </a:lnTo>
                  <a:lnTo>
                    <a:pt x="158" y="1292"/>
                  </a:lnTo>
                  <a:lnTo>
                    <a:pt x="124" y="1336"/>
                  </a:lnTo>
                  <a:lnTo>
                    <a:pt x="106" y="1360"/>
                  </a:lnTo>
                  <a:lnTo>
                    <a:pt x="92" y="1384"/>
                  </a:lnTo>
                  <a:lnTo>
                    <a:pt x="78" y="1408"/>
                  </a:lnTo>
                  <a:lnTo>
                    <a:pt x="64" y="1432"/>
                  </a:lnTo>
                  <a:lnTo>
                    <a:pt x="52" y="1458"/>
                  </a:lnTo>
                  <a:lnTo>
                    <a:pt x="42" y="1484"/>
                  </a:lnTo>
                  <a:lnTo>
                    <a:pt x="32" y="1510"/>
                  </a:lnTo>
                  <a:lnTo>
                    <a:pt x="24" y="1538"/>
                  </a:lnTo>
                  <a:lnTo>
                    <a:pt x="16" y="1566"/>
                  </a:lnTo>
                  <a:lnTo>
                    <a:pt x="10" y="1594"/>
                  </a:lnTo>
                  <a:lnTo>
                    <a:pt x="6" y="1622"/>
                  </a:lnTo>
                  <a:lnTo>
                    <a:pt x="2" y="1652"/>
                  </a:lnTo>
                  <a:lnTo>
                    <a:pt x="0" y="1682"/>
                  </a:lnTo>
                  <a:lnTo>
                    <a:pt x="0" y="1712"/>
                  </a:lnTo>
                  <a:lnTo>
                    <a:pt x="0" y="1712"/>
                  </a:lnTo>
                  <a:lnTo>
                    <a:pt x="0" y="1748"/>
                  </a:lnTo>
                  <a:lnTo>
                    <a:pt x="2" y="1782"/>
                  </a:lnTo>
                  <a:lnTo>
                    <a:pt x="8" y="1816"/>
                  </a:lnTo>
                  <a:lnTo>
                    <a:pt x="14" y="1848"/>
                  </a:lnTo>
                  <a:lnTo>
                    <a:pt x="22" y="1880"/>
                  </a:lnTo>
                  <a:lnTo>
                    <a:pt x="32" y="1912"/>
                  </a:lnTo>
                  <a:lnTo>
                    <a:pt x="44" y="1942"/>
                  </a:lnTo>
                  <a:lnTo>
                    <a:pt x="58" y="1970"/>
                  </a:lnTo>
                  <a:lnTo>
                    <a:pt x="72" y="1998"/>
                  </a:lnTo>
                  <a:lnTo>
                    <a:pt x="88" y="2026"/>
                  </a:lnTo>
                  <a:lnTo>
                    <a:pt x="106" y="2052"/>
                  </a:lnTo>
                  <a:lnTo>
                    <a:pt x="126" y="2076"/>
                  </a:lnTo>
                  <a:lnTo>
                    <a:pt x="146" y="2100"/>
                  </a:lnTo>
                  <a:lnTo>
                    <a:pt x="170" y="2124"/>
                  </a:lnTo>
                  <a:lnTo>
                    <a:pt x="192" y="2146"/>
                  </a:lnTo>
                  <a:lnTo>
                    <a:pt x="218" y="2166"/>
                  </a:lnTo>
                  <a:lnTo>
                    <a:pt x="244" y="2186"/>
                  </a:lnTo>
                  <a:lnTo>
                    <a:pt x="270" y="2204"/>
                  </a:lnTo>
                  <a:lnTo>
                    <a:pt x="298" y="2222"/>
                  </a:lnTo>
                  <a:lnTo>
                    <a:pt x="328" y="2238"/>
                  </a:lnTo>
                  <a:lnTo>
                    <a:pt x="358" y="2252"/>
                  </a:lnTo>
                  <a:lnTo>
                    <a:pt x="388" y="2266"/>
                  </a:lnTo>
                  <a:lnTo>
                    <a:pt x="420" y="2278"/>
                  </a:lnTo>
                  <a:lnTo>
                    <a:pt x="454" y="2290"/>
                  </a:lnTo>
                  <a:lnTo>
                    <a:pt x="488" y="2300"/>
                  </a:lnTo>
                  <a:lnTo>
                    <a:pt x="522" y="2308"/>
                  </a:lnTo>
                  <a:lnTo>
                    <a:pt x="558" y="2316"/>
                  </a:lnTo>
                  <a:lnTo>
                    <a:pt x="594" y="2322"/>
                  </a:lnTo>
                  <a:lnTo>
                    <a:pt x="630" y="2326"/>
                  </a:lnTo>
                  <a:lnTo>
                    <a:pt x="668" y="2330"/>
                  </a:lnTo>
                  <a:lnTo>
                    <a:pt x="706" y="2332"/>
                  </a:lnTo>
                  <a:lnTo>
                    <a:pt x="744" y="2332"/>
                  </a:lnTo>
                  <a:lnTo>
                    <a:pt x="3026" y="2332"/>
                  </a:lnTo>
                  <a:lnTo>
                    <a:pt x="3026" y="2332"/>
                  </a:lnTo>
                  <a:lnTo>
                    <a:pt x="3106" y="2322"/>
                  </a:lnTo>
                  <a:lnTo>
                    <a:pt x="3182" y="2308"/>
                  </a:lnTo>
                  <a:lnTo>
                    <a:pt x="3256" y="2292"/>
                  </a:lnTo>
                  <a:lnTo>
                    <a:pt x="3326" y="2272"/>
                  </a:lnTo>
                  <a:lnTo>
                    <a:pt x="3360" y="2260"/>
                  </a:lnTo>
                  <a:lnTo>
                    <a:pt x="3394" y="2248"/>
                  </a:lnTo>
                  <a:lnTo>
                    <a:pt x="3426" y="2234"/>
                  </a:lnTo>
                  <a:lnTo>
                    <a:pt x="3456" y="2220"/>
                  </a:lnTo>
                  <a:lnTo>
                    <a:pt x="3486" y="2204"/>
                  </a:lnTo>
                  <a:lnTo>
                    <a:pt x="3516" y="2188"/>
                  </a:lnTo>
                  <a:lnTo>
                    <a:pt x="3544" y="2170"/>
                  </a:lnTo>
                  <a:lnTo>
                    <a:pt x="3570" y="2152"/>
                  </a:lnTo>
                  <a:lnTo>
                    <a:pt x="3594" y="2132"/>
                  </a:lnTo>
                  <a:lnTo>
                    <a:pt x="3618" y="2112"/>
                  </a:lnTo>
                  <a:lnTo>
                    <a:pt x="3640" y="2090"/>
                  </a:lnTo>
                  <a:lnTo>
                    <a:pt x="3662" y="2068"/>
                  </a:lnTo>
                  <a:lnTo>
                    <a:pt x="3682" y="2044"/>
                  </a:lnTo>
                  <a:lnTo>
                    <a:pt x="3700" y="2018"/>
                  </a:lnTo>
                  <a:lnTo>
                    <a:pt x="3716" y="1992"/>
                  </a:lnTo>
                  <a:lnTo>
                    <a:pt x="3732" y="1964"/>
                  </a:lnTo>
                  <a:lnTo>
                    <a:pt x="3744" y="1936"/>
                  </a:lnTo>
                  <a:lnTo>
                    <a:pt x="3756" y="1906"/>
                  </a:lnTo>
                  <a:lnTo>
                    <a:pt x="3766" y="1876"/>
                  </a:lnTo>
                  <a:lnTo>
                    <a:pt x="3774" y="1844"/>
                  </a:lnTo>
                  <a:lnTo>
                    <a:pt x="3782" y="1810"/>
                  </a:lnTo>
                  <a:lnTo>
                    <a:pt x="3786" y="1774"/>
                  </a:lnTo>
                  <a:lnTo>
                    <a:pt x="3790" y="1738"/>
                  </a:lnTo>
                  <a:lnTo>
                    <a:pt x="3790" y="1700"/>
                  </a:lnTo>
                  <a:close/>
                </a:path>
              </a:pathLst>
            </a:custGeom>
            <a:grpFill/>
            <a:ln>
              <a:noFill/>
            </a:ln>
          </p:spPr>
          <p:txBody>
            <a:bodyPr vert="horz" wrap="square" lIns="87867" tIns="43934" rIns="87867" bIns="43934" numCol="1" anchor="t" anchorCtr="0" compatLnSpc="1">
              <a:prstTxWarp prst="textNoShape">
                <a:avLst/>
              </a:prstTxWarp>
            </a:bodyPr>
            <a:lstStyle/>
            <a:p>
              <a:pPr defTabSz="914220"/>
              <a:endParaRPr lang="en-US" sz="1766" dirty="0">
                <a:solidFill>
                  <a:srgbClr val="000000"/>
                </a:solidFill>
              </a:endParaRPr>
            </a:p>
          </p:txBody>
        </p:sp>
        <p:grpSp>
          <p:nvGrpSpPr>
            <p:cNvPr id="17" name="Group 45"/>
            <p:cNvGrpSpPr/>
            <p:nvPr/>
          </p:nvGrpSpPr>
          <p:grpSpPr>
            <a:xfrm>
              <a:off x="526999" y="4304912"/>
              <a:ext cx="704894" cy="1077212"/>
              <a:chOff x="480937" y="3786752"/>
              <a:chExt cx="708101" cy="1082111"/>
            </a:xfrm>
            <a:grpFill/>
          </p:grpSpPr>
          <p:sp>
            <p:nvSpPr>
              <p:cNvPr id="18" name="Rectangle 46"/>
              <p:cNvSpPr/>
              <p:nvPr/>
            </p:nvSpPr>
            <p:spPr bwMode="auto">
              <a:xfrm>
                <a:off x="515628" y="3819265"/>
                <a:ext cx="378333" cy="16921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5" tIns="140588" rIns="175735" bIns="140588" numCol="1" spcCol="0" rtlCol="0" fromWordArt="0" anchor="t" anchorCtr="0" forceAA="0" compatLnSpc="1">
                <a:prstTxWarp prst="textNoShape">
                  <a:avLst/>
                </a:prstTxWarp>
                <a:noAutofit/>
              </a:bodyPr>
              <a:lstStyle/>
              <a:p>
                <a:pPr algn="ctr" defTabSz="913956"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9" name="Group 47"/>
              <p:cNvGrpSpPr/>
              <p:nvPr/>
            </p:nvGrpSpPr>
            <p:grpSpPr>
              <a:xfrm>
                <a:off x="480937" y="3786752"/>
                <a:ext cx="708101" cy="1082111"/>
                <a:chOff x="537043" y="4136923"/>
                <a:chExt cx="1187061" cy="1814051"/>
              </a:xfrm>
              <a:grpFill/>
            </p:grpSpPr>
            <p:sp>
              <p:nvSpPr>
                <p:cNvPr id="20" name="Rectangle 30"/>
                <p:cNvSpPr/>
                <p:nvPr/>
              </p:nvSpPr>
              <p:spPr>
                <a:xfrm>
                  <a:off x="1003226" y="4854116"/>
                  <a:ext cx="720878" cy="1096858"/>
                </a:xfrm>
                <a:custGeom>
                  <a:avLst/>
                  <a:gdLst/>
                  <a:ahLst/>
                  <a:cxnLst/>
                  <a:rect l="l" t="t" r="r" b="b"/>
                  <a:pathLst>
                    <a:path w="720878" h="1096858">
                      <a:moveTo>
                        <a:pt x="398934" y="811889"/>
                      </a:moveTo>
                      <a:lnTo>
                        <a:pt x="398934" y="981222"/>
                      </a:lnTo>
                      <a:lnTo>
                        <a:pt x="562623" y="981222"/>
                      </a:lnTo>
                      <a:lnTo>
                        <a:pt x="562623" y="811889"/>
                      </a:lnTo>
                      <a:close/>
                      <a:moveTo>
                        <a:pt x="140837" y="811889"/>
                      </a:moveTo>
                      <a:lnTo>
                        <a:pt x="140837" y="981222"/>
                      </a:lnTo>
                      <a:lnTo>
                        <a:pt x="304526" y="981222"/>
                      </a:lnTo>
                      <a:lnTo>
                        <a:pt x="304526" y="811889"/>
                      </a:lnTo>
                      <a:close/>
                      <a:moveTo>
                        <a:pt x="398934" y="583580"/>
                      </a:moveTo>
                      <a:lnTo>
                        <a:pt x="398934" y="752913"/>
                      </a:lnTo>
                      <a:lnTo>
                        <a:pt x="562623" y="752913"/>
                      </a:lnTo>
                      <a:lnTo>
                        <a:pt x="562623" y="583580"/>
                      </a:lnTo>
                      <a:close/>
                      <a:moveTo>
                        <a:pt x="140837" y="583580"/>
                      </a:moveTo>
                      <a:lnTo>
                        <a:pt x="140837" y="752913"/>
                      </a:lnTo>
                      <a:lnTo>
                        <a:pt x="304526" y="752913"/>
                      </a:lnTo>
                      <a:lnTo>
                        <a:pt x="304526" y="583580"/>
                      </a:lnTo>
                      <a:close/>
                      <a:moveTo>
                        <a:pt x="398934" y="362353"/>
                      </a:moveTo>
                      <a:lnTo>
                        <a:pt x="398934" y="531686"/>
                      </a:lnTo>
                      <a:lnTo>
                        <a:pt x="562623" y="531686"/>
                      </a:lnTo>
                      <a:lnTo>
                        <a:pt x="562623" y="362353"/>
                      </a:lnTo>
                      <a:close/>
                      <a:moveTo>
                        <a:pt x="140837" y="362353"/>
                      </a:moveTo>
                      <a:lnTo>
                        <a:pt x="140837" y="531686"/>
                      </a:lnTo>
                      <a:lnTo>
                        <a:pt x="304526" y="531686"/>
                      </a:lnTo>
                      <a:lnTo>
                        <a:pt x="304526" y="362353"/>
                      </a:lnTo>
                      <a:close/>
                      <a:moveTo>
                        <a:pt x="398934" y="121463"/>
                      </a:moveTo>
                      <a:lnTo>
                        <a:pt x="398934" y="290796"/>
                      </a:lnTo>
                      <a:lnTo>
                        <a:pt x="562623" y="290796"/>
                      </a:lnTo>
                      <a:lnTo>
                        <a:pt x="562623" y="121463"/>
                      </a:lnTo>
                      <a:close/>
                      <a:moveTo>
                        <a:pt x="140837" y="121463"/>
                      </a:moveTo>
                      <a:lnTo>
                        <a:pt x="140837" y="290796"/>
                      </a:lnTo>
                      <a:lnTo>
                        <a:pt x="304526" y="290796"/>
                      </a:lnTo>
                      <a:lnTo>
                        <a:pt x="304526" y="121463"/>
                      </a:lnTo>
                      <a:close/>
                      <a:moveTo>
                        <a:pt x="0" y="0"/>
                      </a:moveTo>
                      <a:lnTo>
                        <a:pt x="720878" y="0"/>
                      </a:lnTo>
                      <a:lnTo>
                        <a:pt x="720878" y="1096858"/>
                      </a:lnTo>
                      <a:lnTo>
                        <a:pt x="0" y="1096858"/>
                      </a:lnTo>
                      <a:close/>
                    </a:path>
                  </a:pathLst>
                </a:custGeom>
                <a:grpFill/>
                <a:ln w="25400" cap="flat" cmpd="sng" algn="ctr">
                  <a:noFill/>
                  <a:prstDash val="solid"/>
                </a:ln>
                <a:effectLst/>
              </p:spPr>
              <p:txBody>
                <a:bodyPr rtlCol="0" anchor="ctr"/>
                <a:lstStyle/>
                <a:p>
                  <a:pPr algn="ctr" defTabSz="914307">
                    <a:defRPr/>
                  </a:pPr>
                  <a:endParaRPr lang="en-US" sz="1766" kern="0" dirty="0">
                    <a:solidFill>
                      <a:srgbClr val="FFFFFF"/>
                    </a:solidFill>
                  </a:endParaRPr>
                </a:p>
              </p:txBody>
            </p:sp>
            <p:sp>
              <p:nvSpPr>
                <p:cNvPr id="21" name="Rectangle 31"/>
                <p:cNvSpPr/>
                <p:nvPr/>
              </p:nvSpPr>
              <p:spPr>
                <a:xfrm>
                  <a:off x="537043" y="4136923"/>
                  <a:ext cx="766917" cy="1814051"/>
                </a:xfrm>
                <a:custGeom>
                  <a:avLst/>
                  <a:gdLst/>
                  <a:ahLst/>
                  <a:cxnLst/>
                  <a:rect l="l" t="t" r="r" b="b"/>
                  <a:pathLst>
                    <a:path w="766916" h="1814051">
                      <a:moveTo>
                        <a:pt x="167877" y="1280651"/>
                      </a:moveTo>
                      <a:lnTo>
                        <a:pt x="167877" y="1449984"/>
                      </a:lnTo>
                      <a:lnTo>
                        <a:pt x="331566" y="1449984"/>
                      </a:lnTo>
                      <a:lnTo>
                        <a:pt x="331566" y="1280651"/>
                      </a:lnTo>
                      <a:close/>
                      <a:moveTo>
                        <a:pt x="167877" y="1066800"/>
                      </a:moveTo>
                      <a:lnTo>
                        <a:pt x="167877" y="1236133"/>
                      </a:lnTo>
                      <a:lnTo>
                        <a:pt x="331566" y="1236133"/>
                      </a:lnTo>
                      <a:lnTo>
                        <a:pt x="331566" y="1066800"/>
                      </a:lnTo>
                      <a:close/>
                      <a:moveTo>
                        <a:pt x="167877" y="838200"/>
                      </a:moveTo>
                      <a:lnTo>
                        <a:pt x="167877" y="1007533"/>
                      </a:lnTo>
                      <a:lnTo>
                        <a:pt x="331566" y="1007533"/>
                      </a:lnTo>
                      <a:lnTo>
                        <a:pt x="331566" y="838200"/>
                      </a:lnTo>
                      <a:close/>
                      <a:moveTo>
                        <a:pt x="167877" y="599477"/>
                      </a:moveTo>
                      <a:lnTo>
                        <a:pt x="167877" y="768810"/>
                      </a:lnTo>
                      <a:lnTo>
                        <a:pt x="331566" y="768810"/>
                      </a:lnTo>
                      <a:lnTo>
                        <a:pt x="331566" y="599477"/>
                      </a:lnTo>
                      <a:close/>
                      <a:moveTo>
                        <a:pt x="433348" y="366252"/>
                      </a:moveTo>
                      <a:lnTo>
                        <a:pt x="433348" y="535585"/>
                      </a:lnTo>
                      <a:lnTo>
                        <a:pt x="597037" y="535585"/>
                      </a:lnTo>
                      <a:lnTo>
                        <a:pt x="597037" y="366252"/>
                      </a:lnTo>
                      <a:close/>
                      <a:moveTo>
                        <a:pt x="167877" y="366251"/>
                      </a:moveTo>
                      <a:lnTo>
                        <a:pt x="167877" y="535584"/>
                      </a:lnTo>
                      <a:lnTo>
                        <a:pt x="331566" y="535584"/>
                      </a:lnTo>
                      <a:lnTo>
                        <a:pt x="331566" y="366251"/>
                      </a:lnTo>
                      <a:close/>
                      <a:moveTo>
                        <a:pt x="433348" y="130277"/>
                      </a:moveTo>
                      <a:lnTo>
                        <a:pt x="433348" y="299610"/>
                      </a:lnTo>
                      <a:lnTo>
                        <a:pt x="597037" y="299610"/>
                      </a:lnTo>
                      <a:lnTo>
                        <a:pt x="597037" y="130277"/>
                      </a:lnTo>
                      <a:close/>
                      <a:moveTo>
                        <a:pt x="167876" y="130277"/>
                      </a:moveTo>
                      <a:lnTo>
                        <a:pt x="167876" y="299610"/>
                      </a:lnTo>
                      <a:lnTo>
                        <a:pt x="331565" y="299610"/>
                      </a:lnTo>
                      <a:lnTo>
                        <a:pt x="331565" y="130277"/>
                      </a:lnTo>
                      <a:close/>
                      <a:moveTo>
                        <a:pt x="0" y="0"/>
                      </a:moveTo>
                      <a:lnTo>
                        <a:pt x="766916" y="0"/>
                      </a:lnTo>
                      <a:lnTo>
                        <a:pt x="766916" y="661479"/>
                      </a:lnTo>
                      <a:lnTo>
                        <a:pt x="406219" y="661479"/>
                      </a:lnTo>
                      <a:lnTo>
                        <a:pt x="406219" y="1814051"/>
                      </a:lnTo>
                      <a:lnTo>
                        <a:pt x="0" y="1814051"/>
                      </a:lnTo>
                      <a:close/>
                    </a:path>
                  </a:pathLst>
                </a:custGeom>
                <a:grpFill/>
                <a:ln w="25400" cap="flat" cmpd="sng" algn="ctr">
                  <a:noFill/>
                  <a:prstDash val="solid"/>
                </a:ln>
                <a:effectLst/>
              </p:spPr>
              <p:txBody>
                <a:bodyPr rtlCol="0" anchor="ctr"/>
                <a:lstStyle/>
                <a:p>
                  <a:pPr algn="ctr" defTabSz="914307">
                    <a:defRPr/>
                  </a:pPr>
                  <a:endParaRPr lang="en-US" sz="1766" kern="0" dirty="0">
                    <a:solidFill>
                      <a:srgbClr val="FFFFFF"/>
                    </a:solidFill>
                  </a:endParaRPr>
                </a:p>
              </p:txBody>
            </p:sp>
          </p:grpSp>
        </p:grpSp>
      </p:grpSp>
      <p:sp>
        <p:nvSpPr>
          <p:cNvPr id="22" name="TextBox 21"/>
          <p:cNvSpPr txBox="1"/>
          <p:nvPr/>
        </p:nvSpPr>
        <p:spPr>
          <a:xfrm>
            <a:off x="6820420" y="1142570"/>
            <a:ext cx="2815118" cy="452583"/>
          </a:xfrm>
          <a:prstGeom prst="rect">
            <a:avLst/>
          </a:prstGeom>
        </p:spPr>
        <p:txBody>
          <a:bodyPr vert="horz" wrap="none" lIns="91440" tIns="91440" rIns="91440" bIns="91440" rtlCol="0" anchor="t">
            <a:noAutofit/>
          </a:bodyPr>
          <a:lstStyle/>
          <a:p>
            <a:r>
              <a:rPr lang="ru-RU" b="1" dirty="0">
                <a:latin typeface="Segoe UI" pitchFamily="34" charset="0"/>
                <a:ea typeface="Segoe UI" pitchFamily="34" charset="0"/>
                <a:cs typeface="Segoe UI" pitchFamily="34" charset="0"/>
              </a:rPr>
              <a:t>Хранение и обработка данных</a:t>
            </a:r>
          </a:p>
        </p:txBody>
      </p:sp>
      <p:sp>
        <p:nvSpPr>
          <p:cNvPr id="24" name="TextBox 23"/>
          <p:cNvSpPr txBox="1"/>
          <p:nvPr/>
        </p:nvSpPr>
        <p:spPr>
          <a:xfrm>
            <a:off x="1034582" y="3955578"/>
            <a:ext cx="3046027" cy="452583"/>
          </a:xfrm>
          <a:prstGeom prst="rect">
            <a:avLst/>
          </a:prstGeom>
        </p:spPr>
        <p:txBody>
          <a:bodyPr vert="horz" wrap="none" lIns="91440" tIns="91440" rIns="91440" bIns="91440" rtlCol="0" anchor="t">
            <a:noAutofit/>
          </a:bodyPr>
          <a:lstStyle/>
          <a:p>
            <a:r>
              <a:rPr lang="ru-RU" b="1" dirty="0">
                <a:latin typeface="Segoe UI" pitchFamily="34" charset="0"/>
                <a:ea typeface="Segoe UI" pitchFamily="34" charset="0"/>
                <a:cs typeface="Segoe UI" pitchFamily="34" charset="0"/>
              </a:rPr>
              <a:t>Принятие решения заказчиком</a:t>
            </a:r>
          </a:p>
        </p:txBody>
      </p:sp>
      <p:pic>
        <p:nvPicPr>
          <p:cNvPr id="25" name="Рисунок 24"/>
          <p:cNvPicPr>
            <a:picLocks noChangeAspect="1"/>
          </p:cNvPicPr>
          <p:nvPr/>
        </p:nvPicPr>
        <p:blipFill>
          <a:blip r:embed="rId7"/>
          <a:stretch>
            <a:fillRect/>
          </a:stretch>
        </p:blipFill>
        <p:spPr>
          <a:xfrm>
            <a:off x="7949139" y="4804190"/>
            <a:ext cx="1328886" cy="762977"/>
          </a:xfrm>
          <a:prstGeom prst="rect">
            <a:avLst/>
          </a:prstGeom>
        </p:spPr>
      </p:pic>
      <p:pic>
        <p:nvPicPr>
          <p:cNvPr id="26" name="Рисунок 25"/>
          <p:cNvPicPr>
            <a:picLocks noChangeAspect="1"/>
          </p:cNvPicPr>
          <p:nvPr/>
        </p:nvPicPr>
        <p:blipFill>
          <a:blip r:embed="rId8"/>
          <a:stretch>
            <a:fillRect/>
          </a:stretch>
        </p:blipFill>
        <p:spPr>
          <a:xfrm>
            <a:off x="1487489" y="4759809"/>
            <a:ext cx="730013" cy="730800"/>
          </a:xfrm>
          <a:prstGeom prst="rect">
            <a:avLst/>
          </a:prstGeom>
        </p:spPr>
      </p:pic>
      <p:pic>
        <p:nvPicPr>
          <p:cNvPr id="27" name="Рисунок 26"/>
          <p:cNvPicPr>
            <a:picLocks noChangeAspect="1"/>
          </p:cNvPicPr>
          <p:nvPr/>
        </p:nvPicPr>
        <p:blipFill>
          <a:blip r:embed="rId9"/>
          <a:stretch>
            <a:fillRect/>
          </a:stretch>
        </p:blipFill>
        <p:spPr>
          <a:xfrm>
            <a:off x="2364463" y="4759809"/>
            <a:ext cx="816919" cy="717750"/>
          </a:xfrm>
          <a:prstGeom prst="rect">
            <a:avLst/>
          </a:prstGeom>
        </p:spPr>
      </p:pic>
      <p:pic>
        <p:nvPicPr>
          <p:cNvPr id="28" name="Рисунок 27"/>
          <p:cNvPicPr>
            <a:picLocks noChangeAspect="1"/>
          </p:cNvPicPr>
          <p:nvPr/>
        </p:nvPicPr>
        <p:blipFill>
          <a:blip r:embed="rId10"/>
          <a:stretch>
            <a:fillRect/>
          </a:stretch>
        </p:blipFill>
        <p:spPr>
          <a:xfrm>
            <a:off x="3436850" y="4759809"/>
            <a:ext cx="741284" cy="742084"/>
          </a:xfrm>
          <a:prstGeom prst="rect">
            <a:avLst/>
          </a:prstGeom>
        </p:spPr>
      </p:pic>
      <p:sp>
        <p:nvSpPr>
          <p:cNvPr id="29" name="Прямоугольник: скругленные углы 28"/>
          <p:cNvSpPr/>
          <p:nvPr/>
        </p:nvSpPr>
        <p:spPr>
          <a:xfrm>
            <a:off x="884692" y="1667163"/>
            <a:ext cx="4132937" cy="1971964"/>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ru-RU" sz="1200" dirty="0" err="1"/>
          </a:p>
        </p:txBody>
      </p:sp>
      <p:sp>
        <p:nvSpPr>
          <p:cNvPr id="30" name="Прямоугольник: скругленные углы 29"/>
          <p:cNvSpPr/>
          <p:nvPr/>
        </p:nvSpPr>
        <p:spPr>
          <a:xfrm>
            <a:off x="6696336" y="1708514"/>
            <a:ext cx="3771005" cy="1889262"/>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ru-RU" sz="1200" dirty="0" err="1"/>
          </a:p>
        </p:txBody>
      </p:sp>
      <p:sp>
        <p:nvSpPr>
          <p:cNvPr id="31" name="Прямоугольник: скругленные углы 30"/>
          <p:cNvSpPr/>
          <p:nvPr/>
        </p:nvSpPr>
        <p:spPr>
          <a:xfrm>
            <a:off x="6646792" y="4484963"/>
            <a:ext cx="3870092" cy="1766029"/>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ru-RU" sz="1200" dirty="0" err="1"/>
          </a:p>
        </p:txBody>
      </p:sp>
      <p:sp>
        <p:nvSpPr>
          <p:cNvPr id="32" name="Прямоугольник: скругленные углы 31"/>
          <p:cNvSpPr/>
          <p:nvPr/>
        </p:nvSpPr>
        <p:spPr>
          <a:xfrm>
            <a:off x="884692" y="4427520"/>
            <a:ext cx="4041040" cy="1880916"/>
          </a:xfrm>
          <a:prstGeom prst="roundRect">
            <a:avLst/>
          </a:prstGeom>
          <a:noFill/>
          <a:ln w="1905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ru-RU" sz="1200" dirty="0" err="1"/>
          </a:p>
        </p:txBody>
      </p:sp>
      <p:sp>
        <p:nvSpPr>
          <p:cNvPr id="33" name="TextBox 32"/>
          <p:cNvSpPr txBox="1"/>
          <p:nvPr/>
        </p:nvSpPr>
        <p:spPr>
          <a:xfrm>
            <a:off x="6589511" y="3977315"/>
            <a:ext cx="3046027" cy="452583"/>
          </a:xfrm>
          <a:prstGeom prst="rect">
            <a:avLst/>
          </a:prstGeom>
        </p:spPr>
        <p:txBody>
          <a:bodyPr vert="horz" wrap="none" lIns="91440" tIns="91440" rIns="91440" bIns="91440" rtlCol="0" anchor="t">
            <a:noAutofit/>
          </a:bodyPr>
          <a:lstStyle/>
          <a:p>
            <a:r>
              <a:rPr lang="ru-RU" b="1" dirty="0">
                <a:latin typeface="Segoe UI" pitchFamily="34" charset="0"/>
                <a:ea typeface="Segoe UI" pitchFamily="34" charset="0"/>
                <a:cs typeface="Segoe UI" pitchFamily="34" charset="0"/>
              </a:rPr>
              <a:t>Аналитика и прогнозная аналитика</a:t>
            </a:r>
          </a:p>
        </p:txBody>
      </p:sp>
      <p:cxnSp>
        <p:nvCxnSpPr>
          <p:cNvPr id="35" name="Прямая со стрелкой 34"/>
          <p:cNvCxnSpPr>
            <a:stCxn id="29" idx="3"/>
            <a:endCxn id="30" idx="1"/>
          </p:cNvCxnSpPr>
          <p:nvPr/>
        </p:nvCxnSpPr>
        <p:spPr>
          <a:xfrm>
            <a:off x="5017629" y="2653145"/>
            <a:ext cx="1678707"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40" name="Прямая со стрелкой 39"/>
          <p:cNvCxnSpPr>
            <a:stCxn id="31" idx="1"/>
            <a:endCxn id="32" idx="3"/>
          </p:cNvCxnSpPr>
          <p:nvPr/>
        </p:nvCxnSpPr>
        <p:spPr>
          <a:xfrm flipH="1">
            <a:off x="4925732" y="5367978"/>
            <a:ext cx="1721060" cy="0"/>
          </a:xfrm>
          <a:prstGeom prst="straightConnector1">
            <a:avLst/>
          </a:prstGeom>
          <a:ln>
            <a:tailEnd type="triangle"/>
          </a:ln>
        </p:spPr>
        <p:style>
          <a:lnRef idx="3">
            <a:schemeClr val="dk1"/>
          </a:lnRef>
          <a:fillRef idx="0">
            <a:schemeClr val="dk1"/>
          </a:fillRef>
          <a:effectRef idx="2">
            <a:schemeClr val="dk1"/>
          </a:effectRef>
          <a:fontRef idx="minor">
            <a:schemeClr val="tx1"/>
          </a:fontRef>
        </p:style>
      </p:cxnSp>
      <p:cxnSp>
        <p:nvCxnSpPr>
          <p:cNvPr id="53" name="Соединитель: уступ 52"/>
          <p:cNvCxnSpPr>
            <a:endCxn id="31" idx="3"/>
          </p:cNvCxnSpPr>
          <p:nvPr/>
        </p:nvCxnSpPr>
        <p:spPr>
          <a:xfrm rot="16200000" flipH="1">
            <a:off x="9065910" y="3917003"/>
            <a:ext cx="2852405" cy="49543"/>
          </a:xfrm>
          <a:prstGeom prst="bentConnector4">
            <a:avLst>
              <a:gd name="adj1" fmla="val 1493"/>
              <a:gd name="adj2" fmla="val 2332515"/>
            </a:avLst>
          </a:prstGeom>
          <a:ln>
            <a:tailEnd type="triangle"/>
          </a:ln>
        </p:spPr>
        <p:style>
          <a:lnRef idx="3">
            <a:schemeClr val="dk1"/>
          </a:lnRef>
          <a:fillRef idx="0">
            <a:schemeClr val="dk1"/>
          </a:fillRef>
          <a:effectRef idx="2">
            <a:schemeClr val="dk1"/>
          </a:effectRef>
          <a:fontRef idx="minor">
            <a:schemeClr val="tx1"/>
          </a:fontRef>
        </p:style>
      </p:cxnSp>
      <p:sp>
        <p:nvSpPr>
          <p:cNvPr id="59" name="TextBox 58"/>
          <p:cNvSpPr txBox="1"/>
          <p:nvPr/>
        </p:nvSpPr>
        <p:spPr>
          <a:xfrm>
            <a:off x="7310744" y="3006442"/>
            <a:ext cx="914400" cy="318336"/>
          </a:xfrm>
          <a:prstGeom prst="rect">
            <a:avLst/>
          </a:prstGeom>
        </p:spPr>
        <p:txBody>
          <a:bodyPr vert="horz" wrap="none" lIns="91440" tIns="91440" rIns="91440" bIns="91440" rtlCol="0" anchor="t">
            <a:noAutofit/>
          </a:bodyPr>
          <a:lstStyle/>
          <a:p>
            <a:r>
              <a:rPr lang="ru-RU" sz="1600" dirty="0">
                <a:latin typeface="Segoe UI" pitchFamily="34" charset="0"/>
                <a:ea typeface="Segoe UI" pitchFamily="34" charset="0"/>
                <a:cs typeface="Segoe UI" pitchFamily="34" charset="0"/>
              </a:rPr>
              <a:t>ДЦ клиента</a:t>
            </a:r>
          </a:p>
        </p:txBody>
      </p:sp>
      <p:sp>
        <p:nvSpPr>
          <p:cNvPr id="60" name="TextBox 59"/>
          <p:cNvSpPr txBox="1"/>
          <p:nvPr/>
        </p:nvSpPr>
        <p:spPr>
          <a:xfrm>
            <a:off x="9000748" y="3015678"/>
            <a:ext cx="914400" cy="420144"/>
          </a:xfrm>
          <a:prstGeom prst="rect">
            <a:avLst/>
          </a:prstGeom>
        </p:spPr>
        <p:txBody>
          <a:bodyPr vert="horz" wrap="none" lIns="91440" tIns="91440" rIns="91440" bIns="91440" rtlCol="0" anchor="t">
            <a:noAutofit/>
          </a:bodyPr>
          <a:lstStyle/>
          <a:p>
            <a:r>
              <a:rPr lang="ru-RU" sz="1600" dirty="0">
                <a:latin typeface="Segoe UI" pitchFamily="34" charset="0"/>
                <a:ea typeface="Segoe UI" pitchFamily="34" charset="0"/>
                <a:cs typeface="Segoe UI" pitchFamily="34" charset="0"/>
              </a:rPr>
              <a:t>Облако</a:t>
            </a:r>
          </a:p>
        </p:txBody>
      </p:sp>
      <p:sp>
        <p:nvSpPr>
          <p:cNvPr id="61" name="TextBox 60"/>
          <p:cNvSpPr txBox="1"/>
          <p:nvPr/>
        </p:nvSpPr>
        <p:spPr>
          <a:xfrm>
            <a:off x="6881824" y="5624186"/>
            <a:ext cx="3442519" cy="524415"/>
          </a:xfrm>
          <a:prstGeom prst="rect">
            <a:avLst/>
          </a:prstGeom>
        </p:spPr>
        <p:txBody>
          <a:bodyPr vert="horz" wrap="none" lIns="91440" tIns="91440" rIns="91440" bIns="91440" rtlCol="0" anchor="t">
            <a:noAutofit/>
          </a:bodyPr>
          <a:lstStyle/>
          <a:p>
            <a:pPr algn="ctr"/>
            <a:r>
              <a:rPr lang="ru-RU" sz="1400" dirty="0">
                <a:latin typeface="Segoe UI" pitchFamily="34" charset="0"/>
                <a:ea typeface="Segoe UI" pitchFamily="34" charset="0"/>
                <a:cs typeface="Segoe UI" pitchFamily="34" charset="0"/>
              </a:rPr>
              <a:t>Аналитика строится на исторических</a:t>
            </a:r>
          </a:p>
          <a:p>
            <a:pPr algn="ctr"/>
            <a:r>
              <a:rPr lang="ru-RU" sz="1400" dirty="0">
                <a:latin typeface="Segoe UI" pitchFamily="34" charset="0"/>
                <a:ea typeface="Segoe UI" pitchFamily="34" charset="0"/>
                <a:cs typeface="Segoe UI" pitchFamily="34" charset="0"/>
              </a:rPr>
              <a:t> данных и данных в реальном времени</a:t>
            </a:r>
          </a:p>
        </p:txBody>
      </p:sp>
      <p:sp>
        <p:nvSpPr>
          <p:cNvPr id="62" name="TextBox 61"/>
          <p:cNvSpPr txBox="1"/>
          <p:nvPr/>
        </p:nvSpPr>
        <p:spPr>
          <a:xfrm>
            <a:off x="1175708" y="5730006"/>
            <a:ext cx="3442519" cy="524415"/>
          </a:xfrm>
          <a:prstGeom prst="rect">
            <a:avLst/>
          </a:prstGeom>
        </p:spPr>
        <p:txBody>
          <a:bodyPr vert="horz" wrap="none" lIns="91440" tIns="91440" rIns="91440" bIns="91440" rtlCol="0" anchor="t">
            <a:noAutofit/>
          </a:bodyPr>
          <a:lstStyle/>
          <a:p>
            <a:pPr algn="ctr"/>
            <a:r>
              <a:rPr lang="ru-RU" sz="1400" dirty="0">
                <a:latin typeface="Segoe UI" pitchFamily="34" charset="0"/>
                <a:ea typeface="Segoe UI" pitchFamily="34" charset="0"/>
                <a:cs typeface="Segoe UI" pitchFamily="34" charset="0"/>
              </a:rPr>
              <a:t>Службы и бизнес-процессы заказчика</a:t>
            </a:r>
          </a:p>
        </p:txBody>
      </p:sp>
    </p:spTree>
    <p:extLst>
      <p:ext uri="{BB962C8B-B14F-4D97-AF65-F5344CB8AC3E}">
        <p14:creationId xmlns:p14="http://schemas.microsoft.com/office/powerpoint/2010/main" val="237860223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MT_TILE" val="YES"/>
</p:tagLst>
</file>

<file path=ppt/tags/tag11.xml><?xml version="1.0" encoding="utf-8"?>
<p:tagLst xmlns:a="http://schemas.openxmlformats.org/drawingml/2006/main" xmlns:r="http://schemas.openxmlformats.org/officeDocument/2006/relationships" xmlns:p="http://schemas.openxmlformats.org/presentationml/2006/main">
  <p:tag name="MT_TILE" val="YES"/>
</p:tagLst>
</file>

<file path=ppt/tags/tag12.xml><?xml version="1.0" encoding="utf-8"?>
<p:tagLst xmlns:a="http://schemas.openxmlformats.org/drawingml/2006/main" xmlns:r="http://schemas.openxmlformats.org/officeDocument/2006/relationships" xmlns:p="http://schemas.openxmlformats.org/presentationml/2006/main">
  <p:tag name="MT_TILE" val="YES"/>
</p:tagLst>
</file>

<file path=ppt/tags/tag13.xml><?xml version="1.0" encoding="utf-8"?>
<p:tagLst xmlns:a="http://schemas.openxmlformats.org/drawingml/2006/main" xmlns:r="http://schemas.openxmlformats.org/officeDocument/2006/relationships" xmlns:p="http://schemas.openxmlformats.org/presentationml/2006/main">
  <p:tag name="MT_TILE" val="YES"/>
</p:tagLst>
</file>

<file path=ppt/tags/tag14.xml><?xml version="1.0" encoding="utf-8"?>
<p:tagLst xmlns:a="http://schemas.openxmlformats.org/drawingml/2006/main" xmlns:r="http://schemas.openxmlformats.org/officeDocument/2006/relationships" xmlns:p="http://schemas.openxmlformats.org/presentationml/2006/main">
  <p:tag name="MT_TILE" val="YES"/>
</p:tagLst>
</file>

<file path=ppt/tags/tag15.xml><?xml version="1.0" encoding="utf-8"?>
<p:tagLst xmlns:a="http://schemas.openxmlformats.org/drawingml/2006/main" xmlns:r="http://schemas.openxmlformats.org/officeDocument/2006/relationships" xmlns:p="http://schemas.openxmlformats.org/presentationml/2006/main">
  <p:tag name="MT_TILE" val="YES"/>
</p:tagLst>
</file>

<file path=ppt/tags/tag16.xml><?xml version="1.0" encoding="utf-8"?>
<p:tagLst xmlns:a="http://schemas.openxmlformats.org/drawingml/2006/main" xmlns:r="http://schemas.openxmlformats.org/officeDocument/2006/relationships" xmlns:p="http://schemas.openxmlformats.org/presentationml/2006/main">
  <p:tag name="MT_TILE" val="YES"/>
</p:tagLst>
</file>

<file path=ppt/tags/tag17.xml><?xml version="1.0" encoding="utf-8"?>
<p:tagLst xmlns:a="http://schemas.openxmlformats.org/drawingml/2006/main" xmlns:r="http://schemas.openxmlformats.org/officeDocument/2006/relationships" xmlns:p="http://schemas.openxmlformats.org/presentationml/2006/main">
  <p:tag name="MT_TILE" val="YES"/>
</p:tagLst>
</file>

<file path=ppt/tags/tag18.xml><?xml version="1.0" encoding="utf-8"?>
<p:tagLst xmlns:a="http://schemas.openxmlformats.org/drawingml/2006/main" xmlns:r="http://schemas.openxmlformats.org/officeDocument/2006/relationships" xmlns:p="http://schemas.openxmlformats.org/presentationml/2006/main">
  <p:tag name="MT_TILE" val="YES"/>
</p:tagLst>
</file>

<file path=ppt/tags/tag19.xml><?xml version="1.0" encoding="utf-8"?>
<p:tagLst xmlns:a="http://schemas.openxmlformats.org/drawingml/2006/main" xmlns:r="http://schemas.openxmlformats.org/officeDocument/2006/relationships" xmlns:p="http://schemas.openxmlformats.org/presentationml/2006/main">
  <p:tag name="MT_TIL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MT_TILE" val="YES"/>
</p:tagLst>
</file>

<file path=ppt/tags/tag7.xml><?xml version="1.0" encoding="utf-8"?>
<p:tagLst xmlns:a="http://schemas.openxmlformats.org/drawingml/2006/main" xmlns:r="http://schemas.openxmlformats.org/officeDocument/2006/relationships" xmlns:p="http://schemas.openxmlformats.org/presentationml/2006/main">
  <p:tag name="MT_TILE" val="YES"/>
</p:tagLst>
</file>

<file path=ppt/tags/tag8.xml><?xml version="1.0" encoding="utf-8"?>
<p:tagLst xmlns:a="http://schemas.openxmlformats.org/drawingml/2006/main" xmlns:r="http://schemas.openxmlformats.org/officeDocument/2006/relationships" xmlns:p="http://schemas.openxmlformats.org/presentationml/2006/main">
  <p:tag name="MT_TILE" val="YES"/>
</p:tagLst>
</file>

<file path=ppt/tags/tag9.xml><?xml version="1.0" encoding="utf-8"?>
<p:tagLst xmlns:a="http://schemas.openxmlformats.org/drawingml/2006/main" xmlns:r="http://schemas.openxmlformats.org/officeDocument/2006/relationships" xmlns:p="http://schemas.openxmlformats.org/presentationml/2006/main">
  <p:tag name="MT_TILE" val="YES"/>
</p:tagLst>
</file>

<file path=ppt/theme/theme1.xml><?xml version="1.0" encoding="utf-8"?>
<a:theme xmlns:a="http://schemas.openxmlformats.org/drawingml/2006/main" name="7_FY15 Enterprise identity theme">
  <a:themeElements>
    <a:clrScheme name="Custom 12">
      <a:dk1>
        <a:srgbClr val="505050"/>
      </a:dk1>
      <a:lt1>
        <a:sysClr val="window" lastClr="FFFFFF"/>
      </a:lt1>
      <a:dk2>
        <a:srgbClr val="0072C6"/>
      </a:dk2>
      <a:lt2>
        <a:srgbClr val="000000"/>
      </a:lt2>
      <a:accent1>
        <a:srgbClr val="107C10"/>
      </a:accent1>
      <a:accent2>
        <a:srgbClr val="FFB900"/>
      </a:accent2>
      <a:accent3>
        <a:srgbClr val="D83B01"/>
      </a:accent3>
      <a:accent4>
        <a:srgbClr val="00BCF2"/>
      </a:accent4>
      <a:accent5>
        <a:srgbClr val="002050"/>
      </a:accent5>
      <a:accent6>
        <a:srgbClr val="5C2D91"/>
      </a:accent6>
      <a:hlink>
        <a:srgbClr val="969696"/>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6 WWPS Presentation Template_16x9" id="{143B29EF-9CF5-4CB9-A297-2524E9B94B23}" vid="{105B2C23-C650-4887-B48B-F738915B7D48}"/>
    </a:ext>
  </a:extLst>
</a:theme>
</file>

<file path=ppt/theme/theme10.xml><?xml version="1.0" encoding="utf-8"?>
<a:theme xmlns:a="http://schemas.openxmlformats.org/drawingml/2006/main" name="4_FY14 WWPS Gov light theme">
  <a:themeElements>
    <a:clrScheme name="GOV">
      <a:dk1>
        <a:srgbClr val="505050"/>
      </a:dk1>
      <a:lt1>
        <a:sysClr val="window" lastClr="FFFFFF"/>
      </a:lt1>
      <a:dk2>
        <a:srgbClr val="002050"/>
      </a:dk2>
      <a:lt2>
        <a:srgbClr val="002050"/>
      </a:lt2>
      <a:accent1>
        <a:srgbClr val="002050"/>
      </a:accent1>
      <a:accent2>
        <a:srgbClr val="0072C6"/>
      </a:accent2>
      <a:accent3>
        <a:srgbClr val="6DC2E9"/>
      </a:accent3>
      <a:accent4>
        <a:srgbClr val="00188F"/>
      </a:accent4>
      <a:accent5>
        <a:srgbClr val="008272"/>
      </a:accent5>
      <a:accent6>
        <a:srgbClr val="00B294"/>
      </a:accent6>
      <a:hlink>
        <a:srgbClr val="00188F"/>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200" dirty="0" err="1"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C613CC57-A0E7-44DA-AD40-6CA0D4C7D861}"/>
    </a:ext>
  </a:extLst>
</a:theme>
</file>

<file path=ppt/theme/theme11.xml><?xml version="1.0" encoding="utf-8"?>
<a:theme xmlns:a="http://schemas.openxmlformats.org/drawingml/2006/main" name="1_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id="{05803226-E895-444D-AC31-08C8159FD2DC}" vid="{8CA560D4-A20D-4E73-B92F-CCB706538E30}"/>
    </a:ext>
  </a:extLst>
</a:theme>
</file>

<file path=ppt/theme/theme12.xml><?xml version="1.0" encoding="utf-8"?>
<a:theme xmlns:a="http://schemas.openxmlformats.org/drawingml/2006/main" name="White_Slides">
  <a:themeElements>
    <a:clrScheme name="CityNext FY15">
      <a:dk1>
        <a:srgbClr val="002050"/>
      </a:dk1>
      <a:lt1>
        <a:srgbClr val="00BCF2"/>
      </a:lt1>
      <a:dk2>
        <a:srgbClr val="009E49"/>
      </a:dk2>
      <a:lt2>
        <a:srgbClr val="FFFFFF"/>
      </a:lt2>
      <a:accent1>
        <a:srgbClr val="B4009E"/>
      </a:accent1>
      <a:accent2>
        <a:srgbClr val="68217A"/>
      </a:accent2>
      <a:accent3>
        <a:srgbClr val="4668C5"/>
      </a:accent3>
      <a:accent4>
        <a:srgbClr val="007233"/>
      </a:accent4>
      <a:accent5>
        <a:srgbClr val="008272"/>
      </a:accent5>
      <a:accent6>
        <a:srgbClr val="00D8CC"/>
      </a:accent6>
      <a:hlink>
        <a:srgbClr val="4668C5"/>
      </a:hlink>
      <a:folHlink>
        <a:srgbClr val="002050"/>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3.xml><?xml version="1.0" encoding="utf-8"?>
<a:theme xmlns:a="http://schemas.openxmlformats.org/drawingml/2006/main" name="1_CityNext Master">
  <a:themeElements>
    <a:clrScheme name="CityNext FY15">
      <a:dk1>
        <a:srgbClr val="002050"/>
      </a:dk1>
      <a:lt1>
        <a:srgbClr val="00BCF2"/>
      </a:lt1>
      <a:dk2>
        <a:srgbClr val="009E49"/>
      </a:dk2>
      <a:lt2>
        <a:srgbClr val="FFFFFF"/>
      </a:lt2>
      <a:accent1>
        <a:srgbClr val="B4009E"/>
      </a:accent1>
      <a:accent2>
        <a:srgbClr val="68217A"/>
      </a:accent2>
      <a:accent3>
        <a:srgbClr val="4668C5"/>
      </a:accent3>
      <a:accent4>
        <a:srgbClr val="007233"/>
      </a:accent4>
      <a:accent5>
        <a:srgbClr val="008272"/>
      </a:accent5>
      <a:accent6>
        <a:srgbClr val="00D8CC"/>
      </a:accent6>
      <a:hlink>
        <a:srgbClr val="4668C5"/>
      </a:hlink>
      <a:folHlink>
        <a:srgbClr val="002050"/>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4.xml><?xml version="1.0" encoding="utf-8"?>
<a:theme xmlns:a="http://schemas.openxmlformats.org/drawingml/2006/main" name="Blue_Slides">
  <a:themeElements>
    <a:clrScheme name="CityNext FY15">
      <a:dk1>
        <a:srgbClr val="002050"/>
      </a:dk1>
      <a:lt1>
        <a:srgbClr val="00BCF2"/>
      </a:lt1>
      <a:dk2>
        <a:srgbClr val="009E49"/>
      </a:dk2>
      <a:lt2>
        <a:srgbClr val="FFFFFF"/>
      </a:lt2>
      <a:accent1>
        <a:srgbClr val="B4009E"/>
      </a:accent1>
      <a:accent2>
        <a:srgbClr val="68217A"/>
      </a:accent2>
      <a:accent3>
        <a:srgbClr val="4668C5"/>
      </a:accent3>
      <a:accent4>
        <a:srgbClr val="007233"/>
      </a:accent4>
      <a:accent5>
        <a:srgbClr val="008272"/>
      </a:accent5>
      <a:accent6>
        <a:srgbClr val="00D8CC"/>
      </a:accent6>
      <a:hlink>
        <a:srgbClr val="4668C5"/>
      </a:hlink>
      <a:folHlink>
        <a:srgbClr val="002050"/>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5.xml><?xml version="1.0" encoding="utf-8"?>
<a:theme xmlns:a="http://schemas.openxmlformats.org/drawingml/2006/main" name="MSVID_White_16x9_2012-08-18">
  <a:themeElements>
    <a:clrScheme name="Enterprise_14">
      <a:dk1>
        <a:srgbClr val="292929"/>
      </a:dk1>
      <a:lt1>
        <a:srgbClr val="FFFFFF"/>
      </a:lt1>
      <a:dk2>
        <a:srgbClr val="505050"/>
      </a:dk2>
      <a:lt2>
        <a:srgbClr val="DDDDDD"/>
      </a:lt2>
      <a:accent1>
        <a:srgbClr val="002050"/>
      </a:accent1>
      <a:accent2>
        <a:srgbClr val="0072C6"/>
      </a:accent2>
      <a:accent3>
        <a:srgbClr val="7FBA00"/>
      </a:accent3>
      <a:accent4>
        <a:srgbClr val="DC5000"/>
      </a:accent4>
      <a:accent5>
        <a:srgbClr val="FFB900"/>
      </a:accent5>
      <a:accent6>
        <a:srgbClr val="00BCF2"/>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16.xml><?xml version="1.0" encoding="utf-8"?>
<a:theme xmlns:a="http://schemas.openxmlformats.org/drawingml/2006/main" name="1_3-30680_Worldwide Partner Conference 2015 ">
  <a:themeElements>
    <a:clrScheme name="Custom 2">
      <a:dk1>
        <a:srgbClr val="505050"/>
      </a:dk1>
      <a:lt1>
        <a:srgbClr val="FFFFFF"/>
      </a:lt1>
      <a:dk2>
        <a:srgbClr val="008272"/>
      </a:dk2>
      <a:lt2>
        <a:srgbClr val="D2D2D2"/>
      </a:lt2>
      <a:accent1>
        <a:srgbClr val="FF8C00"/>
      </a:accent1>
      <a:accent2>
        <a:srgbClr val="004B50"/>
      </a:accent2>
      <a:accent3>
        <a:srgbClr val="008272"/>
      </a:accent3>
      <a:accent4>
        <a:srgbClr val="505050"/>
      </a:accent4>
      <a:accent5>
        <a:srgbClr val="737373"/>
      </a:accent5>
      <a:accent6>
        <a:srgbClr val="0000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17">
                  <a:schemeClr val="accent6"/>
                </a:gs>
                <a:gs pos="100000">
                  <a:schemeClr val="accent6"/>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orldwide_Partner_Conference_Template.potx" id="{8FB49EC0-2A0D-4F34-8931-56B239D0E325}" vid="{5F253718-F1D7-4EF8-9084-8B94E6CEAB70}"/>
    </a:ext>
  </a:extLst>
</a:theme>
</file>

<file path=ppt/theme/theme17.xml><?xml version="1.0" encoding="utf-8"?>
<a:theme xmlns:a="http://schemas.openxmlformats.org/drawingml/2006/main" name="1_Cover_B">
  <a:themeElements>
    <a:clrScheme name="CityNext FY15">
      <a:dk1>
        <a:srgbClr val="002050"/>
      </a:dk1>
      <a:lt1>
        <a:srgbClr val="00BCF2"/>
      </a:lt1>
      <a:dk2>
        <a:srgbClr val="009E49"/>
      </a:dk2>
      <a:lt2>
        <a:srgbClr val="FFFFFF"/>
      </a:lt2>
      <a:accent1>
        <a:srgbClr val="B4009E"/>
      </a:accent1>
      <a:accent2>
        <a:srgbClr val="68217A"/>
      </a:accent2>
      <a:accent3>
        <a:srgbClr val="4668C5"/>
      </a:accent3>
      <a:accent4>
        <a:srgbClr val="007233"/>
      </a:accent4>
      <a:accent5>
        <a:srgbClr val="008272"/>
      </a:accent5>
      <a:accent6>
        <a:srgbClr val="00D8CC"/>
      </a:accent6>
      <a:hlink>
        <a:srgbClr val="4668C5"/>
      </a:hlink>
      <a:folHlink>
        <a:srgbClr val="002050"/>
      </a:folHlink>
    </a:clrScheme>
    <a:fontScheme name="CityNext 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solidFill>
          <a:schemeClr val="bg2">
            <a:alpha val="85000"/>
          </a:schemeClr>
        </a:solidFill>
      </a:spPr>
      <a:bodyPr vert="horz" lIns="274320" tIns="182880" rIns="91440" bIns="45720" rtlCol="0">
        <a:normAutofit/>
      </a:bodyPr>
      <a:lstStyle>
        <a:defPPr>
          <a:defRPr sz="2500" dirty="0">
            <a:solidFill>
              <a:schemeClr val="tx1"/>
            </a:solidFill>
            <a:latin typeface="+mj-lt"/>
          </a:defRPr>
        </a:defPPr>
      </a:lstStyle>
    </a:txDef>
  </a:objectDefaults>
  <a:extraClrSchemeLst/>
</a:theme>
</file>

<file path=ppt/theme/theme18.xml><?xml version="1.0" encoding="utf-8"?>
<a:theme xmlns:a="http://schemas.openxmlformats.org/drawingml/2006/main" name="3-30410_WPC_Breakout_Template_16x9">
  <a:themeElements>
    <a:clrScheme name="Custom 168">
      <a:dk1>
        <a:srgbClr val="505050"/>
      </a:dk1>
      <a:lt1>
        <a:srgbClr val="FFFFFF"/>
      </a:lt1>
      <a:dk2>
        <a:srgbClr val="68217A"/>
      </a:dk2>
      <a:lt2>
        <a:srgbClr val="D2D2D2"/>
      </a:lt2>
      <a:accent1>
        <a:srgbClr val="68217A"/>
      </a:accent1>
      <a:accent2>
        <a:srgbClr val="0072C6"/>
      </a:accent2>
      <a:accent3>
        <a:srgbClr val="008272"/>
      </a:accent3>
      <a:accent4>
        <a:srgbClr val="00BCF2"/>
      </a:accent4>
      <a:accent5>
        <a:srgbClr val="7FBA00"/>
      </a:accent5>
      <a:accent6>
        <a:srgbClr val="FF8C00"/>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2014_Breakout_Template" id="{05803226-E895-444D-AC31-08C8159FD2DC}" vid="{8CA560D4-A20D-4E73-B92F-CCB706538E30}"/>
    </a:ext>
  </a:extLst>
</a:theme>
</file>

<file path=ppt/theme/theme19.xml><?xml version="1.0" encoding="utf-8"?>
<a:theme xmlns:a="http://schemas.openxmlformats.org/drawingml/2006/main" name="1_COLOR TEMPLATE">
  <a:themeElements>
    <a:clrScheme name="Custom 11">
      <a:dk1>
        <a:srgbClr val="505050"/>
      </a:dk1>
      <a:lt1>
        <a:srgbClr val="FFFFFF"/>
      </a:lt1>
      <a:dk2>
        <a:srgbClr val="002050"/>
      </a:dk2>
      <a:lt2>
        <a:srgbClr val="CDF4FF"/>
      </a:lt2>
      <a:accent1>
        <a:srgbClr val="0078D7"/>
      </a:accent1>
      <a:accent2>
        <a:srgbClr val="D83B01"/>
      </a:accent2>
      <a:accent3>
        <a:srgbClr val="107C10"/>
      </a:accent3>
      <a:accent4>
        <a:srgbClr val="B4009E"/>
      </a:accent4>
      <a:accent5>
        <a:srgbClr val="5C2D91"/>
      </a:accent5>
      <a:accent6>
        <a:srgbClr val="008272"/>
      </a:accent6>
      <a:hlink>
        <a:srgbClr val="CDF4FF"/>
      </a:hlink>
      <a:folHlink>
        <a:srgbClr val="CDF4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2D6B5C47-15D3-4853-A69E-31534ABCEC61}"/>
    </a:ext>
  </a:extLst>
</a:theme>
</file>

<file path=ppt/theme/theme2.xml><?xml version="1.0" encoding="utf-8"?>
<a:theme xmlns:a="http://schemas.openxmlformats.org/drawingml/2006/main" name="FY15 Enterprise identity theme">
  <a:themeElements>
    <a:clrScheme name="GOV">
      <a:dk1>
        <a:srgbClr val="505050"/>
      </a:dk1>
      <a:lt1>
        <a:sysClr val="window" lastClr="FFFFFF"/>
      </a:lt1>
      <a:dk2>
        <a:srgbClr val="002050"/>
      </a:dk2>
      <a:lt2>
        <a:srgbClr val="002050"/>
      </a:lt2>
      <a:accent1>
        <a:srgbClr val="002050"/>
      </a:accent1>
      <a:accent2>
        <a:srgbClr val="0072C6"/>
      </a:accent2>
      <a:accent3>
        <a:srgbClr val="6DC2E9"/>
      </a:accent3>
      <a:accent4>
        <a:srgbClr val="00188F"/>
      </a:accent4>
      <a:accent5>
        <a:srgbClr val="008272"/>
      </a:accent5>
      <a:accent6>
        <a:srgbClr val="00B294"/>
      </a:accent6>
      <a:hlink>
        <a:srgbClr val="00188F"/>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91440" tIns="91440" rIns="91440" bIns="91440" rtlCol="0" anchor="t">
        <a:noAutofit/>
      </a:bodyPr>
      <a:lstStyle>
        <a:defPPr marL="171450" indent="-171450">
          <a:buFont typeface="Wingdings" pitchFamily="2" charset="2"/>
          <a:buChar char="§"/>
          <a:defRPr sz="1600" dirty="0" err="1" smtClean="0">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FY15 EPG Presentation Template_External_16x9_Light" id="{02C1EF95-F625-4D1A-A9C0-7B9640DFA217}" vid="{66D4A03C-A44C-46AD-A0EB-45C928C94694}"/>
    </a:ext>
  </a:extLst>
</a:theme>
</file>

<file path=ppt/theme/theme20.xml><?xml version="1.0" encoding="utf-8"?>
<a:theme xmlns:a="http://schemas.openxmlformats.org/drawingml/2006/main" name="WHITE TEMPLATE">
  <a:themeElements>
    <a:clrScheme name="Custom 10">
      <a:dk1>
        <a:srgbClr val="505050"/>
      </a:dk1>
      <a:lt1>
        <a:srgbClr val="FFFFFF"/>
      </a:lt1>
      <a:dk2>
        <a:srgbClr val="002050"/>
      </a:dk2>
      <a:lt2>
        <a:srgbClr val="9BD2FF"/>
      </a:lt2>
      <a:accent1>
        <a:srgbClr val="002050"/>
      </a:accent1>
      <a:accent2>
        <a:srgbClr val="0078D7"/>
      </a:accent2>
      <a:accent3>
        <a:srgbClr val="D83B01"/>
      </a:accent3>
      <a:accent4>
        <a:srgbClr val="107C10"/>
      </a:accent4>
      <a:accent5>
        <a:srgbClr val="B4009E"/>
      </a:accent5>
      <a:accent6>
        <a:srgbClr val="5C2D9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oduct_Brand_template_16-9_Business_DARK_BLUE_1.potx" id="{0F2C6A5A-CB9F-44E8-92D9-A9A1E28D15E7}" vid="{A4D9B076-5107-4411-861E-DAA166B5186B}"/>
    </a:ext>
  </a:extLst>
</a:theme>
</file>

<file path=ppt/theme/theme21.xml><?xml version="1.0" encoding="utf-8"?>
<a:theme xmlns:a="http://schemas.openxmlformats.org/drawingml/2006/main" name="2_MSVID_White_16x9_2012-08-18">
  <a:themeElements>
    <a:clrScheme name="MSVID White">
      <a:dk1>
        <a:srgbClr val="505050"/>
      </a:dk1>
      <a:lt1>
        <a:srgbClr val="FFFFFF"/>
      </a:lt1>
      <a:dk2>
        <a:srgbClr val="68217A"/>
      </a:dk2>
      <a:lt2>
        <a:srgbClr val="D2D2D2"/>
      </a:lt2>
      <a:accent1>
        <a:srgbClr val="68217A"/>
      </a:accent1>
      <a:accent2>
        <a:srgbClr val="008272"/>
      </a:accent2>
      <a:accent3>
        <a:srgbClr val="0072C6"/>
      </a:accent3>
      <a:accent4>
        <a:srgbClr val="B4009E"/>
      </a:accent4>
      <a:accent5>
        <a:srgbClr val="442359"/>
      </a:accent5>
      <a:accent6>
        <a:srgbClr val="002050"/>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theme>
</file>

<file path=ppt/theme/theme22.xml><?xml version="1.0" encoding="utf-8"?>
<a:theme xmlns:a="http://schemas.openxmlformats.org/drawingml/2006/main" name="11_Custom Design">
  <a:themeElements>
    <a:clrScheme name="IOT colors">
      <a:dk1>
        <a:sysClr val="windowText" lastClr="000000"/>
      </a:dk1>
      <a:lt1>
        <a:sysClr val="window" lastClr="FFFFFF"/>
      </a:lt1>
      <a:dk2>
        <a:srgbClr val="000000"/>
      </a:dk2>
      <a:lt2>
        <a:srgbClr val="F8F8F8"/>
      </a:lt2>
      <a:accent1>
        <a:srgbClr val="00188F"/>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Custom 6">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3.xml><?xml version="1.0" encoding="utf-8"?>
<a:theme xmlns:a="http://schemas.openxmlformats.org/drawingml/2006/main" name="5-30702_GA_Summit_2016_Template">
  <a:themeElements>
    <a:clrScheme name="Custom 5">
      <a:dk1>
        <a:srgbClr val="505050"/>
      </a:dk1>
      <a:lt1>
        <a:srgbClr val="FFFFFF"/>
      </a:lt1>
      <a:dk2>
        <a:srgbClr val="002050"/>
      </a:dk2>
      <a:lt2>
        <a:srgbClr val="CDF4FF"/>
      </a:lt2>
      <a:accent1>
        <a:srgbClr val="0080D6"/>
      </a:accent1>
      <a:accent2>
        <a:srgbClr val="D83B01"/>
      </a:accent2>
      <a:accent3>
        <a:srgbClr val="5C2D91"/>
      </a:accent3>
      <a:accent4>
        <a:srgbClr val="00188F"/>
      </a:accent4>
      <a:accent5>
        <a:srgbClr val="B4009E"/>
      </a:accent5>
      <a:accent6>
        <a:srgbClr val="107C10"/>
      </a:accent6>
      <a:hlink>
        <a:srgbClr val="0080D6"/>
      </a:hlink>
      <a:folHlink>
        <a:srgbClr val="7F7F7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GAS_Template_2016.potx" id="{43132ED9-403B-401F-846B-99AFC3AEC1B3}" vid="{4CAACC2A-F0E5-4984-8CC6-F9B43AB5FB7E}"/>
    </a:ext>
  </a:extLst>
</a:theme>
</file>

<file path=ppt/theme/theme24.xml><?xml version="1.0" encoding="utf-8"?>
<a:theme xmlns:a="http://schemas.openxmlformats.org/drawingml/2006/main" name="5-30610_Microsoft_Ignite_Keynote_Template">
  <a:themeElements>
    <a:clrScheme name="Ignite - Breakout - Gray Back">
      <a:dk1>
        <a:srgbClr val="000000"/>
      </a:dk1>
      <a:lt1>
        <a:srgbClr val="FFFFFF"/>
      </a:lt1>
      <a:dk2>
        <a:srgbClr val="505050"/>
      </a:dk2>
      <a:lt2>
        <a:srgbClr val="47D8FF"/>
      </a:lt2>
      <a:accent1>
        <a:srgbClr val="0078D7"/>
      </a:accent1>
      <a:accent2>
        <a:srgbClr val="5C2D91"/>
      </a:accent2>
      <a:accent3>
        <a:srgbClr val="B4009E"/>
      </a:accent3>
      <a:accent4>
        <a:srgbClr val="00BCF2"/>
      </a:accent4>
      <a:accent5>
        <a:srgbClr val="BAD80A"/>
      </a:accent5>
      <a:accent6>
        <a:srgbClr val="FF8C00"/>
      </a:accent6>
      <a:hlink>
        <a:srgbClr val="47D8FF"/>
      </a:hlink>
      <a:folHlink>
        <a:srgbClr val="47D8FF"/>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398" fontAlgn="base">
          <a:spcBef>
            <a:spcPct val="0"/>
          </a:spcBef>
          <a:spcAft>
            <a:spcPct val="0"/>
          </a:spcAft>
          <a:defRPr sz="2000" dirty="0">
            <a:gradFill>
              <a:gsLst>
                <a:gs pos="16814">
                  <a:srgbClr val="FFFFFF"/>
                </a:gs>
                <a:gs pos="46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5_Breakout_Template.potx" id="{1A2CE55D-C0EF-4064-A39F-620642E032AA}" vid="{A3A9C9DA-6617-4D3E-A382-CDB23C8F3BF1}"/>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5-30055_Office Template 2012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4.xml><?xml version="1.0" encoding="utf-8"?>
<a:theme xmlns:a="http://schemas.openxmlformats.org/drawingml/2006/main" name="FY14 WWPS Gov light theme">
  <a:themeElements>
    <a:clrScheme name="GOV">
      <a:dk1>
        <a:srgbClr val="505050"/>
      </a:dk1>
      <a:lt1>
        <a:sysClr val="window" lastClr="FFFFFF"/>
      </a:lt1>
      <a:dk2>
        <a:srgbClr val="002050"/>
      </a:dk2>
      <a:lt2>
        <a:srgbClr val="002050"/>
      </a:lt2>
      <a:accent1>
        <a:srgbClr val="002050"/>
      </a:accent1>
      <a:accent2>
        <a:srgbClr val="0072C6"/>
      </a:accent2>
      <a:accent3>
        <a:srgbClr val="6DC2E9"/>
      </a:accent3>
      <a:accent4>
        <a:srgbClr val="00188F"/>
      </a:accent4>
      <a:accent5>
        <a:srgbClr val="008272"/>
      </a:accent5>
      <a:accent6>
        <a:srgbClr val="00B294"/>
      </a:accent6>
      <a:hlink>
        <a:srgbClr val="00188F"/>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200" dirty="0" err="1"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C613CC57-A0E7-44DA-AD40-6CA0D4C7D861}"/>
    </a:ext>
  </a:extLst>
</a:theme>
</file>

<file path=ppt/theme/theme5.xml><?xml version="1.0" encoding="utf-8"?>
<a:theme xmlns:a="http://schemas.openxmlformats.org/drawingml/2006/main" name="2_FY14 WWPS Gov light theme">
  <a:themeElements>
    <a:clrScheme name="GOV">
      <a:dk1>
        <a:srgbClr val="505050"/>
      </a:dk1>
      <a:lt1>
        <a:sysClr val="window" lastClr="FFFFFF"/>
      </a:lt1>
      <a:dk2>
        <a:srgbClr val="002050"/>
      </a:dk2>
      <a:lt2>
        <a:srgbClr val="002050"/>
      </a:lt2>
      <a:accent1>
        <a:srgbClr val="002050"/>
      </a:accent1>
      <a:accent2>
        <a:srgbClr val="0072C6"/>
      </a:accent2>
      <a:accent3>
        <a:srgbClr val="6DC2E9"/>
      </a:accent3>
      <a:accent4>
        <a:srgbClr val="00188F"/>
      </a:accent4>
      <a:accent5>
        <a:srgbClr val="008272"/>
      </a:accent5>
      <a:accent6>
        <a:srgbClr val="00B294"/>
      </a:accent6>
      <a:hlink>
        <a:srgbClr val="00188F"/>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200" dirty="0" err="1"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C613CC57-A0E7-44DA-AD40-6CA0D4C7D861}"/>
    </a:ext>
  </a:extLst>
</a:theme>
</file>

<file path=ppt/theme/theme6.xml><?xml version="1.0" encoding="utf-8"?>
<a:theme xmlns:a="http://schemas.openxmlformats.org/drawingml/2006/main" name="1_FY14 WWPS Gov light theme">
  <a:themeElements>
    <a:clrScheme name="GOV">
      <a:dk1>
        <a:srgbClr val="505050"/>
      </a:dk1>
      <a:lt1>
        <a:sysClr val="window" lastClr="FFFFFF"/>
      </a:lt1>
      <a:dk2>
        <a:srgbClr val="002050"/>
      </a:dk2>
      <a:lt2>
        <a:srgbClr val="002050"/>
      </a:lt2>
      <a:accent1>
        <a:srgbClr val="002050"/>
      </a:accent1>
      <a:accent2>
        <a:srgbClr val="0072C6"/>
      </a:accent2>
      <a:accent3>
        <a:srgbClr val="6DC2E9"/>
      </a:accent3>
      <a:accent4>
        <a:srgbClr val="00188F"/>
      </a:accent4>
      <a:accent5>
        <a:srgbClr val="008272"/>
      </a:accent5>
      <a:accent6>
        <a:srgbClr val="00B294"/>
      </a:accent6>
      <a:hlink>
        <a:srgbClr val="00188F"/>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200" dirty="0" err="1"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C613CC57-A0E7-44DA-AD40-6CA0D4C7D861}"/>
    </a:ext>
  </a:extLst>
</a:theme>
</file>

<file path=ppt/theme/theme7.xml><?xml version="1.0" encoding="utf-8"?>
<a:theme xmlns:a="http://schemas.openxmlformats.org/drawingml/2006/main" name="FY14_EPG_Internal_Template_16x9_White">
  <a:themeElements>
    <a:clrScheme name="EPG Internal Light">
      <a:dk1>
        <a:srgbClr val="00000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43AFFF"/>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for_review_FY14_EPG_Internal_Template_Light_16x9_v03.potx" id="{6AE41D76-41FF-4D80-854C-F1874BB677F2}" vid="{E5BCD4AF-20DA-4DE6-99A0-3536F3E3D2DC}"/>
    </a:ext>
  </a:extLst>
</a:theme>
</file>

<file path=ppt/theme/theme8.xml><?xml version="1.0" encoding="utf-8"?>
<a:theme xmlns:a="http://schemas.openxmlformats.org/drawingml/2006/main" name="1_FY14_EPG_Internal_Template_16x9_White">
  <a:themeElements>
    <a:clrScheme name="EPG Internal Light">
      <a:dk1>
        <a:srgbClr val="000000"/>
      </a:dk1>
      <a:lt1>
        <a:srgbClr val="FFFFFF"/>
      </a:lt1>
      <a:dk2>
        <a:srgbClr val="002050"/>
      </a:dk2>
      <a:lt2>
        <a:srgbClr val="0072C6"/>
      </a:lt2>
      <a:accent1>
        <a:srgbClr val="0072C6"/>
      </a:accent1>
      <a:accent2>
        <a:srgbClr val="00BCF2"/>
      </a:accent2>
      <a:accent3>
        <a:srgbClr val="008A00"/>
      </a:accent3>
      <a:accent4>
        <a:srgbClr val="7FBA00"/>
      </a:accent4>
      <a:accent5>
        <a:srgbClr val="68217A"/>
      </a:accent5>
      <a:accent6>
        <a:srgbClr val="DC3C00"/>
      </a:accent6>
      <a:hlink>
        <a:srgbClr val="43AFFF"/>
      </a:hlink>
      <a:folHlink>
        <a:srgbClr val="82CAFE"/>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182880" tIns="146304" rIns="182880" bIns="146304" numCol="1" rtlCol="0" anchor="t" anchorCtr="0" compatLnSpc="1">
        <a:prstTxWarp prst="textNoShape">
          <a:avLst/>
        </a:prstTxWarp>
      </a:bodyPr>
      <a:lstStyle>
        <a:defPPr defTabSz="932472" fontAlgn="base">
          <a:spcBef>
            <a:spcPct val="0"/>
          </a:spcBef>
          <a:spcAft>
            <a:spcPct val="0"/>
          </a:spcAft>
          <a:defRPr sz="2000" dirty="0">
            <a:gradFill>
              <a:gsLst>
                <a:gs pos="0">
                  <a:schemeClr val="bg1"/>
                </a:gs>
                <a:gs pos="100000">
                  <a:schemeClr val="bg1"/>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defRPr sz="2400" dirty="0" smtClean="0">
            <a:gradFill>
              <a:gsLst>
                <a:gs pos="1250">
                  <a:schemeClr val="tx1"/>
                </a:gs>
                <a:gs pos="99000">
                  <a:schemeClr val="tx1"/>
                </a:gs>
              </a:gsLst>
              <a:lin ang="5400000" scaled="0"/>
            </a:gradFill>
          </a:defRPr>
        </a:defPPr>
      </a:lstStyle>
    </a:txDef>
  </a:objectDefaults>
  <a:extraClrSchemeLst/>
  <a:extLst>
    <a:ext uri="{05A4C25C-085E-4340-85A3-A5531E510DB2}">
      <thm15:themeFamily xmlns:thm15="http://schemas.microsoft.com/office/thememl/2012/main" name="for_review_FY14_EPG_Internal_Template_Light_16x9_v03.potx" id="{6AE41D76-41FF-4D80-854C-F1874BB677F2}" vid="{E5BCD4AF-20DA-4DE6-99A0-3536F3E3D2DC}"/>
    </a:ext>
  </a:extLst>
</a:theme>
</file>

<file path=ppt/theme/theme9.xml><?xml version="1.0" encoding="utf-8"?>
<a:theme xmlns:a="http://schemas.openxmlformats.org/drawingml/2006/main" name="3_FY14 WWPS Gov light theme">
  <a:themeElements>
    <a:clrScheme name="Custom 8">
      <a:dk1>
        <a:srgbClr val="505050"/>
      </a:dk1>
      <a:lt1>
        <a:sysClr val="window" lastClr="FFFFFF"/>
      </a:lt1>
      <a:dk2>
        <a:srgbClr val="002050"/>
      </a:dk2>
      <a:lt2>
        <a:srgbClr val="002050"/>
      </a:lt2>
      <a:accent1>
        <a:srgbClr val="002050"/>
      </a:accent1>
      <a:accent2>
        <a:srgbClr val="0072C6"/>
      </a:accent2>
      <a:accent3>
        <a:srgbClr val="6DC2E9"/>
      </a:accent3>
      <a:accent4>
        <a:srgbClr val="00188F"/>
      </a:accent4>
      <a:accent5>
        <a:srgbClr val="008272"/>
      </a:accent5>
      <a:accent6>
        <a:srgbClr val="00B294"/>
      </a:accent6>
      <a:hlink>
        <a:srgbClr val="D3E5FF"/>
      </a:hlink>
      <a:folHlink>
        <a:srgbClr val="969696"/>
      </a:folHlink>
    </a:clrScheme>
    <a:fontScheme name="Segoe">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4"/>
        </a:solidFill>
        <a:ln>
          <a:noFill/>
        </a:ln>
      </a:spPr>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defPPr algn="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square" lIns="0" tIns="0" rIns="0" bIns="0" rtlCol="0" anchor="t">
        <a:noAutofit/>
      </a:bodyPr>
      <a:lstStyle>
        <a:defPPr marL="171450" indent="-171450">
          <a:buClr>
            <a:schemeClr val="accent4"/>
          </a:buClr>
          <a:buFont typeface="Wingdings" pitchFamily="2" charset="2"/>
          <a:buChar char="§"/>
          <a:defRPr sz="1200" dirty="0" err="1" smtClean="0">
            <a:solidFill>
              <a:schemeClr val="bg1"/>
            </a:solidFill>
            <a:latin typeface="Segoe UI" pitchFamily="34" charset="0"/>
            <a:ea typeface="Segoe UI" pitchFamily="34" charset="0"/>
            <a:cs typeface="Segoe UI" pitchFamily="34" charset="0"/>
          </a:defRPr>
        </a:defPPr>
      </a:lstStyle>
    </a:txDef>
  </a:objectDefaults>
  <a:extraClrSchemeLst/>
  <a:extLst>
    <a:ext uri="{05A4C25C-085E-4340-85A3-A5531E510DB2}">
      <thm15:themeFamily xmlns:thm15="http://schemas.microsoft.com/office/thememl/2012/main" name="Presentation1" id="{9DA321C1-E3F7-4A0A-B047-7DEBBE4616E1}" vid="{C613CC57-A0E7-44DA-AD40-6CA0D4C7D86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08A1431706ADD347943662DF55602887" ma:contentTypeVersion="2" ma:contentTypeDescription="Create a new document." ma:contentTypeScope="" ma:versionID="755e9ca063a14f7d745c77a04a92b232">
  <xsd:schema xmlns:xsd="http://www.w3.org/2001/XMLSchema" xmlns:xs="http://www.w3.org/2001/XMLSchema" xmlns:p="http://schemas.microsoft.com/office/2006/metadata/properties" xmlns:ns2="0bbd3c6f-5fd4-4f9f-86ad-2abecaa7d57b" targetNamespace="http://schemas.microsoft.com/office/2006/metadata/properties" ma:root="true" ma:fieldsID="6b42cc5ed9d0cf93981233155b4d3959" ns2:_="">
    <xsd:import namespace="0bbd3c6f-5fd4-4f9f-86ad-2abecaa7d57b"/>
    <xsd:element name="properties">
      <xsd:complexType>
        <xsd:sequence>
          <xsd:element name="documentManagement">
            <xsd:complexType>
              <xsd:all>
                <xsd:element ref="ns2:SharedWithUsers" minOccurs="0"/>
                <xsd:element ref="ns2: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bbd3c6f-5fd4-4f9f-86ad-2abecaa7d57b"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C5F9C8-1A66-40AA-857F-985D2779CFA4}">
  <ds:schemaRefs>
    <ds:schemaRef ds:uri="http://schemas.microsoft.com/office/2006/documentManagement/types"/>
    <ds:schemaRef ds:uri="http://schemas.microsoft.com/office/infopath/2007/PartnerControls"/>
    <ds:schemaRef ds:uri="0bbd3c6f-5fd4-4f9f-86ad-2abecaa7d57b"/>
    <ds:schemaRef ds:uri="http://purl.org/dc/elements/1.1/"/>
    <ds:schemaRef ds:uri="http://schemas.microsoft.com/office/2006/metadata/properties"/>
    <ds:schemaRef ds:uri="http://purl.org/dc/terms/"/>
    <ds:schemaRef ds:uri="http://schemas.openxmlformats.org/package/2006/metadata/core-properties"/>
    <ds:schemaRef ds:uri="http://www.w3.org/XML/1998/namespace"/>
    <ds:schemaRef ds:uri="http://purl.org/dc/dcmitype/"/>
  </ds:schemaRefs>
</ds:datastoreItem>
</file>

<file path=customXml/itemProps2.xml><?xml version="1.0" encoding="utf-8"?>
<ds:datastoreItem xmlns:ds="http://schemas.openxmlformats.org/officeDocument/2006/customXml" ds:itemID="{3A4D814E-2A66-4290-B4C0-93C982B2AA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bbd3c6f-5fd4-4f9f-86ad-2abecaa7d57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FB6A9C99-F70B-4A2A-8F34-62815802F43E}">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FY16 WWPS Presentation Template_16x9</Template>
  <TotalTime>13655</TotalTime>
  <Words>4652</Words>
  <Application>Microsoft Office PowerPoint</Application>
  <PresentationFormat>Широкоэкранный</PresentationFormat>
  <Paragraphs>409</Paragraphs>
  <Slides>16</Slides>
  <Notes>11</Notes>
  <HiddenSlides>1</HiddenSlides>
  <MMClips>0</MMClips>
  <ScaleCrop>false</ScaleCrop>
  <HeadingPairs>
    <vt:vector size="8" baseType="variant">
      <vt:variant>
        <vt:lpstr>Использованные шрифты</vt:lpstr>
      </vt:variant>
      <vt:variant>
        <vt:i4>13</vt:i4>
      </vt:variant>
      <vt:variant>
        <vt:lpstr>Тема</vt:lpstr>
      </vt:variant>
      <vt:variant>
        <vt:i4>24</vt:i4>
      </vt:variant>
      <vt:variant>
        <vt:lpstr>Внедренные серверы OLE</vt:lpstr>
      </vt:variant>
      <vt:variant>
        <vt:i4>1</vt:i4>
      </vt:variant>
      <vt:variant>
        <vt:lpstr>Заголовки слайдов</vt:lpstr>
      </vt:variant>
      <vt:variant>
        <vt:i4>16</vt:i4>
      </vt:variant>
    </vt:vector>
  </HeadingPairs>
  <TitlesOfParts>
    <vt:vector size="54" baseType="lpstr">
      <vt:lpstr>MS PGothic</vt:lpstr>
      <vt:lpstr>Arial</vt:lpstr>
      <vt:lpstr>Calibri</vt:lpstr>
      <vt:lpstr>Consolas</vt:lpstr>
      <vt:lpstr>Courier New</vt:lpstr>
      <vt:lpstr>Segoe</vt:lpstr>
      <vt:lpstr>Segoe Light</vt:lpstr>
      <vt:lpstr>Segoe Pro</vt:lpstr>
      <vt:lpstr>Segoe UI</vt:lpstr>
      <vt:lpstr>Segoe UI Light</vt:lpstr>
      <vt:lpstr>Segoe UI Semibold</vt:lpstr>
      <vt:lpstr>Segoe UI Semilight</vt:lpstr>
      <vt:lpstr>Wingdings</vt:lpstr>
      <vt:lpstr>7_FY15 Enterprise identity theme</vt:lpstr>
      <vt:lpstr>FY15 Enterprise identity theme</vt:lpstr>
      <vt:lpstr>1_5-30055_Office Template 2012 - 16x9 - White Background</vt:lpstr>
      <vt:lpstr>FY14 WWPS Gov light theme</vt:lpstr>
      <vt:lpstr>2_FY14 WWPS Gov light theme</vt:lpstr>
      <vt:lpstr>1_FY14 WWPS Gov light theme</vt:lpstr>
      <vt:lpstr>FY14_EPG_Internal_Template_16x9_White</vt:lpstr>
      <vt:lpstr>1_FY14_EPG_Internal_Template_16x9_White</vt:lpstr>
      <vt:lpstr>3_FY14 WWPS Gov light theme</vt:lpstr>
      <vt:lpstr>4_FY14 WWPS Gov light theme</vt:lpstr>
      <vt:lpstr>1_3-30410_WPC_Breakout_Template_16x9</vt:lpstr>
      <vt:lpstr>White_Slides</vt:lpstr>
      <vt:lpstr>1_CityNext Master</vt:lpstr>
      <vt:lpstr>Blue_Slides</vt:lpstr>
      <vt:lpstr>MSVID_White_16x9_2012-08-18</vt:lpstr>
      <vt:lpstr>1_3-30680_Worldwide Partner Conference 2015 </vt:lpstr>
      <vt:lpstr>1_Cover_B</vt:lpstr>
      <vt:lpstr>3-30410_WPC_Breakout_Template_16x9</vt:lpstr>
      <vt:lpstr>1_COLOR TEMPLATE</vt:lpstr>
      <vt:lpstr>WHITE TEMPLATE</vt:lpstr>
      <vt:lpstr>2_MSVID_White_16x9_2012-08-18</vt:lpstr>
      <vt:lpstr>11_Custom Design</vt:lpstr>
      <vt:lpstr>5-30702_GA_Summit_2016_Template</vt:lpstr>
      <vt:lpstr>5-30610_Microsoft_Ignite_Keynote_Template</vt:lpstr>
      <vt:lpstr>think-cell Slide</vt:lpstr>
      <vt:lpstr>Презентация PowerPoint</vt:lpstr>
      <vt:lpstr>Новый этап ИТ в госсекторе: трансформация «электронного правительства» в «цифровое правительство»</vt:lpstr>
      <vt:lpstr>Технологические мегатренды обеспечивают следующий этап инноваций (как это работает)</vt:lpstr>
      <vt:lpstr>Умный город, регион</vt:lpstr>
      <vt:lpstr>Microsoft CityNext – Цифровые города и регионы будущего</vt:lpstr>
      <vt:lpstr>Хельсинки</vt:lpstr>
      <vt:lpstr>   </vt:lpstr>
      <vt:lpstr>Вроцлав (Польша): облачное решение по мониторингу и экономии водных ресурсов</vt:lpstr>
      <vt:lpstr>Мониторинг состояния земельных участков</vt:lpstr>
      <vt:lpstr>Сбор данных</vt:lpstr>
      <vt:lpstr>Аналитический отчет</vt:lpstr>
      <vt:lpstr>От первичных данных к оптимальному решению</vt:lpstr>
      <vt:lpstr>Компоненты платформы Microsoft для публичных, гибридных, частных облаков</vt:lpstr>
      <vt:lpstr>Инициатива партнерских облаков в России (Cloud OS Network Russia)</vt:lpstr>
      <vt:lpstr>Повышение доверия к ПО, прозрачность и сертификация в Российской Федерации</vt:lpstr>
      <vt:lpstr>Цифровое правительство. На перекрестке приоритетов государства и технологических трендов.</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OV FY16 Digital Government Customer Presentation JUL15</dc:title>
  <dc:creator>Tom Crozier (Prime 8)</dc:creator>
  <cp:lastModifiedBy>Alexander Mashika</cp:lastModifiedBy>
  <cp:revision>270</cp:revision>
  <dcterms:created xsi:type="dcterms:W3CDTF">2015-06-22T17:28:58Z</dcterms:created>
  <dcterms:modified xsi:type="dcterms:W3CDTF">2016-10-13T05:12: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8A1431706ADD347943662DF55602887</vt:lpwstr>
  </property>
</Properties>
</file>